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955" r:id="rId1"/>
  </p:sldMasterIdLst>
  <p:notesMasterIdLst>
    <p:notesMasterId r:id="rId21"/>
  </p:notesMasterIdLst>
  <p:handoutMasterIdLst>
    <p:handoutMasterId r:id="rId22"/>
  </p:handoutMasterIdLst>
  <p:sldIdLst>
    <p:sldId id="269" r:id="rId2"/>
    <p:sldId id="2672" r:id="rId3"/>
    <p:sldId id="263" r:id="rId4"/>
    <p:sldId id="2636" r:id="rId5"/>
    <p:sldId id="2650" r:id="rId6"/>
    <p:sldId id="2651" r:id="rId7"/>
    <p:sldId id="2654" r:id="rId8"/>
    <p:sldId id="2675" r:id="rId9"/>
    <p:sldId id="2655" r:id="rId10"/>
    <p:sldId id="2653" r:id="rId11"/>
    <p:sldId id="2664" r:id="rId12"/>
    <p:sldId id="2642" r:id="rId13"/>
    <p:sldId id="2644" r:id="rId14"/>
    <p:sldId id="2641" r:id="rId15"/>
    <p:sldId id="2666" r:id="rId16"/>
    <p:sldId id="2669" r:id="rId17"/>
    <p:sldId id="2640" r:id="rId18"/>
    <p:sldId id="2671" r:id="rId19"/>
    <p:sldId id="2670" r:id="rId20"/>
  </p:sldIdLst>
  <p:sldSz cx="12192000" cy="6858000"/>
  <p:notesSz cx="6797675" cy="9872663"/>
  <p:embeddedFontLst>
    <p:embeddedFont>
      <p:font typeface="Corbel" panose="020B0503020204020204" pitchFamily="34" charset="0"/>
      <p:regular r:id="rId23"/>
      <p:bold r:id="rId24"/>
      <p:italic r:id="rId25"/>
      <p:boldItalic r:id="rId26"/>
    </p:embeddedFont>
  </p:embeddedFontLst>
  <p:custDataLst>
    <p:tags r:id="rId27"/>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125" autoAdjust="0"/>
  </p:normalViewPr>
  <p:slideViewPr>
    <p:cSldViewPr snapToGrid="0">
      <p:cViewPr varScale="1">
        <p:scale>
          <a:sx n="86" d="100"/>
          <a:sy n="86" d="100"/>
        </p:scale>
        <p:origin x="514" y="58"/>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78" d="100"/>
          <a:sy n="78" d="100"/>
        </p:scale>
        <p:origin x="3978"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4.fntdata"/><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3.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2.fntdata"/><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1.fntdata"/><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gs" Target="tags/tag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810143042912875E-2"/>
          <c:y val="5.3278688524590161E-2"/>
          <c:w val="0.93237971391417429"/>
          <c:h val="0.89344262295081966"/>
        </c:manualLayout>
      </c:layout>
      <c:barChart>
        <c:barDir val="col"/>
        <c:grouping val="stacked"/>
        <c:varyColors val="0"/>
        <c:ser>
          <c:idx val="0"/>
          <c:order val="0"/>
          <c:spPr>
            <a:solidFill>
              <a:schemeClr val="accent1"/>
            </a:solidFill>
            <a:ln w="9525" algn="ctr">
              <a:solidFill>
                <a:schemeClr val="bg1"/>
              </a:solidFill>
              <a:prstDash val="solid"/>
            </a:ln>
          </c:spPr>
          <c:invertIfNegative val="0"/>
          <c:dLbls>
            <c:dLbl>
              <c:idx val="0"/>
              <c:layout>
                <c:manualLayout>
                  <c:x val="0"/>
                  <c:y val="-3.073770491803278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972-406E-BD62-760B0CE7B68E}"/>
                </c:ext>
              </c:extLst>
            </c:dLbl>
            <c:dLbl>
              <c:idx val="1"/>
              <c:layout>
                <c:manualLayout>
                  <c:x val="0"/>
                  <c:y val="-3.073770491803278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972-406E-BD62-760B0CE7B68E}"/>
                </c:ext>
              </c:extLst>
            </c:dLbl>
            <c:dLbl>
              <c:idx val="2"/>
              <c:layout>
                <c:manualLayout>
                  <c:x val="0"/>
                  <c:y val="-3.073770491803278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972-406E-BD62-760B0CE7B68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2.9</c:v>
                </c:pt>
                <c:pt idx="1">
                  <c:v>21.8</c:v>
                </c:pt>
                <c:pt idx="2">
                  <c:v>35.1</c:v>
                </c:pt>
              </c:numCache>
            </c:numRef>
          </c:val>
          <c:extLst>
            <c:ext xmlns:c16="http://schemas.microsoft.com/office/drawing/2014/chart" uri="{C3380CC4-5D6E-409C-BE32-E72D297353CC}">
              <c16:uniqueId val="{00000003-E972-406E-BD62-760B0CE7B68E}"/>
            </c:ext>
          </c:extLst>
        </c:ser>
        <c:ser>
          <c:idx val="1"/>
          <c:order val="1"/>
          <c:spPr>
            <a:solidFill>
              <a:schemeClr val="accent3"/>
            </a:solidFill>
            <a:ln w="9525" algn="ctr">
              <a:solidFill>
                <a:schemeClr val="bg1"/>
              </a:solidFill>
              <a:prstDash val="solid"/>
            </a:ln>
          </c:spPr>
          <c:invertIfNegative val="0"/>
          <c:dLbls>
            <c:dLbl>
              <c:idx val="0"/>
              <c:layout>
                <c:manualLayout>
                  <c:x val="-4.2912873862158647E-2"/>
                  <c:y val="-3.0737704918032786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972-406E-BD62-760B0CE7B68E}"/>
                </c:ext>
              </c:extLst>
            </c:dLbl>
            <c:dLbl>
              <c:idx val="2"/>
              <c:layout>
                <c:manualLayout>
                  <c:x val="0"/>
                  <c:y val="-4.0983606557377051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972-406E-BD62-760B0CE7B68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5.0999999999999996</c:v>
                </c:pt>
                <c:pt idx="1">
                  <c:v>3.8999999999999986</c:v>
                </c:pt>
                <c:pt idx="2">
                  <c:v>7.2000000000000028</c:v>
                </c:pt>
              </c:numCache>
            </c:numRef>
          </c:val>
          <c:extLst>
            <c:ext xmlns:c16="http://schemas.microsoft.com/office/drawing/2014/chart" uri="{C3380CC4-5D6E-409C-BE32-E72D297353CC}">
              <c16:uniqueId val="{00000006-E972-406E-BD62-760B0CE7B68E}"/>
            </c:ext>
          </c:extLst>
        </c:ser>
        <c:ser>
          <c:idx val="2"/>
          <c:order val="2"/>
          <c:spPr>
            <a:solidFill>
              <a:schemeClr val="accent5"/>
            </a:solidFill>
            <a:ln w="9525" algn="ctr">
              <a:solidFill>
                <a:schemeClr val="bg1"/>
              </a:solidFill>
              <a:prstDash val="solid"/>
            </a:ln>
          </c:spPr>
          <c:invertIfNegative val="0"/>
          <c:dLbls>
            <c:dLbl>
              <c:idx val="1"/>
              <c:layout>
                <c:manualLayout>
                  <c:x val="4.3563068920676205E-2"/>
                  <c:y val="-3.0737704918032786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972-406E-BD62-760B0CE7B68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3.5</c:v>
                </c:pt>
                <c:pt idx="1">
                  <c:v>5.3000000000000007</c:v>
                </c:pt>
                <c:pt idx="2">
                  <c:v>4.1000000000000014</c:v>
                </c:pt>
              </c:numCache>
            </c:numRef>
          </c:val>
          <c:extLst>
            <c:ext xmlns:c16="http://schemas.microsoft.com/office/drawing/2014/chart" uri="{C3380CC4-5D6E-409C-BE32-E72D297353CC}">
              <c16:uniqueId val="{00000008-E972-406E-BD62-760B0CE7B68E}"/>
            </c:ext>
          </c:extLst>
        </c:ser>
        <c:dLbls>
          <c:showLegendKey val="0"/>
          <c:showVal val="0"/>
          <c:showCatName val="0"/>
          <c:showSerName val="0"/>
          <c:showPercent val="0"/>
          <c:showBubbleSize val="0"/>
        </c:dLbls>
        <c:gapWidth val="80"/>
        <c:overlap val="100"/>
        <c:axId val="1069449408"/>
        <c:axId val="1"/>
      </c:barChart>
      <c:catAx>
        <c:axId val="1069449408"/>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46.400000000000006"/>
          <c:min val="0"/>
        </c:scaling>
        <c:delete val="1"/>
        <c:axPos val="l"/>
        <c:numFmt formatCode="General" sourceLinked="1"/>
        <c:majorTickMark val="out"/>
        <c:minorTickMark val="none"/>
        <c:tickLblPos val="nextTo"/>
        <c:crossAx val="1069449408"/>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129380053908356"/>
          <c:y val="5.8380414312617701E-2"/>
          <c:w val="0.80862533692722371"/>
          <c:h val="0.77401129943502822"/>
        </c:manualLayout>
      </c:layout>
      <c:scatterChart>
        <c:scatterStyle val="lineMarker"/>
        <c:varyColors val="0"/>
        <c:ser>
          <c:idx val="0"/>
          <c:order val="0"/>
          <c:spPr>
            <a:ln>
              <a:noFill/>
            </a:ln>
          </c:spPr>
          <c:marker>
            <c:symbol val="circle"/>
            <c:size val="5"/>
            <c:spPr>
              <a:solidFill>
                <a:schemeClr val="accent1"/>
              </a:solidFill>
              <a:ln w="9525" algn="ctr">
                <a:solidFill>
                  <a:schemeClr val="accent1"/>
                </a:solidFill>
                <a:prstDash val="solid"/>
              </a:ln>
            </c:spPr>
          </c:marker>
          <c:xVal>
            <c:numRef>
              <c:f>Sheet1!$A$1:$A$6</c:f>
              <c:numCache>
                <c:formatCode>General</c:formatCode>
                <c:ptCount val="6"/>
                <c:pt idx="0">
                  <c:v>1</c:v>
                </c:pt>
                <c:pt idx="1">
                  <c:v>2</c:v>
                </c:pt>
                <c:pt idx="2">
                  <c:v>2.5</c:v>
                </c:pt>
              </c:numCache>
            </c:numRef>
          </c:xVal>
          <c:yVal>
            <c:numRef>
              <c:f>Sheet1!$B$1:$B$6</c:f>
              <c:numCache>
                <c:formatCode>General</c:formatCode>
                <c:ptCount val="6"/>
                <c:pt idx="0">
                  <c:v>2</c:v>
                </c:pt>
                <c:pt idx="1">
                  <c:v>3</c:v>
                </c:pt>
                <c:pt idx="2">
                  <c:v>2.1</c:v>
                </c:pt>
              </c:numCache>
            </c:numRef>
          </c:yVal>
          <c:smooth val="0"/>
          <c:extLst>
            <c:ext xmlns:c16="http://schemas.microsoft.com/office/drawing/2014/chart" uri="{C3380CC4-5D6E-409C-BE32-E72D297353CC}">
              <c16:uniqueId val="{00000000-2C49-41B7-965A-164576A8780E}"/>
            </c:ext>
          </c:extLst>
        </c:ser>
        <c:ser>
          <c:idx val="1"/>
          <c:order val="1"/>
          <c:spPr>
            <a:ln>
              <a:noFill/>
            </a:ln>
          </c:spPr>
          <c:marker>
            <c:symbol val="circle"/>
            <c:size val="5"/>
            <c:spPr>
              <a:solidFill>
                <a:schemeClr val="accent2"/>
              </a:solidFill>
              <a:ln w="9525" algn="ctr">
                <a:solidFill>
                  <a:schemeClr val="accent2"/>
                </a:solidFill>
                <a:prstDash val="solid"/>
              </a:ln>
            </c:spPr>
          </c:marker>
          <c:xVal>
            <c:numRef>
              <c:f>Sheet1!$A$1:$A$6</c:f>
              <c:numCache>
                <c:formatCode>General</c:formatCode>
                <c:ptCount val="6"/>
                <c:pt idx="3">
                  <c:v>1.5</c:v>
                </c:pt>
                <c:pt idx="4">
                  <c:v>2</c:v>
                </c:pt>
                <c:pt idx="5">
                  <c:v>3</c:v>
                </c:pt>
              </c:numCache>
            </c:numRef>
          </c:xVal>
          <c:yVal>
            <c:numRef>
              <c:f>Sheet1!$C$1:$C$6</c:f>
              <c:numCache>
                <c:formatCode>General</c:formatCode>
                <c:ptCount val="6"/>
                <c:pt idx="3">
                  <c:v>2</c:v>
                </c:pt>
                <c:pt idx="4">
                  <c:v>4</c:v>
                </c:pt>
                <c:pt idx="5">
                  <c:v>3</c:v>
                </c:pt>
              </c:numCache>
            </c:numRef>
          </c:yVal>
          <c:smooth val="0"/>
          <c:extLst>
            <c:ext xmlns:c16="http://schemas.microsoft.com/office/drawing/2014/chart" uri="{C3380CC4-5D6E-409C-BE32-E72D297353CC}">
              <c16:uniqueId val="{00000001-2C49-41B7-965A-164576A8780E}"/>
            </c:ext>
          </c:extLst>
        </c:ser>
        <c:dLbls>
          <c:showLegendKey val="0"/>
          <c:showVal val="0"/>
          <c:showCatName val="0"/>
          <c:showSerName val="0"/>
          <c:showPercent val="0"/>
          <c:showBubbleSize val="0"/>
        </c:dLbls>
        <c:axId val="1069451904"/>
        <c:axId val="1"/>
      </c:scatterChart>
      <c:valAx>
        <c:axId val="1069451904"/>
        <c:scaling>
          <c:orientation val="minMax"/>
          <c:max val="3"/>
          <c:min val="0"/>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1000" kern="1200">
                <a:solidFill>
                  <a:schemeClr val="tx1"/>
                </a:solidFill>
                <a:latin typeface="+mn-lt"/>
                <a:ea typeface="+mn-ea"/>
                <a:cs typeface="+mn-cs"/>
              </a:defRPr>
            </a:pPr>
            <a:endParaRPr lang="nl-NL"/>
          </a:p>
        </c:txPr>
        <c:crossAx val="1"/>
        <c:crosses val="min"/>
        <c:crossBetween val="midCat"/>
        <c:majorUnit val="1"/>
      </c:valAx>
      <c:valAx>
        <c:axId val="1"/>
        <c:scaling>
          <c:orientation val="minMax"/>
          <c:max val="4"/>
          <c:min val="0"/>
        </c:scaling>
        <c:delete val="0"/>
        <c:axPos val="l"/>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1000" kern="1200">
                <a:solidFill>
                  <a:schemeClr val="tx1"/>
                </a:solidFill>
                <a:latin typeface="+mn-lt"/>
                <a:ea typeface="+mn-ea"/>
                <a:cs typeface="+mn-cs"/>
              </a:defRPr>
            </a:pPr>
            <a:endParaRPr lang="nl-NL"/>
          </a:p>
        </c:txPr>
        <c:crossAx val="1069451904"/>
        <c:crosses val="min"/>
        <c:crossBetween val="midCat"/>
        <c:majorUnit val="1"/>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630844382414516"/>
          <c:y val="6.5539112050739964E-2"/>
          <c:w val="0.83740404745289598"/>
          <c:h val="0.86892177589852004"/>
        </c:manualLayout>
      </c:layout>
      <c:scatterChart>
        <c:scatterStyle val="lineMarker"/>
        <c:varyColors val="0"/>
        <c:ser>
          <c:idx val="0"/>
          <c:order val="0"/>
          <c:spPr>
            <a:ln w="19050" algn="ctr">
              <a:solidFill>
                <a:schemeClr val="accent1"/>
              </a:solidFill>
              <a:prstDash val="solid"/>
            </a:ln>
          </c:spPr>
          <c:marker>
            <c:symbol val="none"/>
          </c:marker>
          <c:xVal>
            <c:numRef>
              <c:f>Sheet1!$A$1:$C$1</c:f>
              <c:numCache>
                <c:formatCode>General</c:formatCode>
                <c:ptCount val="3"/>
                <c:pt idx="0">
                  <c:v>2019</c:v>
                </c:pt>
                <c:pt idx="1">
                  <c:v>2020</c:v>
                </c:pt>
                <c:pt idx="2">
                  <c:v>2021</c:v>
                </c:pt>
              </c:numCache>
            </c:numRef>
          </c:xVal>
          <c:yVal>
            <c:numRef>
              <c:f>Sheet1!$A$2:$C$2</c:f>
              <c:numCache>
                <c:formatCode>General</c:formatCode>
                <c:ptCount val="3"/>
                <c:pt idx="0">
                  <c:v>4.0999999999999996</c:v>
                </c:pt>
                <c:pt idx="1">
                  <c:v>5.3</c:v>
                </c:pt>
                <c:pt idx="2">
                  <c:v>3.2</c:v>
                </c:pt>
              </c:numCache>
            </c:numRef>
          </c:yVal>
          <c:smooth val="0"/>
          <c:extLst>
            <c:ext xmlns:c16="http://schemas.microsoft.com/office/drawing/2014/chart" uri="{C3380CC4-5D6E-409C-BE32-E72D297353CC}">
              <c16:uniqueId val="{00000000-36DC-466A-B06B-2F9346085922}"/>
            </c:ext>
          </c:extLst>
        </c:ser>
        <c:ser>
          <c:idx val="1"/>
          <c:order val="1"/>
          <c:spPr>
            <a:ln w="19050" algn="ctr">
              <a:solidFill>
                <a:schemeClr val="accent2"/>
              </a:solidFill>
              <a:prstDash val="solid"/>
            </a:ln>
          </c:spPr>
          <c:marker>
            <c:symbol val="none"/>
          </c:marker>
          <c:xVal>
            <c:numRef>
              <c:f>Sheet1!$A$1:$C$1</c:f>
              <c:numCache>
                <c:formatCode>General</c:formatCode>
                <c:ptCount val="3"/>
                <c:pt idx="0">
                  <c:v>2019</c:v>
                </c:pt>
                <c:pt idx="1">
                  <c:v>2020</c:v>
                </c:pt>
                <c:pt idx="2">
                  <c:v>2021</c:v>
                </c:pt>
              </c:numCache>
            </c:numRef>
          </c:xVal>
          <c:yVal>
            <c:numRef>
              <c:f>Sheet1!$A$3:$C$3</c:f>
              <c:numCache>
                <c:formatCode>General</c:formatCode>
                <c:ptCount val="3"/>
                <c:pt idx="0">
                  <c:v>5.0999999999999996</c:v>
                </c:pt>
                <c:pt idx="1">
                  <c:v>2.4</c:v>
                </c:pt>
                <c:pt idx="2">
                  <c:v>2</c:v>
                </c:pt>
              </c:numCache>
            </c:numRef>
          </c:yVal>
          <c:smooth val="0"/>
          <c:extLst>
            <c:ext xmlns:c16="http://schemas.microsoft.com/office/drawing/2014/chart" uri="{C3380CC4-5D6E-409C-BE32-E72D297353CC}">
              <c16:uniqueId val="{00000001-36DC-466A-B06B-2F9346085922}"/>
            </c:ext>
          </c:extLst>
        </c:ser>
        <c:dLbls>
          <c:showLegendKey val="0"/>
          <c:showVal val="0"/>
          <c:showCatName val="0"/>
          <c:showSerName val="0"/>
          <c:showPercent val="0"/>
          <c:showBubbleSize val="0"/>
        </c:dLbls>
        <c:axId val="1069429024"/>
        <c:axId val="1"/>
      </c:scatterChart>
      <c:valAx>
        <c:axId val="1069429024"/>
        <c:scaling>
          <c:orientation val="minMax"/>
          <c:max val="2021"/>
          <c:min val="2019"/>
        </c:scaling>
        <c:delete val="0"/>
        <c:axPos val="b"/>
        <c:majorGridlines>
          <c:spPr>
            <a:ln>
              <a:noFill/>
            </a:ln>
          </c:spPr>
        </c:majorGridlines>
        <c:numFmt formatCode="General" sourceLinked="1"/>
        <c:majorTickMark val="none"/>
        <c:minorTickMark val="none"/>
        <c:tickLblPos val="none"/>
        <c:spPr>
          <a:ln w="9525" algn="ctr">
            <a:solidFill>
              <a:srgbClr val="6A6A6A"/>
            </a:solidFill>
            <a:prstDash val="solid"/>
          </a:ln>
        </c:spPr>
        <c:crossAx val="1"/>
        <c:crosses val="min"/>
        <c:crossBetween val="midCat"/>
        <c:majorUnit val="1"/>
      </c:valAx>
      <c:valAx>
        <c:axId val="1"/>
        <c:scaling>
          <c:orientation val="minMax"/>
          <c:max val="6"/>
          <c:min val="0"/>
        </c:scaling>
        <c:delete val="0"/>
        <c:axPos val="l"/>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1000" kern="1200">
                <a:solidFill>
                  <a:schemeClr val="tx1"/>
                </a:solidFill>
                <a:latin typeface="+mn-lt"/>
                <a:ea typeface="+mn-ea"/>
                <a:cs typeface="+mn-cs"/>
              </a:defRPr>
            </a:pPr>
            <a:endParaRPr lang="nl-NL"/>
          </a:p>
        </c:txPr>
        <c:crossAx val="1069429024"/>
        <c:crosses val="min"/>
        <c:crossBetween val="midCat"/>
        <c:majorUnit val="1"/>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88728024819028E-2"/>
          <c:y val="6.0465116279069767E-2"/>
          <c:w val="0.94622543950361948"/>
          <c:h val="0.87906976744186049"/>
        </c:manualLayout>
      </c:layout>
      <c:barChart>
        <c:barDir val="col"/>
        <c:grouping val="stacked"/>
        <c:varyColors val="0"/>
        <c:ser>
          <c:idx val="0"/>
          <c:order val="0"/>
          <c:spPr>
            <a:noFill/>
            <a:ln>
              <a:noFill/>
            </a:ln>
          </c:spPr>
          <c:invertIfNegative val="0"/>
          <c:dPt>
            <c:idx val="0"/>
            <c:invertIfNegative val="0"/>
            <c:bubble3D val="0"/>
            <c:spPr>
              <a:solidFill>
                <a:schemeClr val="accent5"/>
              </a:solidFill>
              <a:ln>
                <a:noFill/>
              </a:ln>
            </c:spPr>
            <c:extLst>
              <c:ext xmlns:c16="http://schemas.microsoft.com/office/drawing/2014/chart" uri="{C3380CC4-5D6E-409C-BE32-E72D297353CC}">
                <c16:uniqueId val="{00000000-1CDA-441E-853C-6A26D2C756EF}"/>
              </c:ext>
            </c:extLst>
          </c:dPt>
          <c:dPt>
            <c:idx val="4"/>
            <c:invertIfNegative val="0"/>
            <c:bubble3D val="0"/>
            <c:spPr>
              <a:solidFill>
                <a:schemeClr val="accent5"/>
              </a:solidFill>
              <a:ln>
                <a:noFill/>
              </a:ln>
            </c:spPr>
            <c:extLst>
              <c:ext xmlns:c16="http://schemas.microsoft.com/office/drawing/2014/chart" uri="{C3380CC4-5D6E-409C-BE32-E72D297353CC}">
                <c16:uniqueId val="{00000001-1CDA-441E-853C-6A26D2C756EF}"/>
              </c:ext>
            </c:extLst>
          </c:dPt>
          <c:dLbls>
            <c:dLbl>
              <c:idx val="0"/>
              <c:layout>
                <c:manualLayout>
                  <c:x val="0"/>
                  <c:y val="-0.26744186046511625"/>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CDA-441E-853C-6A26D2C756EF}"/>
                </c:ext>
              </c:extLst>
            </c:dLbl>
            <c:dLbl>
              <c:idx val="4"/>
              <c:layout>
                <c:manualLayout>
                  <c:x val="0"/>
                  <c:y val="-0.46279069767441861"/>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CDA-441E-853C-6A26D2C756E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c:v>
                </c:pt>
                <c:pt idx="1">
                  <c:v>4</c:v>
                </c:pt>
                <c:pt idx="2">
                  <c:v>7</c:v>
                </c:pt>
                <c:pt idx="3">
                  <c:v>8</c:v>
                </c:pt>
                <c:pt idx="4">
                  <c:v>8</c:v>
                </c:pt>
              </c:numCache>
            </c:numRef>
          </c:val>
          <c:extLst>
            <c:ext xmlns:c16="http://schemas.microsoft.com/office/drawing/2014/chart" uri="{C3380CC4-5D6E-409C-BE32-E72D297353CC}">
              <c16:uniqueId val="{00000002-1CDA-441E-853C-6A26D2C756EF}"/>
            </c:ext>
          </c:extLst>
        </c:ser>
        <c:ser>
          <c:idx val="1"/>
          <c:order val="1"/>
          <c:spPr>
            <a:solidFill>
              <a:schemeClr val="accent2"/>
            </a:solidFill>
            <a:ln>
              <a:noFill/>
            </a:ln>
          </c:spPr>
          <c:invertIfNegative val="0"/>
          <c:dLbls>
            <c:dLbl>
              <c:idx val="1"/>
              <c:layout>
                <c:manualLayout>
                  <c:x val="0"/>
                  <c:y val="-3.4883720930232558E-3"/>
                </c:manualLayout>
              </c:layout>
              <c:numFmt formatCode="&quot;+&quot;0;&quot;-&quot;0;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CDA-441E-853C-6A26D2C756EF}"/>
                </c:ext>
              </c:extLst>
            </c:dLbl>
            <c:dLbl>
              <c:idx val="2"/>
              <c:layout>
                <c:manualLayout>
                  <c:x val="0"/>
                  <c:y val="-3.4883720930232558E-3"/>
                </c:manualLayout>
              </c:layout>
              <c:numFmt formatCode="&quot;+&quot;0;&quot;-&quot;0;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CDA-441E-853C-6A26D2C756E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1">
                  <c:v>3</c:v>
                </c:pt>
                <c:pt idx="2">
                  <c:v>2</c:v>
                </c:pt>
                <c:pt idx="3">
                  <c:v>1</c:v>
                </c:pt>
              </c:numCache>
            </c:numRef>
          </c:val>
          <c:extLst>
            <c:ext xmlns:c16="http://schemas.microsoft.com/office/drawing/2014/chart" uri="{C3380CC4-5D6E-409C-BE32-E72D297353CC}">
              <c16:uniqueId val="{00000005-1CDA-441E-853C-6A26D2C756EF}"/>
            </c:ext>
          </c:extLst>
        </c:ser>
        <c:dLbls>
          <c:showLegendKey val="0"/>
          <c:showVal val="0"/>
          <c:showCatName val="0"/>
          <c:showSerName val="0"/>
          <c:showPercent val="0"/>
          <c:showBubbleSize val="0"/>
        </c:dLbls>
        <c:gapWidth val="80"/>
        <c:overlap val="100"/>
        <c:axId val="1069437344"/>
        <c:axId val="1"/>
      </c:barChart>
      <c:catAx>
        <c:axId val="1069437344"/>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9"/>
          <c:min val="0"/>
        </c:scaling>
        <c:delete val="1"/>
        <c:axPos val="l"/>
        <c:numFmt formatCode="General" sourceLinked="1"/>
        <c:majorTickMark val="out"/>
        <c:minorTickMark val="none"/>
        <c:tickLblPos val="nextTo"/>
        <c:crossAx val="106943734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241545893719805E-2"/>
          <c:y val="5.3061224489795916E-2"/>
          <c:w val="0.89951690821256036"/>
          <c:h val="0.89387755102040811"/>
        </c:manualLayout>
      </c:layout>
      <c:barChart>
        <c:barDir val="col"/>
        <c:grouping val="stacked"/>
        <c:varyColors val="0"/>
        <c:ser>
          <c:idx val="0"/>
          <c:order val="0"/>
          <c:spPr>
            <a:solidFill>
              <a:schemeClr val="accent1"/>
            </a:solidFill>
            <a:ln w="9525" algn="ctr">
              <a:solidFill>
                <a:schemeClr val="bg1"/>
              </a:solidFill>
              <a:prstDash val="solid"/>
            </a:ln>
          </c:spPr>
          <c:invertIfNegative val="0"/>
          <c:dLbls>
            <c:dLbl>
              <c:idx val="0"/>
              <c:layout>
                <c:manualLayout>
                  <c:x val="0"/>
                  <c:y val="-3.061224489795918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588-4D9A-A12D-F459D5006B7C}"/>
                </c:ext>
              </c:extLst>
            </c:dLbl>
            <c:dLbl>
              <c:idx val="1"/>
              <c:layout>
                <c:manualLayout>
                  <c:x val="0"/>
                  <c:y val="-3.061224489795918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588-4D9A-A12D-F459D5006B7C}"/>
                </c:ext>
              </c:extLst>
            </c:dLbl>
            <c:dLbl>
              <c:idx val="2"/>
              <c:layout>
                <c:manualLayout>
                  <c:x val="0"/>
                  <c:y val="-3.061224489795918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588-4D9A-A12D-F459D5006B7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6</c:v>
                </c:pt>
                <c:pt idx="1">
                  <c:v>9</c:v>
                </c:pt>
                <c:pt idx="2">
                  <c:v>12.299999999999999</c:v>
                </c:pt>
              </c:numCache>
            </c:numRef>
          </c:val>
          <c:extLst>
            <c:ext xmlns:c16="http://schemas.microsoft.com/office/drawing/2014/chart" uri="{C3380CC4-5D6E-409C-BE32-E72D297353CC}">
              <c16:uniqueId val="{00000003-C588-4D9A-A12D-F459D5006B7C}"/>
            </c:ext>
          </c:extLst>
        </c:ser>
        <c:ser>
          <c:idx val="1"/>
          <c:order val="1"/>
          <c:spPr>
            <a:solidFill>
              <a:schemeClr val="folHlink"/>
            </a:solidFill>
            <a:ln w="9525" algn="ctr">
              <a:solidFill>
                <a:schemeClr val="bg1"/>
              </a:solidFill>
              <a:prstDash val="solid"/>
            </a:ln>
          </c:spPr>
          <c:invertIfNegative val="0"/>
          <c:dLbls>
            <c:dLbl>
              <c:idx val="0"/>
              <c:layout>
                <c:manualLayout>
                  <c:x val="0"/>
                  <c:y val="-3.061224489795918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588-4D9A-A12D-F459D5006B7C}"/>
                </c:ext>
              </c:extLst>
            </c:dLbl>
            <c:dLbl>
              <c:idx val="1"/>
              <c:layout>
                <c:manualLayout>
                  <c:x val="0"/>
                  <c:y val="-4.0816326530612249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588-4D9A-A12D-F459D5006B7C}"/>
                </c:ext>
              </c:extLst>
            </c:dLbl>
            <c:dLbl>
              <c:idx val="2"/>
              <c:layout>
                <c:manualLayout>
                  <c:x val="0"/>
                  <c:y val="-4.0816326530612249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588-4D9A-A12D-F459D5006B7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7.1</c:v>
                </c:pt>
                <c:pt idx="1">
                  <c:v>6.9</c:v>
                </c:pt>
                <c:pt idx="2">
                  <c:v>11.300000000000002</c:v>
                </c:pt>
              </c:numCache>
            </c:numRef>
          </c:val>
          <c:extLst>
            <c:ext xmlns:c16="http://schemas.microsoft.com/office/drawing/2014/chart" uri="{C3380CC4-5D6E-409C-BE32-E72D297353CC}">
              <c16:uniqueId val="{00000007-C588-4D9A-A12D-F459D5006B7C}"/>
            </c:ext>
          </c:extLst>
        </c:ser>
        <c:ser>
          <c:idx val="2"/>
          <c:order val="2"/>
          <c:spPr>
            <a:solidFill>
              <a:schemeClr val="accent3"/>
            </a:solidFill>
            <a:ln w="9525" algn="ctr">
              <a:solidFill>
                <a:schemeClr val="bg1"/>
              </a:solidFill>
              <a:prstDash val="solid"/>
            </a:ln>
          </c:spPr>
          <c:invertIfNegative val="0"/>
          <c:dLbls>
            <c:dLbl>
              <c:idx val="1"/>
              <c:layout>
                <c:manualLayout>
                  <c:x val="0"/>
                  <c:y val="-3.061224489795918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588-4D9A-A12D-F459D5006B7C}"/>
                </c:ext>
              </c:extLst>
            </c:dLbl>
            <c:dLbl>
              <c:idx val="2"/>
              <c:layout>
                <c:manualLayout>
                  <c:x val="0"/>
                  <c:y val="-4.0816326530612249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588-4D9A-A12D-F459D5006B7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4.0000000000000018</c:v>
                </c:pt>
                <c:pt idx="1">
                  <c:v>5.9999999999999982</c:v>
                </c:pt>
                <c:pt idx="2">
                  <c:v>8.1999999999999993</c:v>
                </c:pt>
              </c:numCache>
            </c:numRef>
          </c:val>
          <c:extLst>
            <c:ext xmlns:c16="http://schemas.microsoft.com/office/drawing/2014/chart" uri="{C3380CC4-5D6E-409C-BE32-E72D297353CC}">
              <c16:uniqueId val="{0000000A-C588-4D9A-A12D-F459D5006B7C}"/>
            </c:ext>
          </c:extLst>
        </c:ser>
        <c:ser>
          <c:idx val="3"/>
          <c:order val="3"/>
          <c:spPr>
            <a:solidFill>
              <a:schemeClr val="accent4"/>
            </a:solidFill>
            <a:ln w="9525" algn="ctr">
              <a:solidFill>
                <a:schemeClr val="bg1"/>
              </a:solidFill>
              <a:prstDash val="solid"/>
            </a:ln>
          </c:spPr>
          <c:invertIfNegative val="0"/>
          <c:dLbls>
            <c:dLbl>
              <c:idx val="0"/>
              <c:layout>
                <c:manualLayout>
                  <c:x val="4.2512077294685993E-2"/>
                  <c:y val="-3.061224489795918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588-4D9A-A12D-F459D5006B7C}"/>
                </c:ext>
              </c:extLst>
            </c:dLbl>
            <c:dLbl>
              <c:idx val="2"/>
              <c:layout>
                <c:manualLayout>
                  <c:x val="0"/>
                  <c:y val="-3.061224489795918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588-4D9A-A12D-F459D5006B7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0">
                  <c:v>5.1000000000000014</c:v>
                </c:pt>
                <c:pt idx="1">
                  <c:v>3.8999999999999986</c:v>
                </c:pt>
                <c:pt idx="2">
                  <c:v>7.1999999999999993</c:v>
                </c:pt>
              </c:numCache>
            </c:numRef>
          </c:val>
          <c:extLst>
            <c:ext xmlns:c16="http://schemas.microsoft.com/office/drawing/2014/chart" uri="{C3380CC4-5D6E-409C-BE32-E72D297353CC}">
              <c16:uniqueId val="{0000000D-C588-4D9A-A12D-F459D5006B7C}"/>
            </c:ext>
          </c:extLst>
        </c:ser>
        <c:ser>
          <c:idx val="4"/>
          <c:order val="4"/>
          <c:spPr>
            <a:solidFill>
              <a:schemeClr val="accent5"/>
            </a:solidFill>
            <a:ln w="9525" algn="ctr">
              <a:solidFill>
                <a:schemeClr val="bg1"/>
              </a:solidFill>
              <a:prstDash val="solid"/>
            </a:ln>
          </c:spPr>
          <c:invertIfNegative val="0"/>
          <c:val>
            <c:numRef>
              <c:f>Sheet1!$A$5:$C$5</c:f>
              <c:numCache>
                <c:formatCode>General</c:formatCode>
                <c:ptCount val="3"/>
                <c:pt idx="0">
                  <c:v>2</c:v>
                </c:pt>
                <c:pt idx="1">
                  <c:v>3</c:v>
                </c:pt>
                <c:pt idx="2">
                  <c:v>4.1000000000000014</c:v>
                </c:pt>
              </c:numCache>
            </c:numRef>
          </c:val>
          <c:extLst>
            <c:ext xmlns:c16="http://schemas.microsoft.com/office/drawing/2014/chart" uri="{C3380CC4-5D6E-409C-BE32-E72D297353CC}">
              <c16:uniqueId val="{0000000E-C588-4D9A-A12D-F459D5006B7C}"/>
            </c:ext>
          </c:extLst>
        </c:ser>
        <c:ser>
          <c:idx val="5"/>
          <c:order val="5"/>
          <c:spPr>
            <a:solidFill>
              <a:srgbClr val="8C8C8C"/>
            </a:solidFill>
            <a:ln w="9525" algn="ctr">
              <a:solidFill>
                <a:schemeClr val="bg1"/>
              </a:solidFill>
              <a:prstDash val="solid"/>
            </a:ln>
          </c:spPr>
          <c:invertIfNegative val="0"/>
          <c:dLbls>
            <c:dLbl>
              <c:idx val="2"/>
              <c:layout>
                <c:manualLayout>
                  <c:x val="0"/>
                  <c:y val="-3.061224489795918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588-4D9A-A12D-F459D5006B7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C$6</c:f>
              <c:numCache>
                <c:formatCode>General</c:formatCode>
                <c:ptCount val="3"/>
                <c:pt idx="0">
                  <c:v>3</c:v>
                </c:pt>
                <c:pt idx="1">
                  <c:v>4.5</c:v>
                </c:pt>
                <c:pt idx="2">
                  <c:v>6</c:v>
                </c:pt>
              </c:numCache>
            </c:numRef>
          </c:val>
          <c:extLst>
            <c:ext xmlns:c16="http://schemas.microsoft.com/office/drawing/2014/chart" uri="{C3380CC4-5D6E-409C-BE32-E72D297353CC}">
              <c16:uniqueId val="{00000010-C588-4D9A-A12D-F459D5006B7C}"/>
            </c:ext>
          </c:extLst>
        </c:ser>
        <c:ser>
          <c:idx val="6"/>
          <c:order val="6"/>
          <c:spPr>
            <a:solidFill>
              <a:srgbClr val="AFAFAF"/>
            </a:solidFill>
            <a:ln w="9525" algn="ctr">
              <a:solidFill>
                <a:schemeClr val="bg1"/>
              </a:solidFill>
              <a:prstDash val="solid"/>
            </a:ln>
          </c:spPr>
          <c:invertIfNegative val="0"/>
          <c:dLbls>
            <c:dLbl>
              <c:idx val="0"/>
              <c:layout>
                <c:manualLayout>
                  <c:x val="0.12367149758454106"/>
                  <c:y val="-3.061224489795918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588-4D9A-A12D-F459D5006B7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C$7</c:f>
              <c:numCache>
                <c:formatCode>General</c:formatCode>
                <c:ptCount val="3"/>
                <c:pt idx="0">
                  <c:v>2</c:v>
                </c:pt>
                <c:pt idx="1">
                  <c:v>3</c:v>
                </c:pt>
                <c:pt idx="2">
                  <c:v>4.1000000000000014</c:v>
                </c:pt>
              </c:numCache>
            </c:numRef>
          </c:val>
          <c:extLst>
            <c:ext xmlns:c16="http://schemas.microsoft.com/office/drawing/2014/chart" uri="{C3380CC4-5D6E-409C-BE32-E72D297353CC}">
              <c16:uniqueId val="{00000012-C588-4D9A-A12D-F459D5006B7C}"/>
            </c:ext>
          </c:extLst>
        </c:ser>
        <c:ser>
          <c:idx val="7"/>
          <c:order val="7"/>
          <c:spPr>
            <a:solidFill>
              <a:srgbClr val="DBDBDB"/>
            </a:solidFill>
            <a:ln w="9525" algn="ctr">
              <a:solidFill>
                <a:schemeClr val="bg1"/>
              </a:solidFill>
              <a:prstDash val="solid"/>
            </a:ln>
          </c:spPr>
          <c:invertIfNegative val="0"/>
          <c:val>
            <c:numRef>
              <c:f>Sheet1!$A$8:$C$8</c:f>
              <c:numCache>
                <c:formatCode>General</c:formatCode>
                <c:ptCount val="3"/>
                <c:pt idx="0">
                  <c:v>2</c:v>
                </c:pt>
                <c:pt idx="1">
                  <c:v>3</c:v>
                </c:pt>
                <c:pt idx="2">
                  <c:v>4.1000000000000014</c:v>
                </c:pt>
              </c:numCache>
            </c:numRef>
          </c:val>
          <c:extLst>
            <c:ext xmlns:c16="http://schemas.microsoft.com/office/drawing/2014/chart" uri="{C3380CC4-5D6E-409C-BE32-E72D297353CC}">
              <c16:uniqueId val="{00000013-C588-4D9A-A12D-F459D5006B7C}"/>
            </c:ext>
          </c:extLst>
        </c:ser>
        <c:dLbls>
          <c:showLegendKey val="0"/>
          <c:showVal val="0"/>
          <c:showCatName val="0"/>
          <c:showSerName val="0"/>
          <c:showPercent val="0"/>
          <c:showBubbleSize val="0"/>
        </c:dLbls>
        <c:gapWidth val="80"/>
        <c:overlap val="100"/>
        <c:axId val="1069467712"/>
        <c:axId val="1"/>
      </c:barChart>
      <c:catAx>
        <c:axId val="1069467712"/>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57.300000000000004"/>
          <c:min val="0"/>
        </c:scaling>
        <c:delete val="1"/>
        <c:axPos val="l"/>
        <c:numFmt formatCode="General" sourceLinked="1"/>
        <c:majorTickMark val="out"/>
        <c:minorTickMark val="none"/>
        <c:tickLblPos val="nextTo"/>
        <c:crossAx val="1069467712"/>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241545893719805E-2"/>
          <c:y val="5.3061224489795916E-2"/>
          <c:w val="0.89951690821256036"/>
          <c:h val="0.89387755102040811"/>
        </c:manualLayout>
      </c:layout>
      <c:barChart>
        <c:barDir val="col"/>
        <c:grouping val="stacked"/>
        <c:varyColors val="0"/>
        <c:ser>
          <c:idx val="0"/>
          <c:order val="0"/>
          <c:spPr>
            <a:solidFill>
              <a:schemeClr val="accent1"/>
            </a:solidFill>
            <a:ln w="9525" algn="ctr">
              <a:solidFill>
                <a:schemeClr val="bg1"/>
              </a:solidFill>
              <a:prstDash val="solid"/>
            </a:ln>
          </c:spPr>
          <c:invertIfNegative val="0"/>
          <c:dLbls>
            <c:dLbl>
              <c:idx val="0"/>
              <c:layout>
                <c:manualLayout>
                  <c:x val="0"/>
                  <c:y val="-3.061224489795918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8FA-4341-BFBB-BF3F082009D0}"/>
                </c:ext>
              </c:extLst>
            </c:dLbl>
            <c:dLbl>
              <c:idx val="1"/>
              <c:layout>
                <c:manualLayout>
                  <c:x val="0"/>
                  <c:y val="-3.061224489795918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8FA-4341-BFBB-BF3F082009D0}"/>
                </c:ext>
              </c:extLst>
            </c:dLbl>
            <c:dLbl>
              <c:idx val="2"/>
              <c:layout>
                <c:manualLayout>
                  <c:x val="0"/>
                  <c:y val="-3.061224489795918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8FA-4341-BFBB-BF3F082009D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6</c:v>
                </c:pt>
                <c:pt idx="1">
                  <c:v>9</c:v>
                </c:pt>
                <c:pt idx="2">
                  <c:v>12.299999999999999</c:v>
                </c:pt>
              </c:numCache>
            </c:numRef>
          </c:val>
          <c:extLst>
            <c:ext xmlns:c16="http://schemas.microsoft.com/office/drawing/2014/chart" uri="{C3380CC4-5D6E-409C-BE32-E72D297353CC}">
              <c16:uniqueId val="{00000003-E8FA-4341-BFBB-BF3F082009D0}"/>
            </c:ext>
          </c:extLst>
        </c:ser>
        <c:ser>
          <c:idx val="1"/>
          <c:order val="1"/>
          <c:spPr>
            <a:solidFill>
              <a:schemeClr val="accent2"/>
            </a:solidFill>
            <a:ln w="9525" algn="ctr">
              <a:solidFill>
                <a:schemeClr val="bg1"/>
              </a:solidFill>
              <a:prstDash val="solid"/>
            </a:ln>
          </c:spPr>
          <c:invertIfNegative val="0"/>
          <c:dLbls>
            <c:dLbl>
              <c:idx val="0"/>
              <c:layout>
                <c:manualLayout>
                  <c:x val="0"/>
                  <c:y val="-3.061224489795918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8FA-4341-BFBB-BF3F082009D0}"/>
                </c:ext>
              </c:extLst>
            </c:dLbl>
            <c:dLbl>
              <c:idx val="1"/>
              <c:layout>
                <c:manualLayout>
                  <c:x val="0"/>
                  <c:y val="-4.0816326530612249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8FA-4341-BFBB-BF3F082009D0}"/>
                </c:ext>
              </c:extLst>
            </c:dLbl>
            <c:dLbl>
              <c:idx val="2"/>
              <c:layout>
                <c:manualLayout>
                  <c:x val="0"/>
                  <c:y val="-4.0816326530612249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8FA-4341-BFBB-BF3F082009D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7.1</c:v>
                </c:pt>
                <c:pt idx="1">
                  <c:v>6.9</c:v>
                </c:pt>
                <c:pt idx="2">
                  <c:v>11.300000000000002</c:v>
                </c:pt>
              </c:numCache>
            </c:numRef>
          </c:val>
          <c:extLst>
            <c:ext xmlns:c16="http://schemas.microsoft.com/office/drawing/2014/chart" uri="{C3380CC4-5D6E-409C-BE32-E72D297353CC}">
              <c16:uniqueId val="{00000007-E8FA-4341-BFBB-BF3F082009D0}"/>
            </c:ext>
          </c:extLst>
        </c:ser>
        <c:ser>
          <c:idx val="2"/>
          <c:order val="2"/>
          <c:spPr>
            <a:solidFill>
              <a:schemeClr val="accent3"/>
            </a:solidFill>
            <a:ln w="9525" algn="ctr">
              <a:solidFill>
                <a:schemeClr val="bg1"/>
              </a:solidFill>
              <a:prstDash val="solid"/>
            </a:ln>
          </c:spPr>
          <c:invertIfNegative val="0"/>
          <c:dLbls>
            <c:dLbl>
              <c:idx val="1"/>
              <c:layout>
                <c:manualLayout>
                  <c:x val="0"/>
                  <c:y val="-3.061224489795918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8FA-4341-BFBB-BF3F082009D0}"/>
                </c:ext>
              </c:extLst>
            </c:dLbl>
            <c:dLbl>
              <c:idx val="2"/>
              <c:layout>
                <c:manualLayout>
                  <c:x val="0"/>
                  <c:y val="-4.0816326530612249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8FA-4341-BFBB-BF3F082009D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4.0000000000000018</c:v>
                </c:pt>
                <c:pt idx="1">
                  <c:v>5.9999999999999982</c:v>
                </c:pt>
                <c:pt idx="2">
                  <c:v>8.1999999999999993</c:v>
                </c:pt>
              </c:numCache>
            </c:numRef>
          </c:val>
          <c:extLst>
            <c:ext xmlns:c16="http://schemas.microsoft.com/office/drawing/2014/chart" uri="{C3380CC4-5D6E-409C-BE32-E72D297353CC}">
              <c16:uniqueId val="{0000000A-E8FA-4341-BFBB-BF3F082009D0}"/>
            </c:ext>
          </c:extLst>
        </c:ser>
        <c:ser>
          <c:idx val="3"/>
          <c:order val="3"/>
          <c:spPr>
            <a:solidFill>
              <a:schemeClr val="accent4"/>
            </a:solidFill>
            <a:ln w="9525" algn="ctr">
              <a:solidFill>
                <a:schemeClr val="bg1"/>
              </a:solidFill>
              <a:prstDash val="solid"/>
            </a:ln>
          </c:spPr>
          <c:invertIfNegative val="0"/>
          <c:dLbls>
            <c:dLbl>
              <c:idx val="0"/>
              <c:layout>
                <c:manualLayout>
                  <c:x val="4.2512077294685993E-2"/>
                  <c:y val="-3.061224489795918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8FA-4341-BFBB-BF3F082009D0}"/>
                </c:ext>
              </c:extLst>
            </c:dLbl>
            <c:dLbl>
              <c:idx val="2"/>
              <c:layout>
                <c:manualLayout>
                  <c:x val="0"/>
                  <c:y val="-3.061224489795918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8FA-4341-BFBB-BF3F082009D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0">
                  <c:v>5.1000000000000014</c:v>
                </c:pt>
                <c:pt idx="1">
                  <c:v>3.8999999999999986</c:v>
                </c:pt>
                <c:pt idx="2">
                  <c:v>7.1999999999999993</c:v>
                </c:pt>
              </c:numCache>
            </c:numRef>
          </c:val>
          <c:extLst>
            <c:ext xmlns:c16="http://schemas.microsoft.com/office/drawing/2014/chart" uri="{C3380CC4-5D6E-409C-BE32-E72D297353CC}">
              <c16:uniqueId val="{0000000D-E8FA-4341-BFBB-BF3F082009D0}"/>
            </c:ext>
          </c:extLst>
        </c:ser>
        <c:ser>
          <c:idx val="4"/>
          <c:order val="4"/>
          <c:spPr>
            <a:solidFill>
              <a:schemeClr val="accent5"/>
            </a:solidFill>
            <a:ln w="9525" algn="ctr">
              <a:solidFill>
                <a:schemeClr val="bg1"/>
              </a:solidFill>
              <a:prstDash val="solid"/>
            </a:ln>
          </c:spPr>
          <c:invertIfNegative val="0"/>
          <c:val>
            <c:numRef>
              <c:f>Sheet1!$A$5:$C$5</c:f>
              <c:numCache>
                <c:formatCode>General</c:formatCode>
                <c:ptCount val="3"/>
                <c:pt idx="0">
                  <c:v>2</c:v>
                </c:pt>
                <c:pt idx="1">
                  <c:v>3</c:v>
                </c:pt>
                <c:pt idx="2">
                  <c:v>4.1000000000000014</c:v>
                </c:pt>
              </c:numCache>
            </c:numRef>
          </c:val>
          <c:extLst>
            <c:ext xmlns:c16="http://schemas.microsoft.com/office/drawing/2014/chart" uri="{C3380CC4-5D6E-409C-BE32-E72D297353CC}">
              <c16:uniqueId val="{0000000E-E8FA-4341-BFBB-BF3F082009D0}"/>
            </c:ext>
          </c:extLst>
        </c:ser>
        <c:dLbls>
          <c:showLegendKey val="0"/>
          <c:showVal val="0"/>
          <c:showCatName val="0"/>
          <c:showSerName val="0"/>
          <c:showPercent val="0"/>
          <c:showBubbleSize val="0"/>
        </c:dLbls>
        <c:gapWidth val="80"/>
        <c:overlap val="100"/>
        <c:axId val="1069471040"/>
        <c:axId val="1"/>
      </c:barChart>
      <c:catAx>
        <c:axId val="1069471040"/>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57.300000000000004"/>
          <c:min val="0"/>
        </c:scaling>
        <c:delete val="1"/>
        <c:axPos val="l"/>
        <c:numFmt formatCode="General" sourceLinked="1"/>
        <c:majorTickMark val="out"/>
        <c:minorTickMark val="none"/>
        <c:tickLblPos val="nextTo"/>
        <c:crossAx val="106947104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810143042912875E-2"/>
          <c:y val="5.3278688524590161E-2"/>
          <c:w val="0.93237971391417429"/>
          <c:h val="0.89344262295081966"/>
        </c:manualLayout>
      </c:layout>
      <c:barChart>
        <c:barDir val="col"/>
        <c:grouping val="stacked"/>
        <c:varyColors val="0"/>
        <c:ser>
          <c:idx val="0"/>
          <c:order val="0"/>
          <c:spPr>
            <a:solidFill>
              <a:schemeClr val="accent2"/>
            </a:solidFill>
            <a:ln w="9525" algn="ctr">
              <a:solidFill>
                <a:schemeClr val="bg1"/>
              </a:solidFill>
              <a:prstDash val="solid"/>
            </a:ln>
          </c:spPr>
          <c:invertIfNegative val="0"/>
          <c:dLbls>
            <c:dLbl>
              <c:idx val="0"/>
              <c:layout>
                <c:manualLayout>
                  <c:x val="0"/>
                  <c:y val="-3.073770491803278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54A-4DE4-A36F-5E8CA40717B1}"/>
                </c:ext>
              </c:extLst>
            </c:dLbl>
            <c:dLbl>
              <c:idx val="1"/>
              <c:layout>
                <c:manualLayout>
                  <c:x val="0"/>
                  <c:y val="-3.073770491803278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54A-4DE4-A36F-5E8CA40717B1}"/>
                </c:ext>
              </c:extLst>
            </c:dLbl>
            <c:dLbl>
              <c:idx val="2"/>
              <c:layout>
                <c:manualLayout>
                  <c:x val="0"/>
                  <c:y val="-3.0737704918032786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54A-4DE4-A36F-5E8CA40717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2.9</c:v>
                </c:pt>
                <c:pt idx="1">
                  <c:v>21.8</c:v>
                </c:pt>
                <c:pt idx="2">
                  <c:v>35.1</c:v>
                </c:pt>
              </c:numCache>
            </c:numRef>
          </c:val>
          <c:extLst>
            <c:ext xmlns:c16="http://schemas.microsoft.com/office/drawing/2014/chart" uri="{C3380CC4-5D6E-409C-BE32-E72D297353CC}">
              <c16:uniqueId val="{00000003-C54A-4DE4-A36F-5E8CA40717B1}"/>
            </c:ext>
          </c:extLst>
        </c:ser>
        <c:ser>
          <c:idx val="1"/>
          <c:order val="1"/>
          <c:spPr>
            <a:solidFill>
              <a:schemeClr val="accent5"/>
            </a:solidFill>
            <a:ln w="9525" algn="ctr">
              <a:solidFill>
                <a:schemeClr val="bg1"/>
              </a:solidFill>
              <a:prstDash val="solid"/>
            </a:ln>
          </c:spPr>
          <c:invertIfNegative val="0"/>
          <c:dLbls>
            <c:dLbl>
              <c:idx val="0"/>
              <c:layout>
                <c:manualLayout>
                  <c:x val="-4.2912873862158647E-2"/>
                  <c:y val="-3.0737704918032786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54A-4DE4-A36F-5E8CA40717B1}"/>
                </c:ext>
              </c:extLst>
            </c:dLbl>
            <c:dLbl>
              <c:idx val="2"/>
              <c:layout>
                <c:manualLayout>
                  <c:x val="0"/>
                  <c:y val="-4.0983606557377051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54A-4DE4-A36F-5E8CA40717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5.0999999999999996</c:v>
                </c:pt>
                <c:pt idx="1">
                  <c:v>3.8999999999999986</c:v>
                </c:pt>
                <c:pt idx="2">
                  <c:v>7.2000000000000028</c:v>
                </c:pt>
              </c:numCache>
            </c:numRef>
          </c:val>
          <c:extLst>
            <c:ext xmlns:c16="http://schemas.microsoft.com/office/drawing/2014/chart" uri="{C3380CC4-5D6E-409C-BE32-E72D297353CC}">
              <c16:uniqueId val="{00000006-C54A-4DE4-A36F-5E8CA40717B1}"/>
            </c:ext>
          </c:extLst>
        </c:ser>
        <c:ser>
          <c:idx val="2"/>
          <c:order val="2"/>
          <c:spPr>
            <a:solidFill>
              <a:schemeClr val="accent5"/>
            </a:solidFill>
            <a:ln w="9525" algn="ctr">
              <a:solidFill>
                <a:schemeClr val="bg1"/>
              </a:solidFill>
              <a:prstDash val="solid"/>
            </a:ln>
          </c:spPr>
          <c:invertIfNegative val="0"/>
          <c:dLbls>
            <c:dLbl>
              <c:idx val="1"/>
              <c:layout>
                <c:manualLayout>
                  <c:x val="4.3563068920676205E-2"/>
                  <c:y val="-3.0737704918032786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54A-4DE4-A36F-5E8CA40717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3.5</c:v>
                </c:pt>
                <c:pt idx="1">
                  <c:v>5.3000000000000007</c:v>
                </c:pt>
                <c:pt idx="2">
                  <c:v>4.1000000000000014</c:v>
                </c:pt>
              </c:numCache>
            </c:numRef>
          </c:val>
          <c:extLst>
            <c:ext xmlns:c16="http://schemas.microsoft.com/office/drawing/2014/chart" uri="{C3380CC4-5D6E-409C-BE32-E72D297353CC}">
              <c16:uniqueId val="{00000008-C54A-4DE4-A36F-5E8CA40717B1}"/>
            </c:ext>
          </c:extLst>
        </c:ser>
        <c:dLbls>
          <c:showLegendKey val="0"/>
          <c:showVal val="0"/>
          <c:showCatName val="0"/>
          <c:showSerName val="0"/>
          <c:showPercent val="0"/>
          <c:showBubbleSize val="0"/>
        </c:dLbls>
        <c:gapWidth val="80"/>
        <c:overlap val="100"/>
        <c:axId val="1069448992"/>
        <c:axId val="1"/>
      </c:barChart>
      <c:catAx>
        <c:axId val="1069448992"/>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46.400000000000006"/>
          <c:min val="0"/>
        </c:scaling>
        <c:delete val="1"/>
        <c:axPos val="l"/>
        <c:numFmt formatCode="General" sourceLinked="1"/>
        <c:majorTickMark val="out"/>
        <c:minorTickMark val="none"/>
        <c:tickLblPos val="nextTo"/>
        <c:crossAx val="1069448992"/>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241545893719805E-2"/>
          <c:y val="5.3061224489795916E-2"/>
          <c:w val="0.89951690821256036"/>
          <c:h val="0.89387755102040811"/>
        </c:manualLayout>
      </c:layout>
      <c:barChart>
        <c:barDir val="col"/>
        <c:grouping val="stacked"/>
        <c:varyColors val="0"/>
        <c:ser>
          <c:idx val="0"/>
          <c:order val="0"/>
          <c:spPr>
            <a:solidFill>
              <a:schemeClr val="accent1"/>
            </a:solidFill>
            <a:ln w="9525" algn="ctr">
              <a:solidFill>
                <a:schemeClr val="bg1"/>
              </a:solidFill>
              <a:prstDash val="solid"/>
            </a:ln>
          </c:spPr>
          <c:invertIfNegative val="0"/>
          <c:dLbls>
            <c:dLbl>
              <c:idx val="0"/>
              <c:layout>
                <c:manualLayout>
                  <c:x val="0"/>
                  <c:y val="-3.061224489795918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10A-4BFE-8096-3EA82F392035}"/>
                </c:ext>
              </c:extLst>
            </c:dLbl>
            <c:dLbl>
              <c:idx val="1"/>
              <c:layout>
                <c:manualLayout>
                  <c:x val="0"/>
                  <c:y val="-3.061224489795918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10A-4BFE-8096-3EA82F392035}"/>
                </c:ext>
              </c:extLst>
            </c:dLbl>
            <c:dLbl>
              <c:idx val="2"/>
              <c:layout>
                <c:manualLayout>
                  <c:x val="0"/>
                  <c:y val="-3.061224489795918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10A-4BFE-8096-3EA82F3920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6</c:v>
                </c:pt>
                <c:pt idx="1">
                  <c:v>9</c:v>
                </c:pt>
                <c:pt idx="2">
                  <c:v>12.299999999999999</c:v>
                </c:pt>
              </c:numCache>
            </c:numRef>
          </c:val>
          <c:extLst>
            <c:ext xmlns:c16="http://schemas.microsoft.com/office/drawing/2014/chart" uri="{C3380CC4-5D6E-409C-BE32-E72D297353CC}">
              <c16:uniqueId val="{00000003-B10A-4BFE-8096-3EA82F392035}"/>
            </c:ext>
          </c:extLst>
        </c:ser>
        <c:ser>
          <c:idx val="1"/>
          <c:order val="1"/>
          <c:spPr>
            <a:solidFill>
              <a:schemeClr val="accent2"/>
            </a:solidFill>
            <a:ln w="9525" algn="ctr">
              <a:solidFill>
                <a:schemeClr val="bg1"/>
              </a:solidFill>
              <a:prstDash val="solid"/>
            </a:ln>
          </c:spPr>
          <c:invertIfNegative val="0"/>
          <c:dLbls>
            <c:dLbl>
              <c:idx val="0"/>
              <c:layout>
                <c:manualLayout>
                  <c:x val="0"/>
                  <c:y val="-3.061224489795918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10A-4BFE-8096-3EA82F392035}"/>
                </c:ext>
              </c:extLst>
            </c:dLbl>
            <c:dLbl>
              <c:idx val="1"/>
              <c:layout>
                <c:manualLayout>
                  <c:x val="0"/>
                  <c:y val="-4.0816326530612249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10A-4BFE-8096-3EA82F392035}"/>
                </c:ext>
              </c:extLst>
            </c:dLbl>
            <c:dLbl>
              <c:idx val="2"/>
              <c:layout>
                <c:manualLayout>
                  <c:x val="0"/>
                  <c:y val="-4.0816326530612249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10A-4BFE-8096-3EA82F3920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7.1</c:v>
                </c:pt>
                <c:pt idx="1">
                  <c:v>6.9</c:v>
                </c:pt>
                <c:pt idx="2">
                  <c:v>11.300000000000002</c:v>
                </c:pt>
              </c:numCache>
            </c:numRef>
          </c:val>
          <c:extLst>
            <c:ext xmlns:c16="http://schemas.microsoft.com/office/drawing/2014/chart" uri="{C3380CC4-5D6E-409C-BE32-E72D297353CC}">
              <c16:uniqueId val="{00000007-B10A-4BFE-8096-3EA82F392035}"/>
            </c:ext>
          </c:extLst>
        </c:ser>
        <c:ser>
          <c:idx val="2"/>
          <c:order val="2"/>
          <c:spPr>
            <a:solidFill>
              <a:schemeClr val="accent3"/>
            </a:solidFill>
            <a:ln w="9525" algn="ctr">
              <a:solidFill>
                <a:schemeClr val="bg1"/>
              </a:solidFill>
              <a:prstDash val="solid"/>
            </a:ln>
          </c:spPr>
          <c:invertIfNegative val="0"/>
          <c:dLbls>
            <c:dLbl>
              <c:idx val="1"/>
              <c:layout>
                <c:manualLayout>
                  <c:x val="0"/>
                  <c:y val="-3.061224489795918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10A-4BFE-8096-3EA82F392035}"/>
                </c:ext>
              </c:extLst>
            </c:dLbl>
            <c:dLbl>
              <c:idx val="2"/>
              <c:layout>
                <c:manualLayout>
                  <c:x val="0"/>
                  <c:y val="-4.0816326530612249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10A-4BFE-8096-3EA82F3920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4.0000000000000018</c:v>
                </c:pt>
                <c:pt idx="1">
                  <c:v>5.9999999999999982</c:v>
                </c:pt>
                <c:pt idx="2">
                  <c:v>8.1999999999999993</c:v>
                </c:pt>
              </c:numCache>
            </c:numRef>
          </c:val>
          <c:extLst>
            <c:ext xmlns:c16="http://schemas.microsoft.com/office/drawing/2014/chart" uri="{C3380CC4-5D6E-409C-BE32-E72D297353CC}">
              <c16:uniqueId val="{0000000A-B10A-4BFE-8096-3EA82F392035}"/>
            </c:ext>
          </c:extLst>
        </c:ser>
        <c:ser>
          <c:idx val="3"/>
          <c:order val="3"/>
          <c:spPr>
            <a:solidFill>
              <a:schemeClr val="accent4"/>
            </a:solidFill>
            <a:ln w="9525" algn="ctr">
              <a:solidFill>
                <a:schemeClr val="bg1"/>
              </a:solidFill>
              <a:prstDash val="solid"/>
            </a:ln>
          </c:spPr>
          <c:invertIfNegative val="0"/>
          <c:dLbls>
            <c:dLbl>
              <c:idx val="0"/>
              <c:layout>
                <c:manualLayout>
                  <c:x val="4.2512077294685993E-2"/>
                  <c:y val="-3.061224489795918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10A-4BFE-8096-3EA82F392035}"/>
                </c:ext>
              </c:extLst>
            </c:dLbl>
            <c:dLbl>
              <c:idx val="2"/>
              <c:layout>
                <c:manualLayout>
                  <c:x val="0"/>
                  <c:y val="-3.061224489795918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10A-4BFE-8096-3EA82F3920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0">
                  <c:v>5.1000000000000014</c:v>
                </c:pt>
                <c:pt idx="1">
                  <c:v>3.8999999999999986</c:v>
                </c:pt>
                <c:pt idx="2">
                  <c:v>7.1999999999999993</c:v>
                </c:pt>
              </c:numCache>
            </c:numRef>
          </c:val>
          <c:extLst>
            <c:ext xmlns:c16="http://schemas.microsoft.com/office/drawing/2014/chart" uri="{C3380CC4-5D6E-409C-BE32-E72D297353CC}">
              <c16:uniqueId val="{0000000D-B10A-4BFE-8096-3EA82F392035}"/>
            </c:ext>
          </c:extLst>
        </c:ser>
        <c:ser>
          <c:idx val="4"/>
          <c:order val="4"/>
          <c:spPr>
            <a:solidFill>
              <a:schemeClr val="accent5"/>
            </a:solidFill>
            <a:ln w="9525" algn="ctr">
              <a:solidFill>
                <a:schemeClr val="bg1"/>
              </a:solidFill>
              <a:prstDash val="solid"/>
            </a:ln>
          </c:spPr>
          <c:invertIfNegative val="0"/>
          <c:val>
            <c:numRef>
              <c:f>Sheet1!$A$5:$C$5</c:f>
              <c:numCache>
                <c:formatCode>General</c:formatCode>
                <c:ptCount val="3"/>
                <c:pt idx="0">
                  <c:v>2</c:v>
                </c:pt>
                <c:pt idx="1">
                  <c:v>3</c:v>
                </c:pt>
                <c:pt idx="2">
                  <c:v>4.1000000000000014</c:v>
                </c:pt>
              </c:numCache>
            </c:numRef>
          </c:val>
          <c:extLst>
            <c:ext xmlns:c16="http://schemas.microsoft.com/office/drawing/2014/chart" uri="{C3380CC4-5D6E-409C-BE32-E72D297353CC}">
              <c16:uniqueId val="{0000000E-B10A-4BFE-8096-3EA82F392035}"/>
            </c:ext>
          </c:extLst>
        </c:ser>
        <c:ser>
          <c:idx val="5"/>
          <c:order val="5"/>
          <c:spPr>
            <a:solidFill>
              <a:srgbClr val="8C8C8C"/>
            </a:solidFill>
            <a:ln w="9525" algn="ctr">
              <a:solidFill>
                <a:schemeClr val="bg1"/>
              </a:solidFill>
              <a:prstDash val="solid"/>
            </a:ln>
          </c:spPr>
          <c:invertIfNegative val="0"/>
          <c:dLbls>
            <c:dLbl>
              <c:idx val="2"/>
              <c:layout>
                <c:manualLayout>
                  <c:x val="0"/>
                  <c:y val="-3.061224489795918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10A-4BFE-8096-3EA82F3920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C$6</c:f>
              <c:numCache>
                <c:formatCode>General</c:formatCode>
                <c:ptCount val="3"/>
                <c:pt idx="0">
                  <c:v>3</c:v>
                </c:pt>
                <c:pt idx="1">
                  <c:v>4.5</c:v>
                </c:pt>
                <c:pt idx="2">
                  <c:v>6</c:v>
                </c:pt>
              </c:numCache>
            </c:numRef>
          </c:val>
          <c:extLst>
            <c:ext xmlns:c16="http://schemas.microsoft.com/office/drawing/2014/chart" uri="{C3380CC4-5D6E-409C-BE32-E72D297353CC}">
              <c16:uniqueId val="{00000010-B10A-4BFE-8096-3EA82F392035}"/>
            </c:ext>
          </c:extLst>
        </c:ser>
        <c:ser>
          <c:idx val="6"/>
          <c:order val="6"/>
          <c:spPr>
            <a:solidFill>
              <a:srgbClr val="AFAFAF"/>
            </a:solidFill>
            <a:ln w="9525" algn="ctr">
              <a:solidFill>
                <a:schemeClr val="bg1"/>
              </a:solidFill>
              <a:prstDash val="solid"/>
            </a:ln>
          </c:spPr>
          <c:invertIfNegative val="0"/>
          <c:dLbls>
            <c:dLbl>
              <c:idx val="0"/>
              <c:layout>
                <c:manualLayout>
                  <c:x val="0.12367149758454106"/>
                  <c:y val="-3.061224489795918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10A-4BFE-8096-3EA82F3920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C$7</c:f>
              <c:numCache>
                <c:formatCode>General</c:formatCode>
                <c:ptCount val="3"/>
                <c:pt idx="0">
                  <c:v>2</c:v>
                </c:pt>
                <c:pt idx="1">
                  <c:v>3</c:v>
                </c:pt>
                <c:pt idx="2">
                  <c:v>4.1000000000000014</c:v>
                </c:pt>
              </c:numCache>
            </c:numRef>
          </c:val>
          <c:extLst>
            <c:ext xmlns:c16="http://schemas.microsoft.com/office/drawing/2014/chart" uri="{C3380CC4-5D6E-409C-BE32-E72D297353CC}">
              <c16:uniqueId val="{00000012-B10A-4BFE-8096-3EA82F392035}"/>
            </c:ext>
          </c:extLst>
        </c:ser>
        <c:ser>
          <c:idx val="7"/>
          <c:order val="7"/>
          <c:spPr>
            <a:solidFill>
              <a:srgbClr val="DBDBDB"/>
            </a:solidFill>
            <a:ln w="9525" algn="ctr">
              <a:solidFill>
                <a:schemeClr val="bg1"/>
              </a:solidFill>
              <a:prstDash val="solid"/>
            </a:ln>
          </c:spPr>
          <c:invertIfNegative val="0"/>
          <c:val>
            <c:numRef>
              <c:f>Sheet1!$A$8:$C$8</c:f>
              <c:numCache>
                <c:formatCode>General</c:formatCode>
                <c:ptCount val="3"/>
                <c:pt idx="0">
                  <c:v>2</c:v>
                </c:pt>
                <c:pt idx="1">
                  <c:v>3</c:v>
                </c:pt>
                <c:pt idx="2">
                  <c:v>4.1000000000000014</c:v>
                </c:pt>
              </c:numCache>
            </c:numRef>
          </c:val>
          <c:extLst>
            <c:ext xmlns:c16="http://schemas.microsoft.com/office/drawing/2014/chart" uri="{C3380CC4-5D6E-409C-BE32-E72D297353CC}">
              <c16:uniqueId val="{00000013-B10A-4BFE-8096-3EA82F392035}"/>
            </c:ext>
          </c:extLst>
        </c:ser>
        <c:dLbls>
          <c:showLegendKey val="0"/>
          <c:showVal val="0"/>
          <c:showCatName val="0"/>
          <c:showSerName val="0"/>
          <c:showPercent val="0"/>
          <c:showBubbleSize val="0"/>
        </c:dLbls>
        <c:gapWidth val="80"/>
        <c:overlap val="100"/>
        <c:axId val="1069483104"/>
        <c:axId val="1"/>
      </c:barChart>
      <c:catAx>
        <c:axId val="1069483104"/>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57.300000000000004"/>
          <c:min val="0"/>
        </c:scaling>
        <c:delete val="1"/>
        <c:axPos val="l"/>
        <c:numFmt formatCode="General" sourceLinked="1"/>
        <c:majorTickMark val="out"/>
        <c:minorTickMark val="none"/>
        <c:tickLblPos val="nextTo"/>
        <c:crossAx val="1069483104"/>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241545893719805E-2"/>
          <c:y val="5.3061224489795916E-2"/>
          <c:w val="0.89951690821256036"/>
          <c:h val="0.89387755102040811"/>
        </c:manualLayout>
      </c:layout>
      <c:barChart>
        <c:barDir val="col"/>
        <c:grouping val="stacked"/>
        <c:varyColors val="0"/>
        <c:ser>
          <c:idx val="0"/>
          <c:order val="0"/>
          <c:spPr>
            <a:solidFill>
              <a:schemeClr val="accent1"/>
            </a:solidFill>
            <a:ln w="9525" algn="ctr">
              <a:solidFill>
                <a:schemeClr val="bg1"/>
              </a:solidFill>
              <a:prstDash val="solid"/>
            </a:ln>
          </c:spPr>
          <c:invertIfNegative val="0"/>
          <c:dLbls>
            <c:dLbl>
              <c:idx val="0"/>
              <c:layout>
                <c:manualLayout>
                  <c:x val="0"/>
                  <c:y val="-3.061224489795918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DA1-4039-AC1A-A153E27C81A4}"/>
                </c:ext>
              </c:extLst>
            </c:dLbl>
            <c:dLbl>
              <c:idx val="1"/>
              <c:layout>
                <c:manualLayout>
                  <c:x val="0"/>
                  <c:y val="-3.061224489795918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A1-4039-AC1A-A153E27C81A4}"/>
                </c:ext>
              </c:extLst>
            </c:dLbl>
            <c:dLbl>
              <c:idx val="2"/>
              <c:layout>
                <c:manualLayout>
                  <c:x val="0"/>
                  <c:y val="-3.061224489795918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DA1-4039-AC1A-A153E27C81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6</c:v>
                </c:pt>
                <c:pt idx="1">
                  <c:v>9</c:v>
                </c:pt>
                <c:pt idx="2">
                  <c:v>12.299999999999999</c:v>
                </c:pt>
              </c:numCache>
            </c:numRef>
          </c:val>
          <c:extLst>
            <c:ext xmlns:c16="http://schemas.microsoft.com/office/drawing/2014/chart" uri="{C3380CC4-5D6E-409C-BE32-E72D297353CC}">
              <c16:uniqueId val="{00000003-ADA1-4039-AC1A-A153E27C81A4}"/>
            </c:ext>
          </c:extLst>
        </c:ser>
        <c:ser>
          <c:idx val="1"/>
          <c:order val="1"/>
          <c:spPr>
            <a:solidFill>
              <a:schemeClr val="accent2"/>
            </a:solidFill>
            <a:ln w="9525" algn="ctr">
              <a:solidFill>
                <a:schemeClr val="bg1"/>
              </a:solidFill>
              <a:prstDash val="solid"/>
            </a:ln>
          </c:spPr>
          <c:invertIfNegative val="0"/>
          <c:dLbls>
            <c:dLbl>
              <c:idx val="0"/>
              <c:layout>
                <c:manualLayout>
                  <c:x val="0"/>
                  <c:y val="-3.061224489795918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DA1-4039-AC1A-A153E27C81A4}"/>
                </c:ext>
              </c:extLst>
            </c:dLbl>
            <c:dLbl>
              <c:idx val="1"/>
              <c:layout>
                <c:manualLayout>
                  <c:x val="0"/>
                  <c:y val="-4.0816326530612249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A1-4039-AC1A-A153E27C81A4}"/>
                </c:ext>
              </c:extLst>
            </c:dLbl>
            <c:dLbl>
              <c:idx val="2"/>
              <c:layout>
                <c:manualLayout>
                  <c:x val="0"/>
                  <c:y val="-4.0816326530612249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DA1-4039-AC1A-A153E27C81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7.1</c:v>
                </c:pt>
                <c:pt idx="1">
                  <c:v>6.9</c:v>
                </c:pt>
                <c:pt idx="2">
                  <c:v>11.300000000000002</c:v>
                </c:pt>
              </c:numCache>
            </c:numRef>
          </c:val>
          <c:extLst>
            <c:ext xmlns:c16="http://schemas.microsoft.com/office/drawing/2014/chart" uri="{C3380CC4-5D6E-409C-BE32-E72D297353CC}">
              <c16:uniqueId val="{00000007-ADA1-4039-AC1A-A153E27C81A4}"/>
            </c:ext>
          </c:extLst>
        </c:ser>
        <c:ser>
          <c:idx val="2"/>
          <c:order val="2"/>
          <c:spPr>
            <a:solidFill>
              <a:schemeClr val="accent3"/>
            </a:solidFill>
            <a:ln w="9525" algn="ctr">
              <a:solidFill>
                <a:schemeClr val="bg1"/>
              </a:solidFill>
              <a:prstDash val="solid"/>
            </a:ln>
          </c:spPr>
          <c:invertIfNegative val="0"/>
          <c:dLbls>
            <c:dLbl>
              <c:idx val="1"/>
              <c:layout>
                <c:manualLayout>
                  <c:x val="0"/>
                  <c:y val="-3.061224489795918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DA1-4039-AC1A-A153E27C81A4}"/>
                </c:ext>
              </c:extLst>
            </c:dLbl>
            <c:dLbl>
              <c:idx val="2"/>
              <c:layout>
                <c:manualLayout>
                  <c:x val="0"/>
                  <c:y val="-4.0816326530612249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DA1-4039-AC1A-A153E27C81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4.0000000000000018</c:v>
                </c:pt>
                <c:pt idx="1">
                  <c:v>5.9999999999999982</c:v>
                </c:pt>
                <c:pt idx="2">
                  <c:v>8.1999999999999993</c:v>
                </c:pt>
              </c:numCache>
            </c:numRef>
          </c:val>
          <c:extLst>
            <c:ext xmlns:c16="http://schemas.microsoft.com/office/drawing/2014/chart" uri="{C3380CC4-5D6E-409C-BE32-E72D297353CC}">
              <c16:uniqueId val="{0000000A-ADA1-4039-AC1A-A153E27C81A4}"/>
            </c:ext>
          </c:extLst>
        </c:ser>
        <c:ser>
          <c:idx val="3"/>
          <c:order val="3"/>
          <c:spPr>
            <a:solidFill>
              <a:schemeClr val="accent4"/>
            </a:solidFill>
            <a:ln w="9525" algn="ctr">
              <a:solidFill>
                <a:schemeClr val="bg1"/>
              </a:solidFill>
              <a:prstDash val="solid"/>
            </a:ln>
          </c:spPr>
          <c:invertIfNegative val="0"/>
          <c:dLbls>
            <c:dLbl>
              <c:idx val="0"/>
              <c:layout>
                <c:manualLayout>
                  <c:x val="4.2512077294685993E-2"/>
                  <c:y val="-3.061224489795918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DA1-4039-AC1A-A153E27C81A4}"/>
                </c:ext>
              </c:extLst>
            </c:dLbl>
            <c:dLbl>
              <c:idx val="2"/>
              <c:layout>
                <c:manualLayout>
                  <c:x val="0"/>
                  <c:y val="-3.0612244897959182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DA1-4039-AC1A-A153E27C81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0">
                  <c:v>5.1000000000000014</c:v>
                </c:pt>
                <c:pt idx="1">
                  <c:v>3.8999999999999986</c:v>
                </c:pt>
                <c:pt idx="2">
                  <c:v>7.1999999999999993</c:v>
                </c:pt>
              </c:numCache>
            </c:numRef>
          </c:val>
          <c:extLst>
            <c:ext xmlns:c16="http://schemas.microsoft.com/office/drawing/2014/chart" uri="{C3380CC4-5D6E-409C-BE32-E72D297353CC}">
              <c16:uniqueId val="{0000000D-ADA1-4039-AC1A-A153E27C81A4}"/>
            </c:ext>
          </c:extLst>
        </c:ser>
        <c:ser>
          <c:idx val="4"/>
          <c:order val="4"/>
          <c:spPr>
            <a:solidFill>
              <a:schemeClr val="accent5"/>
            </a:solidFill>
            <a:ln w="9525" algn="ctr">
              <a:solidFill>
                <a:schemeClr val="bg1"/>
              </a:solidFill>
              <a:prstDash val="solid"/>
            </a:ln>
          </c:spPr>
          <c:invertIfNegative val="0"/>
          <c:val>
            <c:numRef>
              <c:f>Sheet1!$A$5:$C$5</c:f>
              <c:numCache>
                <c:formatCode>General</c:formatCode>
                <c:ptCount val="3"/>
                <c:pt idx="0">
                  <c:v>2</c:v>
                </c:pt>
                <c:pt idx="1">
                  <c:v>3</c:v>
                </c:pt>
                <c:pt idx="2">
                  <c:v>4.1000000000000014</c:v>
                </c:pt>
              </c:numCache>
            </c:numRef>
          </c:val>
          <c:extLst>
            <c:ext xmlns:c16="http://schemas.microsoft.com/office/drawing/2014/chart" uri="{C3380CC4-5D6E-409C-BE32-E72D297353CC}">
              <c16:uniqueId val="{0000000E-ADA1-4039-AC1A-A153E27C81A4}"/>
            </c:ext>
          </c:extLst>
        </c:ser>
        <c:dLbls>
          <c:showLegendKey val="0"/>
          <c:showVal val="0"/>
          <c:showCatName val="0"/>
          <c:showSerName val="0"/>
          <c:showPercent val="0"/>
          <c:showBubbleSize val="0"/>
        </c:dLbls>
        <c:gapWidth val="80"/>
        <c:overlap val="100"/>
        <c:axId val="1069469376"/>
        <c:axId val="1"/>
      </c:barChart>
      <c:catAx>
        <c:axId val="1069469376"/>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57.300000000000004"/>
          <c:min val="0"/>
        </c:scaling>
        <c:delete val="1"/>
        <c:axPos val="l"/>
        <c:numFmt formatCode="General" sourceLinked="1"/>
        <c:majorTickMark val="out"/>
        <c:minorTickMark val="none"/>
        <c:tickLblPos val="nextTo"/>
        <c:crossAx val="1069469376"/>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76997578692496E-2"/>
          <c:y val="5.0290135396518373E-2"/>
          <c:w val="0.93704600484261502"/>
          <c:h val="0.89941972920696323"/>
        </c:manualLayout>
      </c:layout>
      <c:barChart>
        <c:barDir val="col"/>
        <c:grouping val="stacked"/>
        <c:varyColors val="0"/>
        <c:ser>
          <c:idx val="0"/>
          <c:order val="0"/>
          <c:spPr>
            <a:solidFill>
              <a:schemeClr val="accent1"/>
            </a:solidFill>
            <a:ln w="9525" algn="ctr">
              <a:solidFill>
                <a:schemeClr val="bg1"/>
              </a:solidFill>
              <a:prstDash val="solid"/>
            </a:ln>
          </c:spPr>
          <c:invertIfNegative val="0"/>
          <c:dLbls>
            <c:dLbl>
              <c:idx val="0"/>
              <c:layout>
                <c:manualLayout>
                  <c:x val="0"/>
                  <c:y val="-3.8684719535783366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E3C-48EE-8AE7-4C831097856C}"/>
                </c:ext>
              </c:extLst>
            </c:dLbl>
            <c:dLbl>
              <c:idx val="1"/>
              <c:layout>
                <c:manualLayout>
                  <c:x val="0"/>
                  <c:y val="-3.8684719535783366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E3C-48EE-8AE7-4C831097856C}"/>
                </c:ext>
              </c:extLst>
            </c:dLbl>
            <c:dLbl>
              <c:idx val="2"/>
              <c:layout>
                <c:manualLayout>
                  <c:x val="0"/>
                  <c:y val="-2.9013539651837525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E3C-48EE-8AE7-4C83109785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2.9</c:v>
                </c:pt>
                <c:pt idx="1">
                  <c:v>21.8</c:v>
                </c:pt>
                <c:pt idx="2">
                  <c:v>35.1</c:v>
                </c:pt>
              </c:numCache>
            </c:numRef>
          </c:val>
          <c:extLst>
            <c:ext xmlns:c16="http://schemas.microsoft.com/office/drawing/2014/chart" uri="{C3380CC4-5D6E-409C-BE32-E72D297353CC}">
              <c16:uniqueId val="{00000003-4E3C-48EE-8AE7-4C831097856C}"/>
            </c:ext>
          </c:extLst>
        </c:ser>
        <c:ser>
          <c:idx val="1"/>
          <c:order val="1"/>
          <c:spPr>
            <a:solidFill>
              <a:schemeClr val="accent3"/>
            </a:solidFill>
            <a:ln w="9525" algn="ctr">
              <a:solidFill>
                <a:schemeClr val="bg1"/>
              </a:solidFill>
              <a:prstDash val="solid"/>
            </a:ln>
          </c:spPr>
          <c:invertIfNegative val="0"/>
          <c:dLbls>
            <c:dLbl>
              <c:idx val="0"/>
              <c:layout>
                <c:manualLayout>
                  <c:x val="0"/>
                  <c:y val="-2.9013539651837525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E3C-48EE-8AE7-4C831097856C}"/>
                </c:ext>
              </c:extLst>
            </c:dLbl>
            <c:dLbl>
              <c:idx val="1"/>
              <c:layout>
                <c:manualLayout>
                  <c:x val="0"/>
                  <c:y val="-2.9013539651837525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E3C-48EE-8AE7-4C831097856C}"/>
                </c:ext>
              </c:extLst>
            </c:dLbl>
            <c:dLbl>
              <c:idx val="2"/>
              <c:layout>
                <c:manualLayout>
                  <c:x val="0"/>
                  <c:y val="-2.9013539651837525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E3C-48EE-8AE7-4C83109785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5.0999999999999996</c:v>
                </c:pt>
                <c:pt idx="1">
                  <c:v>3.8999999999999986</c:v>
                </c:pt>
                <c:pt idx="2">
                  <c:v>7.2000000000000028</c:v>
                </c:pt>
              </c:numCache>
            </c:numRef>
          </c:val>
          <c:extLst>
            <c:ext xmlns:c16="http://schemas.microsoft.com/office/drawing/2014/chart" uri="{C3380CC4-5D6E-409C-BE32-E72D297353CC}">
              <c16:uniqueId val="{00000007-4E3C-48EE-8AE7-4C831097856C}"/>
            </c:ext>
          </c:extLst>
        </c:ser>
        <c:ser>
          <c:idx val="2"/>
          <c:order val="2"/>
          <c:spPr>
            <a:solidFill>
              <a:schemeClr val="accent5"/>
            </a:solidFill>
            <a:ln w="9525" algn="ctr">
              <a:solidFill>
                <a:schemeClr val="bg1"/>
              </a:solidFill>
              <a:prstDash val="solid"/>
            </a:ln>
          </c:spPr>
          <c:invertIfNegative val="0"/>
          <c:dLbls>
            <c:dLbl>
              <c:idx val="1"/>
              <c:layout>
                <c:manualLayout>
                  <c:x val="0"/>
                  <c:y val="-2.9013539651837525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E3C-48EE-8AE7-4C831097856C}"/>
                </c:ext>
              </c:extLst>
            </c:dLbl>
            <c:dLbl>
              <c:idx val="2"/>
              <c:layout>
                <c:manualLayout>
                  <c:x val="0"/>
                  <c:y val="-2.9013539651837525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E3C-48EE-8AE7-4C83109785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3.5</c:v>
                </c:pt>
                <c:pt idx="1">
                  <c:v>5.3000000000000007</c:v>
                </c:pt>
                <c:pt idx="2">
                  <c:v>4.1000000000000014</c:v>
                </c:pt>
              </c:numCache>
            </c:numRef>
          </c:val>
          <c:extLst>
            <c:ext xmlns:c16="http://schemas.microsoft.com/office/drawing/2014/chart" uri="{C3380CC4-5D6E-409C-BE32-E72D297353CC}">
              <c16:uniqueId val="{0000000A-4E3C-48EE-8AE7-4C831097856C}"/>
            </c:ext>
          </c:extLst>
        </c:ser>
        <c:dLbls>
          <c:showLegendKey val="0"/>
          <c:showVal val="0"/>
          <c:showCatName val="0"/>
          <c:showSerName val="0"/>
          <c:showPercent val="0"/>
          <c:showBubbleSize val="0"/>
        </c:dLbls>
        <c:gapWidth val="80"/>
        <c:overlap val="100"/>
        <c:axId val="1069430272"/>
        <c:axId val="1"/>
      </c:barChart>
      <c:catAx>
        <c:axId val="1069430272"/>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46.400000000000006"/>
          <c:min val="0"/>
        </c:scaling>
        <c:delete val="1"/>
        <c:axPos val="l"/>
        <c:numFmt formatCode="General" sourceLinked="1"/>
        <c:majorTickMark val="out"/>
        <c:minorTickMark val="none"/>
        <c:tickLblPos val="nextTo"/>
        <c:crossAx val="1069430272"/>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056603773584909E-2"/>
          <c:y val="5.0290135396518373E-2"/>
          <c:w val="0.82452830188679249"/>
          <c:h val="0.89941972920696323"/>
        </c:manualLayout>
      </c:layout>
      <c:barChart>
        <c:barDir val="bar"/>
        <c:grouping val="stacked"/>
        <c:varyColors val="0"/>
        <c:ser>
          <c:idx val="0"/>
          <c:order val="0"/>
          <c:spPr>
            <a:solidFill>
              <a:schemeClr val="accent1"/>
            </a:solidFill>
            <a:ln w="9525" algn="ctr">
              <a:solidFill>
                <a:schemeClr val="bg1"/>
              </a:solidFill>
              <a:prstDash val="solid"/>
            </a:ln>
          </c:spPr>
          <c:invertIfNegative val="0"/>
          <c:dLbls>
            <c:dLbl>
              <c:idx val="0"/>
              <c:layout>
                <c:manualLayout>
                  <c:x val="0.47452830188679246"/>
                  <c:y val="2.9013539651837525E-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81A-41F4-BC6D-22F31E5168BD}"/>
                </c:ext>
              </c:extLst>
            </c:dLbl>
            <c:dLbl>
              <c:idx val="1"/>
              <c:layout>
                <c:manualLayout>
                  <c:x val="0.31981132075471697"/>
                  <c:y val="2.9013539651837525E-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81A-41F4-BC6D-22F31E5168BD}"/>
                </c:ext>
              </c:extLst>
            </c:dLbl>
            <c:dLbl>
              <c:idx val="2"/>
              <c:layout>
                <c:manualLayout>
                  <c:x val="0.21320754716981133"/>
                  <c:y val="2.9013539651837525E-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81A-41F4-BC6D-22F31E5168B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35.1</c:v>
                </c:pt>
                <c:pt idx="1">
                  <c:v>21.8</c:v>
                </c:pt>
                <c:pt idx="2">
                  <c:v>12.9</c:v>
                </c:pt>
              </c:numCache>
            </c:numRef>
          </c:val>
          <c:extLst>
            <c:ext xmlns:c16="http://schemas.microsoft.com/office/drawing/2014/chart" uri="{C3380CC4-5D6E-409C-BE32-E72D297353CC}">
              <c16:uniqueId val="{00000003-581A-41F4-BC6D-22F31E5168BD}"/>
            </c:ext>
          </c:extLst>
        </c:ser>
        <c:dLbls>
          <c:showLegendKey val="0"/>
          <c:showVal val="0"/>
          <c:showCatName val="0"/>
          <c:showSerName val="0"/>
          <c:showPercent val="0"/>
          <c:showBubbleSize val="0"/>
        </c:dLbls>
        <c:gapWidth val="80"/>
        <c:overlap val="100"/>
        <c:axId val="1069446080"/>
        <c:axId val="1"/>
      </c:barChart>
      <c:catAx>
        <c:axId val="1069446080"/>
        <c:scaling>
          <c:orientation val="maxMin"/>
        </c:scaling>
        <c:delete val="0"/>
        <c:axPos val="l"/>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35.1"/>
          <c:min val="0"/>
        </c:scaling>
        <c:delete val="1"/>
        <c:axPos val="t"/>
        <c:numFmt formatCode="General" sourceLinked="1"/>
        <c:majorTickMark val="out"/>
        <c:minorTickMark val="none"/>
        <c:tickLblPos val="nextTo"/>
        <c:crossAx val="1069446080"/>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76997578692496E-2"/>
          <c:y val="5.0290135396518373E-2"/>
          <c:w val="0.93704600484261502"/>
          <c:h val="0.89941972920696323"/>
        </c:manualLayout>
      </c:layout>
      <c:barChart>
        <c:barDir val="col"/>
        <c:grouping val="stacked"/>
        <c:varyColors val="0"/>
        <c:ser>
          <c:idx val="0"/>
          <c:order val="0"/>
          <c:spPr>
            <a:solidFill>
              <a:schemeClr val="accent1"/>
            </a:solidFill>
            <a:ln w="9525" algn="ctr">
              <a:solidFill>
                <a:schemeClr val="bg1"/>
              </a:solidFill>
              <a:prstDash val="solid"/>
            </a:ln>
          </c:spPr>
          <c:invertIfNegative val="0"/>
          <c:dLbls>
            <c:dLbl>
              <c:idx val="0"/>
              <c:layout>
                <c:manualLayout>
                  <c:x val="0"/>
                  <c:y val="-2.9013539651837525E-3"/>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01E-4697-BFBD-D0BCD34CF41D}"/>
                </c:ext>
              </c:extLst>
            </c:dLbl>
            <c:dLbl>
              <c:idx val="1"/>
              <c:layout>
                <c:manualLayout>
                  <c:x val="0"/>
                  <c:y val="-2.9013539651837525E-3"/>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01E-4697-BFBD-D0BCD34CF41D}"/>
                </c:ext>
              </c:extLst>
            </c:dLbl>
            <c:dLbl>
              <c:idx val="2"/>
              <c:layout>
                <c:manualLayout>
                  <c:x val="0"/>
                  <c:y val="-2.9013539651837525E-3"/>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1E-4697-BFBD-D0BCD34CF41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60</c:v>
                </c:pt>
                <c:pt idx="1">
                  <c:v>70.322580645161295</c:v>
                </c:pt>
                <c:pt idx="2">
                  <c:v>75.646551724137922</c:v>
                </c:pt>
              </c:numCache>
            </c:numRef>
          </c:val>
          <c:extLst>
            <c:ext xmlns:c16="http://schemas.microsoft.com/office/drawing/2014/chart" uri="{C3380CC4-5D6E-409C-BE32-E72D297353CC}">
              <c16:uniqueId val="{00000003-401E-4697-BFBD-D0BCD34CF41D}"/>
            </c:ext>
          </c:extLst>
        </c:ser>
        <c:ser>
          <c:idx val="1"/>
          <c:order val="1"/>
          <c:spPr>
            <a:solidFill>
              <a:schemeClr val="accent3"/>
            </a:solidFill>
            <a:ln w="9525" algn="ctr">
              <a:solidFill>
                <a:schemeClr val="bg1"/>
              </a:solidFill>
              <a:prstDash val="solid"/>
            </a:ln>
          </c:spPr>
          <c:invertIfNegative val="0"/>
          <c:dLbls>
            <c:dLbl>
              <c:idx val="0"/>
              <c:layout>
                <c:manualLayout>
                  <c:x val="0"/>
                  <c:y val="-3.8684719535783366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01E-4697-BFBD-D0BCD34CF41D}"/>
                </c:ext>
              </c:extLst>
            </c:dLbl>
            <c:dLbl>
              <c:idx val="1"/>
              <c:layout>
                <c:manualLayout>
                  <c:x val="0"/>
                  <c:y val="-3.8684719535783366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01E-4697-BFBD-D0BCD34CF41D}"/>
                </c:ext>
              </c:extLst>
            </c:dLbl>
            <c:dLbl>
              <c:idx val="2"/>
              <c:layout>
                <c:manualLayout>
                  <c:x val="0"/>
                  <c:y val="-2.9013539651837525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01E-4697-BFBD-D0BCD34CF41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23.720930232558135</c:v>
                </c:pt>
                <c:pt idx="1">
                  <c:v>12.580645161290327</c:v>
                </c:pt>
                <c:pt idx="2">
                  <c:v>15.517241379310342</c:v>
                </c:pt>
              </c:numCache>
            </c:numRef>
          </c:val>
          <c:extLst>
            <c:ext xmlns:c16="http://schemas.microsoft.com/office/drawing/2014/chart" uri="{C3380CC4-5D6E-409C-BE32-E72D297353CC}">
              <c16:uniqueId val="{00000007-401E-4697-BFBD-D0BCD34CF41D}"/>
            </c:ext>
          </c:extLst>
        </c:ser>
        <c:ser>
          <c:idx val="2"/>
          <c:order val="2"/>
          <c:spPr>
            <a:solidFill>
              <a:schemeClr val="accent5"/>
            </a:solidFill>
            <a:ln w="9525" algn="ctr">
              <a:solidFill>
                <a:schemeClr val="bg1"/>
              </a:solidFill>
              <a:prstDash val="solid"/>
            </a:ln>
          </c:spPr>
          <c:invertIfNegative val="0"/>
          <c:dLbls>
            <c:dLbl>
              <c:idx val="0"/>
              <c:layout>
                <c:manualLayout>
                  <c:x val="0"/>
                  <c:y val="-3.8684719535783366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01E-4697-BFBD-D0BCD34CF41D}"/>
                </c:ext>
              </c:extLst>
            </c:dLbl>
            <c:dLbl>
              <c:idx val="1"/>
              <c:layout>
                <c:manualLayout>
                  <c:x val="0"/>
                  <c:y val="-3.8684719535783366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01E-4697-BFBD-D0BCD34CF41D}"/>
                </c:ext>
              </c:extLst>
            </c:dLbl>
            <c:dLbl>
              <c:idx val="2"/>
              <c:layout>
                <c:manualLayout>
                  <c:x val="0"/>
                  <c:y val="-2.9013539651837525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01E-4697-BFBD-D0BCD34CF41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16.279069767441868</c:v>
                </c:pt>
                <c:pt idx="1">
                  <c:v>17.096774193548381</c:v>
                </c:pt>
                <c:pt idx="2">
                  <c:v>8.8362068965517242</c:v>
                </c:pt>
              </c:numCache>
            </c:numRef>
          </c:val>
          <c:extLst>
            <c:ext xmlns:c16="http://schemas.microsoft.com/office/drawing/2014/chart" uri="{C3380CC4-5D6E-409C-BE32-E72D297353CC}">
              <c16:uniqueId val="{0000000B-401E-4697-BFBD-D0BCD34CF41D}"/>
            </c:ext>
          </c:extLst>
        </c:ser>
        <c:dLbls>
          <c:showLegendKey val="0"/>
          <c:showVal val="0"/>
          <c:showCatName val="0"/>
          <c:showSerName val="0"/>
          <c:showPercent val="0"/>
          <c:showBubbleSize val="0"/>
        </c:dLbls>
        <c:gapWidth val="80"/>
        <c:overlap val="100"/>
        <c:axId val="1069471456"/>
        <c:axId val="1"/>
      </c:barChart>
      <c:catAx>
        <c:axId val="1069471456"/>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069471456"/>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1" y="0"/>
            <a:ext cx="2945659" cy="233464"/>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nl-NL" dirty="0"/>
          </a:p>
        </p:txBody>
      </p:sp>
      <p:sp>
        <p:nvSpPr>
          <p:cNvPr id="4" name="Tijdelijke aanduiding voor voettekst 3"/>
          <p:cNvSpPr>
            <a:spLocks noGrp="1"/>
          </p:cNvSpPr>
          <p:nvPr>
            <p:ph type="ftr" sz="quarter" idx="2"/>
          </p:nvPr>
        </p:nvSpPr>
        <p:spPr>
          <a:xfrm>
            <a:off x="1" y="9637483"/>
            <a:ext cx="2945659" cy="233465"/>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nl-NL"/>
          </a:p>
        </p:txBody>
      </p:sp>
      <p:sp>
        <p:nvSpPr>
          <p:cNvPr id="5" name="Tijdelijke aanduiding voor dianummer 4"/>
          <p:cNvSpPr>
            <a:spLocks noGrp="1"/>
          </p:cNvSpPr>
          <p:nvPr>
            <p:ph type="sldNum" sz="quarter" idx="3"/>
          </p:nvPr>
        </p:nvSpPr>
        <p:spPr>
          <a:xfrm>
            <a:off x="3850443" y="9637483"/>
            <a:ext cx="2945659" cy="233465"/>
          </a:xfrm>
          <a:prstGeom prst="rect">
            <a:avLst/>
          </a:prstGeom>
        </p:spPr>
        <p:txBody>
          <a:bodyPr vert="horz" wrap="square" lIns="91440" tIns="45720" rIns="91440" bIns="45720" numCol="1" anchor="b" anchorCtr="0" compatLnSpc="1">
            <a:prstTxWarp prst="textNoShape">
              <a:avLst/>
            </a:prstTxWarp>
          </a:bodyPr>
          <a:lstStyle>
            <a:lvl1pPr algn="r">
              <a:defRPr sz="1200">
                <a:latin typeface="Corbel" panose="020B0503020204020204" pitchFamily="34" charset="0"/>
              </a:defRPr>
            </a:lvl1pPr>
          </a:lstStyle>
          <a:p>
            <a:fld id="{105BA4F0-4399-43FC-95AF-A89BF753ED41}" type="slidenum">
              <a:rPr lang="nl-NL" altLang="en-US"/>
              <a:pPr/>
              <a:t>‹#›</a:t>
            </a:fld>
            <a:endParaRPr lang="nl-NL" altLang="en-US"/>
          </a:p>
        </p:txBody>
      </p:sp>
    </p:spTree>
    <p:extLst>
      <p:ext uri="{BB962C8B-B14F-4D97-AF65-F5344CB8AC3E}">
        <p14:creationId xmlns:p14="http://schemas.microsoft.com/office/powerpoint/2010/main" val="230462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1" y="0"/>
            <a:ext cx="2945659" cy="257175"/>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nl-NL" dirty="0"/>
          </a:p>
        </p:txBody>
      </p:sp>
      <p:sp>
        <p:nvSpPr>
          <p:cNvPr id="3" name="Tijdelijke aanduiding voor datum 2"/>
          <p:cNvSpPr>
            <a:spLocks noGrp="1"/>
          </p:cNvSpPr>
          <p:nvPr>
            <p:ph type="dt" idx="1"/>
          </p:nvPr>
        </p:nvSpPr>
        <p:spPr>
          <a:xfrm>
            <a:off x="3850443" y="0"/>
            <a:ext cx="2945659" cy="257175"/>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AC5868DF-D8BD-409C-B6DB-626CBFA20D94}" type="datetimeFigureOut">
              <a:rPr lang="nl-NL"/>
              <a:pPr>
                <a:defRPr/>
              </a:pPr>
              <a:t>2-6-2021</a:t>
            </a:fld>
            <a:endParaRPr lang="nl-NL" dirty="0"/>
          </a:p>
        </p:txBody>
      </p:sp>
      <p:sp>
        <p:nvSpPr>
          <p:cNvPr id="4" name="Tijdelijke aanduiding voor dia-afbeelding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pPr lvl="0"/>
            <a:endParaRPr lang="nl-NL" noProof="0" dirty="0"/>
          </a:p>
        </p:txBody>
      </p:sp>
      <p:sp>
        <p:nvSpPr>
          <p:cNvPr id="5" name="Tijdelijke aanduiding voor notities 4"/>
          <p:cNvSpPr>
            <a:spLocks noGrp="1"/>
          </p:cNvSpPr>
          <p:nvPr>
            <p:ph type="body" sz="quarter" idx="3"/>
          </p:nvPr>
        </p:nvSpPr>
        <p:spPr>
          <a:xfrm>
            <a:off x="106363" y="4689515"/>
            <a:ext cx="6584950" cy="4442699"/>
          </a:xfrm>
          <a:prstGeom prst="rect">
            <a:avLst/>
          </a:prstGeom>
        </p:spPr>
        <p:txBody>
          <a:bodyPr vert="horz" lIns="91440" tIns="45720" rIns="91440" bIns="45720" rtlCol="0">
            <a:normAutofit/>
          </a:bodyPr>
          <a:lstStyle/>
          <a:p>
            <a:pPr lvl="0"/>
            <a:r>
              <a:rPr lang="nl-NL" noProof="0" dirty="0"/>
              <a:t>Klik om de modelstijlen te bewerken</a:t>
            </a:r>
          </a:p>
          <a:p>
            <a:pPr lvl="0"/>
            <a:r>
              <a:rPr lang="nl-NL" noProof="0" dirty="0"/>
              <a:t>Tweede niveau</a:t>
            </a:r>
          </a:p>
          <a:p>
            <a:pPr lvl="0"/>
            <a:r>
              <a:rPr lang="nl-NL" noProof="0" dirty="0"/>
              <a:t>Derde niveau</a:t>
            </a:r>
          </a:p>
          <a:p>
            <a:pPr lvl="0"/>
            <a:r>
              <a:rPr lang="nl-NL" noProof="0" dirty="0"/>
              <a:t>Vierde niveau</a:t>
            </a:r>
          </a:p>
          <a:p>
            <a:pPr lvl="0"/>
            <a:r>
              <a:rPr lang="nl-NL" noProof="0" dirty="0"/>
              <a:t>Vijfde niveau</a:t>
            </a:r>
          </a:p>
        </p:txBody>
      </p:sp>
      <p:sp>
        <p:nvSpPr>
          <p:cNvPr id="6" name="Tijdelijke aanduiding voor voettekst 5"/>
          <p:cNvSpPr>
            <a:spLocks noGrp="1"/>
          </p:cNvSpPr>
          <p:nvPr>
            <p:ph type="ftr" sz="quarter" idx="4"/>
          </p:nvPr>
        </p:nvSpPr>
        <p:spPr>
          <a:xfrm>
            <a:off x="1" y="9613774"/>
            <a:ext cx="2945659" cy="257175"/>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nl-NL"/>
          </a:p>
        </p:txBody>
      </p:sp>
      <p:sp>
        <p:nvSpPr>
          <p:cNvPr id="7" name="Tijdelijke aanduiding voor dianummer 6"/>
          <p:cNvSpPr>
            <a:spLocks noGrp="1"/>
          </p:cNvSpPr>
          <p:nvPr>
            <p:ph type="sldNum" sz="quarter" idx="5"/>
          </p:nvPr>
        </p:nvSpPr>
        <p:spPr>
          <a:xfrm>
            <a:off x="3850443" y="9613774"/>
            <a:ext cx="2945659" cy="257175"/>
          </a:xfrm>
          <a:prstGeom prst="rect">
            <a:avLst/>
          </a:prstGeom>
        </p:spPr>
        <p:txBody>
          <a:bodyPr vert="horz" wrap="square" lIns="91440" tIns="45720" rIns="91440" bIns="45720" numCol="1" anchor="b" anchorCtr="0" compatLnSpc="1">
            <a:prstTxWarp prst="textNoShape">
              <a:avLst/>
            </a:prstTxWarp>
          </a:bodyPr>
          <a:lstStyle>
            <a:lvl1pPr algn="r">
              <a:defRPr sz="1200">
                <a:latin typeface="Corbel" panose="020B0503020204020204" pitchFamily="34" charset="0"/>
              </a:defRPr>
            </a:lvl1pPr>
          </a:lstStyle>
          <a:p>
            <a:fld id="{3894C14A-43FC-4077-9BE3-59190B437372}" type="slidenum">
              <a:rPr lang="nl-NL" altLang="en-US"/>
              <a:pPr/>
              <a:t>‹#›</a:t>
            </a:fld>
            <a:endParaRPr lang="nl-NL" altLang="en-US"/>
          </a:p>
        </p:txBody>
      </p:sp>
    </p:spTree>
    <p:extLst>
      <p:ext uri="{BB962C8B-B14F-4D97-AF65-F5344CB8AC3E}">
        <p14:creationId xmlns:p14="http://schemas.microsoft.com/office/powerpoint/2010/main" val="147431080"/>
      </p:ext>
    </p:extLst>
  </p:cSld>
  <p:clrMap bg1="lt1" tx1="dk1" bg2="lt2" tx2="dk2" accent1="accent1" accent2="accent2" accent3="accent3" accent4="accent4" accent5="accent5" accent6="accent6" hlink="hlink" folHlink="folHlink"/>
  <p:notesStyle>
    <a:lvl1pPr marL="1714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1pPr>
    <a:lvl2pPr marL="6286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2pPr>
    <a:lvl3pPr marL="10858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3pPr>
    <a:lvl4pPr marL="15430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4pPr>
    <a:lvl5pPr marL="20002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65.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38.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70.xml"/><Relationship Id="rId6" Type="http://schemas.openxmlformats.org/officeDocument/2006/relationships/image" Target="../media/image3.png"/><Relationship Id="rId5" Type="http://schemas.openxmlformats.org/officeDocument/2006/relationships/hyperlink" Target="http://www.itspublic.nl/" TargetMode="External"/><Relationship Id="rId4" Type="http://schemas.openxmlformats.org/officeDocument/2006/relationships/image" Target="../media/image2.emf"/><Relationship Id="rId9"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userDrawn="1">
            <p:custDataLst>
              <p:tags r:id="rId1"/>
            </p:custDataLst>
            <p:extLst>
              <p:ext uri="{D42A27DB-BD31-4B8C-83A1-F6EECF244321}">
                <p14:modId xmlns:p14="http://schemas.microsoft.com/office/powerpoint/2010/main" val="1891253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userDrawn="1"/>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640367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1"/>
            </p:custDataLst>
            <p:extLst>
              <p:ext uri="{D42A27DB-BD31-4B8C-83A1-F6EECF244321}">
                <p14:modId xmlns:p14="http://schemas.microsoft.com/office/powerpoint/2010/main" val="243122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2" name="Footnote">
            <a:extLst>
              <a:ext uri="{FF2B5EF4-FFF2-40B4-BE49-F238E27FC236}">
                <a16:creationId xmlns:a16="http://schemas.microsoft.com/office/drawing/2014/main" id="{9AE1DBF7-A560-4C8C-B0C2-F6E1CEC9ECF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3" name="Footer Placeholder">
            <a:extLst>
              <a:ext uri="{FF2B5EF4-FFF2-40B4-BE49-F238E27FC236}">
                <a16:creationId xmlns:a16="http://schemas.microsoft.com/office/drawing/2014/main" id="{2CDB8301-D768-4A63-9722-8E4A18EF91C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6" name="Slide Number Placeholder">
            <a:extLst>
              <a:ext uri="{FF2B5EF4-FFF2-40B4-BE49-F238E27FC236}">
                <a16:creationId xmlns:a16="http://schemas.microsoft.com/office/drawing/2014/main" id="{88D35255-5967-45E1-992B-07410B7E462E}"/>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9239448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1"/>
            </p:custDataLst>
            <p:extLst>
              <p:ext uri="{D42A27DB-BD31-4B8C-83A1-F6EECF244321}">
                <p14:modId xmlns:p14="http://schemas.microsoft.com/office/powerpoint/2010/main" val="1342574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AC97D24F-BEA1-4929-BE7A-B69D61FB979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9394AB8E-84F7-44D9-872B-D3757FD85A7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E2EAF53B-741A-4ABC-868E-198897A7D0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5214053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userDrawn="1">
            <p:custDataLst>
              <p:tags r:id="rId1"/>
            </p:custDataLst>
            <p:extLst>
              <p:ext uri="{D42A27DB-BD31-4B8C-83A1-F6EECF244321}">
                <p14:modId xmlns:p14="http://schemas.microsoft.com/office/powerpoint/2010/main" val="1918294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92312DF9-3D0C-413D-8E9C-525927F25EB9}"/>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41A6EC92-D17C-4D0A-A2F3-14862669EF8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D928C528-D9E8-4076-9136-82FD6074BF48}"/>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2000709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userDrawn="1">
            <p:custDataLst>
              <p:tags r:id="rId1"/>
            </p:custDataLst>
            <p:extLst>
              <p:ext uri="{D42A27DB-BD31-4B8C-83A1-F6EECF244321}">
                <p14:modId xmlns:p14="http://schemas.microsoft.com/office/powerpoint/2010/main" val="146061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8" name="Footnote">
            <a:extLst>
              <a:ext uri="{FF2B5EF4-FFF2-40B4-BE49-F238E27FC236}">
                <a16:creationId xmlns:a16="http://schemas.microsoft.com/office/drawing/2014/main" id="{15A9BCE1-0FAE-4309-B88E-A9A1C194227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0FADD92A-DD38-4FDC-B8B7-E5F8F8F7F63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1" name="Slide Number Placeholder">
            <a:extLst>
              <a:ext uri="{FF2B5EF4-FFF2-40B4-BE49-F238E27FC236}">
                <a16:creationId xmlns:a16="http://schemas.microsoft.com/office/drawing/2014/main" id="{46FE9ADA-C6BF-4A67-851A-238DECAEE1B7}"/>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6645138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userDrawn="1">
            <p:custDataLst>
              <p:tags r:id="rId1"/>
            </p:custDataLst>
            <p:extLst>
              <p:ext uri="{D42A27DB-BD31-4B8C-83A1-F6EECF244321}">
                <p14:modId xmlns:p14="http://schemas.microsoft.com/office/powerpoint/2010/main" val="1021989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B189C55-81A0-4532-AA9B-C92BFCE2EA7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129D93DB-D302-4294-9247-D99C5E554C2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6" name="Slide Number Placeholder">
            <a:extLst>
              <a:ext uri="{FF2B5EF4-FFF2-40B4-BE49-F238E27FC236}">
                <a16:creationId xmlns:a16="http://schemas.microsoft.com/office/drawing/2014/main" id="{7891F146-9383-4DA9-AC7B-6CC755A2848C}"/>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2879826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userDrawn="1">
            <p:custDataLst>
              <p:tags r:id="rId1"/>
            </p:custDataLst>
            <p:extLst>
              <p:ext uri="{D42A27DB-BD31-4B8C-83A1-F6EECF244321}">
                <p14:modId xmlns:p14="http://schemas.microsoft.com/office/powerpoint/2010/main" val="1911614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396A5EF7-3BDF-4F59-8DFB-91580C19E92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0EB2A53F-6875-4466-9BBE-3A769D299AF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7" name="Slide Number Placeholder">
            <a:extLst>
              <a:ext uri="{FF2B5EF4-FFF2-40B4-BE49-F238E27FC236}">
                <a16:creationId xmlns:a16="http://schemas.microsoft.com/office/drawing/2014/main" id="{E802CD86-DC63-4FD7-BB42-7A4E3AF76E0C}"/>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3929014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1"/>
            </p:custDataLst>
            <p:extLst>
              <p:ext uri="{D42A27DB-BD31-4B8C-83A1-F6EECF244321}">
                <p14:modId xmlns:p14="http://schemas.microsoft.com/office/powerpoint/2010/main" val="2563571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9F9B1299-C6A0-4902-8A1B-F05B2A34C0AD}"/>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DF2BD536-37C9-4704-A523-80185702B09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3" name="Slide Number Placeholder">
            <a:extLst>
              <a:ext uri="{FF2B5EF4-FFF2-40B4-BE49-F238E27FC236}">
                <a16:creationId xmlns:a16="http://schemas.microsoft.com/office/drawing/2014/main" id="{B9E826F1-75B6-44C7-8F73-6007C01D8449}"/>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9609616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userDrawn="1">
            <p:custDataLst>
              <p:tags r:id="rId1"/>
            </p:custDataLst>
            <p:extLst>
              <p:ext uri="{D42A27DB-BD31-4B8C-83A1-F6EECF244321}">
                <p14:modId xmlns:p14="http://schemas.microsoft.com/office/powerpoint/2010/main" val="280709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0" name="Footnote">
            <a:extLst>
              <a:ext uri="{FF2B5EF4-FFF2-40B4-BE49-F238E27FC236}">
                <a16:creationId xmlns:a16="http://schemas.microsoft.com/office/drawing/2014/main" id="{8BC86644-E0CC-4738-94FD-16E07E0E3D7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9EDCF658-8A7C-40B9-83B0-192B5679B01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2" name="Slide Number Placeholder">
            <a:extLst>
              <a:ext uri="{FF2B5EF4-FFF2-40B4-BE49-F238E27FC236}">
                <a16:creationId xmlns:a16="http://schemas.microsoft.com/office/drawing/2014/main" id="{ECA7A402-2207-4B94-AE65-8223C15E57F6}"/>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1297718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userDrawn="1">
            <p:custDataLst>
              <p:tags r:id="rId1"/>
            </p:custDataLst>
            <p:extLst>
              <p:ext uri="{D42A27DB-BD31-4B8C-83A1-F6EECF244321}">
                <p14:modId xmlns:p14="http://schemas.microsoft.com/office/powerpoint/2010/main" val="3713102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1E9DBC3D-9FC2-447D-B8D4-5B993E70307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9C9562FC-DCC4-4082-8117-6248154C2A5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9" name="Slide Number Placeholder">
            <a:extLst>
              <a:ext uri="{FF2B5EF4-FFF2-40B4-BE49-F238E27FC236}">
                <a16:creationId xmlns:a16="http://schemas.microsoft.com/office/drawing/2014/main" id="{75425F24-40B1-41CB-8147-85D62733D05A}"/>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010499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1"/>
            </p:custDataLst>
            <p:extLst>
              <p:ext uri="{D42A27DB-BD31-4B8C-83A1-F6EECF244321}">
                <p14:modId xmlns:p14="http://schemas.microsoft.com/office/powerpoint/2010/main" val="120622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0E86BE4-10C0-4DE0-81EF-94B7482268CA}"/>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4BB4E3-DB7B-4606-AB58-12E823974137}"/>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6" name="Slide Number Placeholder">
            <a:extLst>
              <a:ext uri="{FF2B5EF4-FFF2-40B4-BE49-F238E27FC236}">
                <a16:creationId xmlns:a16="http://schemas.microsoft.com/office/drawing/2014/main" id="{04465F25-1FFE-4934-A332-ABC482225252}"/>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9514609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userDrawn="1">
            <p:custDataLst>
              <p:tags r:id="rId1"/>
            </p:custDataLst>
            <p:extLst>
              <p:ext uri="{D42A27DB-BD31-4B8C-83A1-F6EECF244321}">
                <p14:modId xmlns:p14="http://schemas.microsoft.com/office/powerpoint/2010/main" val="3205353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7132189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1"/>
            </p:custDataLst>
            <p:extLst>
              <p:ext uri="{D42A27DB-BD31-4B8C-83A1-F6EECF244321}">
                <p14:modId xmlns:p14="http://schemas.microsoft.com/office/powerpoint/2010/main" val="1300324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E239A049-10E3-483F-AF0C-D554A649F35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B5115D-94F1-4A57-8358-A3E1157D870F}"/>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7" name="Slide Number Placeholder">
            <a:extLst>
              <a:ext uri="{FF2B5EF4-FFF2-40B4-BE49-F238E27FC236}">
                <a16:creationId xmlns:a16="http://schemas.microsoft.com/office/drawing/2014/main" id="{03AEF77F-E84B-4232-8EB4-28D1D6547C4F}"/>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0158781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userDrawn="1">
            <p:custDataLst>
              <p:tags r:id="rId1"/>
            </p:custDataLst>
            <p:extLst>
              <p:ext uri="{D42A27DB-BD31-4B8C-83A1-F6EECF244321}">
                <p14:modId xmlns:p14="http://schemas.microsoft.com/office/powerpoint/2010/main" val="40787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DAF6A8EE-6352-4BCF-AE1E-2B04F1D32D5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5" name="Footer Placeholder">
            <a:extLst>
              <a:ext uri="{FF2B5EF4-FFF2-40B4-BE49-F238E27FC236}">
                <a16:creationId xmlns:a16="http://schemas.microsoft.com/office/drawing/2014/main" id="{F45E2D14-1FFD-49FE-B2CA-F2E3B50ACCC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8" name="Slide Number Placeholder">
            <a:extLst>
              <a:ext uri="{FF2B5EF4-FFF2-40B4-BE49-F238E27FC236}">
                <a16:creationId xmlns:a16="http://schemas.microsoft.com/office/drawing/2014/main" id="{95314695-247D-407C-BDE8-B01BAA88F02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8475435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userDrawn="1">
            <p:custDataLst>
              <p:tags r:id="rId1"/>
            </p:custDataLst>
            <p:extLst>
              <p:ext uri="{D42A27DB-BD31-4B8C-83A1-F6EECF244321}">
                <p14:modId xmlns:p14="http://schemas.microsoft.com/office/powerpoint/2010/main" val="3757172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48567908-EABB-4849-8656-A2FC7BE259B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7" name="Footer Placeholder">
            <a:extLst>
              <a:ext uri="{FF2B5EF4-FFF2-40B4-BE49-F238E27FC236}">
                <a16:creationId xmlns:a16="http://schemas.microsoft.com/office/drawing/2014/main" id="{F76EB023-388E-49C5-90E9-ADF6C01678E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8" name="Slide Number Placeholder">
            <a:extLst>
              <a:ext uri="{FF2B5EF4-FFF2-40B4-BE49-F238E27FC236}">
                <a16:creationId xmlns:a16="http://schemas.microsoft.com/office/drawing/2014/main" id="{5B73C246-7060-46F3-82AC-5C2769634C52}"/>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1975332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userDrawn="1">
            <p:custDataLst>
              <p:tags r:id="rId1"/>
            </p:custDataLst>
            <p:extLst>
              <p:ext uri="{D42A27DB-BD31-4B8C-83A1-F6EECF244321}">
                <p14:modId xmlns:p14="http://schemas.microsoft.com/office/powerpoint/2010/main" val="1178302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userDrawn="1"/>
        </p:nvSpPr>
        <p:spPr>
          <a:xfrm>
            <a:off x="11542711"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6" name="Background"/>
          <p:cNvSpPr/>
          <p:nvPr userDrawn="1"/>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9383569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userDrawn="1">
            <p:custDataLst>
              <p:tags r:id="rId1"/>
            </p:custDataLst>
            <p:extLst>
              <p:ext uri="{D42A27DB-BD31-4B8C-83A1-F6EECF244321}">
                <p14:modId xmlns:p14="http://schemas.microsoft.com/office/powerpoint/2010/main" val="3657449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userDrawn="1"/>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27" name="Logo 13">
            <a:extLst>
              <a:ext uri="{FF2B5EF4-FFF2-40B4-BE49-F238E27FC236}">
                <a16:creationId xmlns:a16="http://schemas.microsoft.com/office/drawing/2014/main" id="{67340306-C4C1-4DE1-9279-C162F718866C}"/>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9500446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1"/>
            </p:custDataLst>
            <p:extLst>
              <p:ext uri="{D42A27DB-BD31-4B8C-83A1-F6EECF244321}">
                <p14:modId xmlns:p14="http://schemas.microsoft.com/office/powerpoint/2010/main" val="3942654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noFill/>
          <a:ln w="19050">
            <a:noFill/>
          </a:ln>
        </p:spPr>
        <p:txBody>
          <a:bodyPr vert="horz" lIns="7200" tIns="0" rIns="0" bIns="0" rtlCol="0" anchor="t">
            <a:noAutofit/>
          </a:bodyPr>
          <a:lstStyle>
            <a:lvl1pPr>
              <a:defRPr lang="nl-NL" altLang="nl-NL" sz="1400" noProof="0" dirty="0">
                <a:solidFill>
                  <a:schemeClr val="tx1"/>
                </a:solidFill>
                <a:ea typeface="+mn-ea"/>
                <a:cs typeface="+mn-cs"/>
              </a:defRPr>
            </a:lvl1pPr>
          </a:lstStyle>
          <a:p>
            <a:pPr marL="0" lvl="0" indent="0">
              <a:spcBef>
                <a:spcPts val="375"/>
              </a:spcBef>
              <a:buClr>
                <a:schemeClr val="dk2"/>
              </a:buClr>
              <a:buFont typeface="Wingdings" panose="05000000000000000000" pitchFamily="2" charset="2"/>
            </a:pPr>
            <a:r>
              <a:rPr lang="nl-NL" noProof="0" dirty="0"/>
              <a:t>Klik om titel toe te voegen</a:t>
            </a:r>
            <a:endParaRPr lang="nl-NL" altLang="nl-NL" noProof="0" dirty="0"/>
          </a:p>
        </p:txBody>
      </p:sp>
    </p:spTree>
    <p:extLst>
      <p:ext uri="{BB962C8B-B14F-4D97-AF65-F5344CB8AC3E}">
        <p14:creationId xmlns:p14="http://schemas.microsoft.com/office/powerpoint/2010/main" val="1147074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userDrawn="1">
            <p:custDataLst>
              <p:tags r:id="rId1"/>
            </p:custDataLst>
            <p:extLst>
              <p:ext uri="{D42A27DB-BD31-4B8C-83A1-F6EECF244321}">
                <p14:modId xmlns:p14="http://schemas.microsoft.com/office/powerpoint/2010/main" val="363913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992CD0B2-8AB2-4C6C-8876-E15753662C9B}" type="slidenum">
              <a:rPr lang="nl-NL" noProof="0" smtClean="0"/>
              <a:pPr/>
              <a:t>‹#›</a:t>
            </a:fld>
            <a:endParaRPr lang="nl-NL" noProof="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37165350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userDrawn="1">
            <p:custDataLst>
              <p:tags r:id="rId1"/>
            </p:custDataLst>
            <p:extLst>
              <p:ext uri="{D42A27DB-BD31-4B8C-83A1-F6EECF244321}">
                <p14:modId xmlns:p14="http://schemas.microsoft.com/office/powerpoint/2010/main" val="1592552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Tree>
    <p:extLst>
      <p:ext uri="{BB962C8B-B14F-4D97-AF65-F5344CB8AC3E}">
        <p14:creationId xmlns:p14="http://schemas.microsoft.com/office/powerpoint/2010/main" val="28551151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userDrawn="1">
            <p:custDataLst>
              <p:tags r:id="rId1"/>
            </p:custDataLst>
            <p:extLst>
              <p:ext uri="{D42A27DB-BD31-4B8C-83A1-F6EECF244321}">
                <p14:modId xmlns:p14="http://schemas.microsoft.com/office/powerpoint/2010/main" val="3800045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Tree>
    <p:extLst>
      <p:ext uri="{BB962C8B-B14F-4D97-AF65-F5344CB8AC3E}">
        <p14:creationId xmlns:p14="http://schemas.microsoft.com/office/powerpoint/2010/main" val="17594685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userDrawn="1">
            <p:custDataLst>
              <p:tags r:id="rId1"/>
            </p:custDataLst>
            <p:extLst>
              <p:ext uri="{D42A27DB-BD31-4B8C-83A1-F6EECF244321}">
                <p14:modId xmlns:p14="http://schemas.microsoft.com/office/powerpoint/2010/main" val="3093978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 name="Footer Placeholder 2">
            <a:extLst>
              <a:ext uri="{FF2B5EF4-FFF2-40B4-BE49-F238E27FC236}">
                <a16:creationId xmlns:a16="http://schemas.microsoft.com/office/drawing/2014/main" id="{74F7FDB0-0E02-429C-80E5-50DFFBF58C7F}"/>
              </a:ext>
            </a:extLst>
          </p:cNvPr>
          <p:cNvSpPr>
            <a:spLocks noGrp="1"/>
          </p:cNvSpPr>
          <p:nvPr>
            <p:ph type="ftr" sz="quarter" idx="17"/>
          </p:nvPr>
        </p:nvSpPr>
        <p:spPr>
          <a:xfrm>
            <a:off x="661193" y="6686783"/>
            <a:ext cx="10868400" cy="122400"/>
          </a:xfrm>
          <a:prstGeom prst="rect">
            <a:avLst/>
          </a:prstGeom>
        </p:spPr>
        <p:txBody>
          <a:bodyPr/>
          <a:lstStyle/>
          <a:p>
            <a:r>
              <a:rPr lang="nl-NL"/>
              <a:t>Bron: </a:t>
            </a:r>
          </a:p>
        </p:txBody>
      </p:sp>
    </p:spTree>
    <p:extLst>
      <p:ext uri="{BB962C8B-B14F-4D97-AF65-F5344CB8AC3E}">
        <p14:creationId xmlns:p14="http://schemas.microsoft.com/office/powerpoint/2010/main" val="28072616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userDrawn="1">
            <p:custDataLst>
              <p:tags r:id="rId1"/>
            </p:custDataLst>
            <p:extLst>
              <p:ext uri="{D42A27DB-BD31-4B8C-83A1-F6EECF244321}">
                <p14:modId xmlns:p14="http://schemas.microsoft.com/office/powerpoint/2010/main" val="677050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marR="0" lvl="0" indent="-180000" algn="l" defTabSz="685800" rtl="0" eaLnBrk="1" fontAlgn="auto" latinLnBrk="0" hangingPunct="1">
              <a:lnSpc>
                <a:spcPct val="90000"/>
              </a:lnSpc>
              <a:spcBef>
                <a:spcPts val="375"/>
              </a:spcBef>
              <a:spcAft>
                <a:spcPts val="0"/>
              </a:spcAft>
              <a:buClr>
                <a:schemeClr val="dk2"/>
              </a:buClr>
              <a:buSzTx/>
              <a:buFont typeface="Wingdings" panose="05000000000000000000" pitchFamily="2" charset="2"/>
              <a:buNone/>
              <a:tabLst/>
              <a:defRPr/>
            </a:pPr>
            <a:r>
              <a:rPr lang="nl-NL" noProof="0" dirty="0"/>
              <a:t>Klik om tekst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lvl="0"/>
            <a:r>
              <a:rPr lang="nl-NL" noProof="0" dirty="0"/>
              <a:t>Klik om tekst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070108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1"/>
            </p:custDataLst>
            <p:extLst>
              <p:ext uri="{D42A27DB-BD31-4B8C-83A1-F6EECF244321}">
                <p14:modId xmlns:p14="http://schemas.microsoft.com/office/powerpoint/2010/main" val="949318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0" name="TextBox 9">
            <a:extLst>
              <a:ext uri="{FF2B5EF4-FFF2-40B4-BE49-F238E27FC236}">
                <a16:creationId xmlns:a16="http://schemas.microsoft.com/office/drawing/2014/main" id="{9FD64667-FDA0-4955-AD96-B84B15F30ABF}"/>
              </a:ext>
            </a:extLst>
          </p:cNvPr>
          <p:cNvSpPr txBox="1"/>
          <p:nvPr userDrawn="1"/>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11" name="Text Placeholder 4">
            <a:extLst>
              <a:ext uri="{FF2B5EF4-FFF2-40B4-BE49-F238E27FC236}">
                <a16:creationId xmlns:a16="http://schemas.microsoft.com/office/drawing/2014/main" id="{E9BF7AB1-C0BD-426E-ADDD-3700C6E9D369}"/>
              </a:ext>
            </a:extLst>
          </p:cNvPr>
          <p:cNvSpPr>
            <a:spLocks noGrp="1"/>
          </p:cNvSpPr>
          <p:nvPr>
            <p:ph type="body" sz="quarter" idx="31" hasCustomPrompt="1"/>
          </p:nvPr>
        </p:nvSpPr>
        <p:spPr>
          <a:xfrm>
            <a:off x="1617785" y="2295708"/>
            <a:ext cx="9878845" cy="576000"/>
          </a:xfrm>
        </p:spPr>
        <p:txBody>
          <a:bodyPr anchor="ctr"/>
          <a:lstStyle>
            <a:lvl1pPr marL="0" indent="0">
              <a:buNone/>
              <a:defRPr sz="1600" b="1">
                <a:solidFill>
                  <a:srgbClr val="22777B"/>
                </a:solidFill>
              </a:defRPr>
            </a:lvl1pPr>
          </a:lstStyle>
          <a:p>
            <a:pPr lvl="0"/>
            <a:r>
              <a:rPr lang="nl-NL" dirty="0"/>
              <a:t>Klik om hoofdstuktitel toe te voegen</a:t>
            </a:r>
          </a:p>
        </p:txBody>
      </p:sp>
      <p:sp>
        <p:nvSpPr>
          <p:cNvPr id="12" name="Text Placeholder 4">
            <a:extLst>
              <a:ext uri="{FF2B5EF4-FFF2-40B4-BE49-F238E27FC236}">
                <a16:creationId xmlns:a16="http://schemas.microsoft.com/office/drawing/2014/main" id="{470D5E15-35F6-4D60-BFC9-F19094A093B0}"/>
              </a:ext>
            </a:extLst>
          </p:cNvPr>
          <p:cNvSpPr>
            <a:spLocks noGrp="1"/>
          </p:cNvSpPr>
          <p:nvPr>
            <p:ph type="body" sz="quarter" idx="32" hasCustomPrompt="1"/>
          </p:nvPr>
        </p:nvSpPr>
        <p:spPr>
          <a:xfrm>
            <a:off x="1617785" y="3018689"/>
            <a:ext cx="9878845" cy="576000"/>
          </a:xfrm>
        </p:spPr>
        <p:txBody>
          <a:bodyPr anchor="ctr"/>
          <a:lstStyle>
            <a:lvl1pPr marL="0" indent="0">
              <a:buNone/>
              <a:defRPr sz="1600"/>
            </a:lvl1pPr>
          </a:lstStyle>
          <a:p>
            <a:pPr lvl="0"/>
            <a:r>
              <a:rPr lang="nl-NL" dirty="0"/>
              <a:t>Klik om hoofdstuktitel toe te voegen</a:t>
            </a:r>
          </a:p>
        </p:txBody>
      </p:sp>
      <p:sp>
        <p:nvSpPr>
          <p:cNvPr id="13" name="Text Placeholder 4">
            <a:extLst>
              <a:ext uri="{FF2B5EF4-FFF2-40B4-BE49-F238E27FC236}">
                <a16:creationId xmlns:a16="http://schemas.microsoft.com/office/drawing/2014/main" id="{58EA7D5F-7032-455F-979D-AF3928FCA8F0}"/>
              </a:ext>
            </a:extLst>
          </p:cNvPr>
          <p:cNvSpPr>
            <a:spLocks noGrp="1"/>
          </p:cNvSpPr>
          <p:nvPr>
            <p:ph type="body" sz="quarter" idx="33" hasCustomPrompt="1"/>
          </p:nvPr>
        </p:nvSpPr>
        <p:spPr>
          <a:xfrm>
            <a:off x="1617785" y="3741670"/>
            <a:ext cx="9878845" cy="576000"/>
          </a:xfrm>
        </p:spPr>
        <p:txBody>
          <a:bodyPr anchor="ctr"/>
          <a:lstStyle>
            <a:lvl1pPr marL="0" indent="0">
              <a:buNone/>
              <a:defRPr sz="1600"/>
            </a:lvl1pPr>
          </a:lstStyle>
          <a:p>
            <a:pPr lvl="0"/>
            <a:r>
              <a:rPr lang="nl-NL" dirty="0"/>
              <a:t>Klik om hoofdstuktitel toe te voegen</a:t>
            </a:r>
          </a:p>
        </p:txBody>
      </p:sp>
      <p:sp>
        <p:nvSpPr>
          <p:cNvPr id="14" name="Text Placeholder 4">
            <a:extLst>
              <a:ext uri="{FF2B5EF4-FFF2-40B4-BE49-F238E27FC236}">
                <a16:creationId xmlns:a16="http://schemas.microsoft.com/office/drawing/2014/main" id="{2EAD3ED9-BF9A-4E61-9E80-071FA1B4FE36}"/>
              </a:ext>
            </a:extLst>
          </p:cNvPr>
          <p:cNvSpPr>
            <a:spLocks noGrp="1"/>
          </p:cNvSpPr>
          <p:nvPr>
            <p:ph type="body" sz="quarter" idx="34" hasCustomPrompt="1"/>
          </p:nvPr>
        </p:nvSpPr>
        <p:spPr>
          <a:xfrm>
            <a:off x="1617785" y="4464652"/>
            <a:ext cx="9878845" cy="576000"/>
          </a:xfrm>
        </p:spPr>
        <p:txBody>
          <a:bodyPr anchor="ctr"/>
          <a:lstStyle>
            <a:lvl1pPr marL="0" indent="0">
              <a:buNone/>
              <a:defRPr sz="1600"/>
            </a:lvl1pPr>
          </a:lstStyle>
          <a:p>
            <a:pPr lvl="0"/>
            <a:r>
              <a:rPr lang="nl-NL" dirty="0"/>
              <a:t>Klik om hoofdstuktitel toe te voegen</a:t>
            </a:r>
          </a:p>
        </p:txBody>
      </p:sp>
      <p:sp>
        <p:nvSpPr>
          <p:cNvPr id="6" name="Graphic 28" descr="Arrow: Straight">
            <a:extLst>
              <a:ext uri="{FF2B5EF4-FFF2-40B4-BE49-F238E27FC236}">
                <a16:creationId xmlns:a16="http://schemas.microsoft.com/office/drawing/2014/main" id="{392F614C-6519-454A-AA95-F8B491B9921B}"/>
              </a:ext>
            </a:extLst>
          </p:cNvPr>
          <p:cNvSpPr/>
          <p:nvPr userDrawn="1"/>
        </p:nvSpPr>
        <p:spPr>
          <a:xfrm rot="10800000">
            <a:off x="919697" y="2484708"/>
            <a:ext cx="383180" cy="198000"/>
          </a:xfrm>
          <a:custGeom>
            <a:avLst/>
            <a:gdLst>
              <a:gd name="connsiteX0" fmla="*/ 104513 w 383180"/>
              <a:gd name="connsiteY0" fmla="*/ 49500 h 198000"/>
              <a:gd name="connsiteX1" fmla="*/ 104513 w 383180"/>
              <a:gd name="connsiteY1" fmla="*/ 0 h 198000"/>
              <a:gd name="connsiteX2" fmla="*/ 12 w 383180"/>
              <a:gd name="connsiteY2" fmla="*/ 99000 h 198000"/>
              <a:gd name="connsiteX3" fmla="*/ 104513 w 383180"/>
              <a:gd name="connsiteY3" fmla="*/ 198000 h 198000"/>
              <a:gd name="connsiteX4" fmla="*/ 104513 w 383180"/>
              <a:gd name="connsiteY4" fmla="*/ 148500 h 198000"/>
              <a:gd name="connsiteX5" fmla="*/ 383181 w 383180"/>
              <a:gd name="connsiteY5" fmla="*/ 99000 h 198000"/>
              <a:gd name="connsiteX6" fmla="*/ 104513 w 383180"/>
              <a:gd name="connsiteY6" fmla="*/ 49500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3180" h="198000">
                <a:moveTo>
                  <a:pt x="104513" y="49500"/>
                </a:moveTo>
                <a:lnTo>
                  <a:pt x="104513" y="0"/>
                </a:lnTo>
                <a:lnTo>
                  <a:pt x="12" y="99000"/>
                </a:lnTo>
                <a:cubicBezTo>
                  <a:pt x="-1294" y="99000"/>
                  <a:pt x="104513" y="198000"/>
                  <a:pt x="104513" y="198000"/>
                </a:cubicBezTo>
                <a:lnTo>
                  <a:pt x="104513" y="148500"/>
                </a:lnTo>
                <a:lnTo>
                  <a:pt x="383181" y="99000"/>
                </a:lnTo>
                <a:lnTo>
                  <a:pt x="104513" y="49500"/>
                </a:lnTo>
                <a:close/>
              </a:path>
            </a:pathLst>
          </a:custGeom>
          <a:solidFill>
            <a:srgbClr val="22777B"/>
          </a:solidFill>
          <a:ln w="4266" cap="flat">
            <a:noFill/>
            <a:prstDash val="solid"/>
            <a:miter/>
          </a:ln>
        </p:spPr>
        <p:txBody>
          <a:bodyPr rtlCol="0" anchor="ctr"/>
          <a:lstStyle/>
          <a:p>
            <a:endParaRPr lang="nl-NL"/>
          </a:p>
        </p:txBody>
      </p:sp>
      <p:sp>
        <p:nvSpPr>
          <p:cNvPr id="7" name="TextBox 6">
            <a:extLst>
              <a:ext uri="{FF2B5EF4-FFF2-40B4-BE49-F238E27FC236}">
                <a16:creationId xmlns:a16="http://schemas.microsoft.com/office/drawing/2014/main" id="{7ACAFD05-2721-4552-9A2E-D86C28C26BAF}"/>
              </a:ext>
            </a:extLst>
          </p:cNvPr>
          <p:cNvSpPr txBox="1"/>
          <p:nvPr userDrawn="1"/>
        </p:nvSpPr>
        <p:spPr>
          <a:xfrm>
            <a:off x="919696" y="1726756"/>
            <a:ext cx="3695436" cy="360835"/>
          </a:xfrm>
          <a:prstGeom prst="wedgeRectCallout">
            <a:avLst>
              <a:gd name="adj1" fmla="val -42038"/>
              <a:gd name="adj2" fmla="val 125487"/>
            </a:avLst>
          </a:prstGeom>
          <a:solidFill>
            <a:schemeClr val="accent6">
              <a:lumMod val="95000"/>
            </a:schemeClr>
          </a:solidFill>
        </p:spPr>
        <p:txBody>
          <a:bodyPr vert="horz" wrap="none" lIns="72000" tIns="72000" rIns="72000" bIns="72000" rtlCol="0">
            <a:noAutofit/>
          </a:bodyPr>
          <a:lstStyle/>
          <a:p>
            <a:pPr marL="0" indent="0" algn="l">
              <a:buNone/>
            </a:pPr>
            <a:r>
              <a:rPr lang="nl-NL" noProof="0" dirty="0"/>
              <a:t>(knip pijltje uit master en haal deze </a:t>
            </a:r>
            <a:r>
              <a:rPr lang="nl-NL" noProof="0" dirty="0" err="1"/>
              <a:t>callout</a:t>
            </a:r>
            <a:r>
              <a:rPr lang="nl-NL" noProof="0" dirty="0"/>
              <a:t> weg)</a:t>
            </a:r>
          </a:p>
        </p:txBody>
      </p:sp>
      <p:sp>
        <p:nvSpPr>
          <p:cNvPr id="9" name="Slide Number Placeholder 8">
            <a:extLst>
              <a:ext uri="{FF2B5EF4-FFF2-40B4-BE49-F238E27FC236}">
                <a16:creationId xmlns:a16="http://schemas.microsoft.com/office/drawing/2014/main" id="{E0E12112-6F8D-49FF-BADE-DE6E274D5264}"/>
              </a:ext>
            </a:extLst>
          </p:cNvPr>
          <p:cNvSpPr>
            <a:spLocks noGrp="1"/>
          </p:cNvSpPr>
          <p:nvPr>
            <p:ph type="sldNum" sz="quarter" idx="36"/>
          </p:nvPr>
        </p:nvSpPr>
        <p:spPr/>
        <p:txBody>
          <a:body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6690740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houd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1"/>
            </p:custDataLst>
            <p:extLst>
              <p:ext uri="{D42A27DB-BD31-4B8C-83A1-F6EECF244321}">
                <p14:modId xmlns:p14="http://schemas.microsoft.com/office/powerpoint/2010/main" val="2503779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Content Placeholder 35">
            <a:extLst>
              <a:ext uri="{FF2B5EF4-FFF2-40B4-BE49-F238E27FC236}">
                <a16:creationId xmlns:a16="http://schemas.microsoft.com/office/drawing/2014/main" id="{34C151A4-AFB3-4015-9E39-840258F2FA94}"/>
              </a:ext>
            </a:extLst>
          </p:cNvPr>
          <p:cNvSpPr>
            <a:spLocks noGrp="1"/>
          </p:cNvSpPr>
          <p:nvPr>
            <p:ph sz="quarter" idx="36" hasCustomPrompt="1"/>
          </p:nvPr>
        </p:nvSpPr>
        <p:spPr>
          <a:xfrm>
            <a:off x="919697" y="2295577"/>
            <a:ext cx="576000" cy="576263"/>
          </a:xfrm>
          <a:prstGeom prst="ellipse">
            <a:avLst/>
          </a:prstGeom>
        </p:spPr>
        <p:txBody>
          <a:bodyPr/>
          <a:lstStyle>
            <a:lvl1pPr marL="0" indent="0">
              <a:buNone/>
              <a:defRPr>
                <a:noFill/>
              </a:defRPr>
            </a:lvl1pPr>
          </a:lstStyle>
          <a:p>
            <a:pPr lvl="0"/>
            <a:r>
              <a:rPr lang="nl-NL" dirty="0"/>
              <a:t>Kleur</a:t>
            </a:r>
          </a:p>
        </p:txBody>
      </p:sp>
      <p:sp>
        <p:nvSpPr>
          <p:cNvPr id="2" name="Rectangle 1" hidden="1">
            <a:extLst>
              <a:ext uri="{FF2B5EF4-FFF2-40B4-BE49-F238E27FC236}">
                <a16:creationId xmlns:a16="http://schemas.microsoft.com/office/drawing/2014/main" id="{05C4B829-4A4B-469C-B4EE-210A766FCE80}"/>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Box 7">
            <a:extLst>
              <a:ext uri="{FF2B5EF4-FFF2-40B4-BE49-F238E27FC236}">
                <a16:creationId xmlns:a16="http://schemas.microsoft.com/office/drawing/2014/main" id="{52146E83-4C14-47A3-B888-D33F15C317A7}"/>
              </a:ext>
            </a:extLst>
          </p:cNvPr>
          <p:cNvSpPr txBox="1"/>
          <p:nvPr userDrawn="1"/>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5" name="Text Placeholder 4">
            <a:extLst>
              <a:ext uri="{FF2B5EF4-FFF2-40B4-BE49-F238E27FC236}">
                <a16:creationId xmlns:a16="http://schemas.microsoft.com/office/drawing/2014/main" id="{FDC33D46-2F7B-445F-85F2-EA6928F0CE89}"/>
              </a:ext>
            </a:extLst>
          </p:cNvPr>
          <p:cNvSpPr>
            <a:spLocks noGrp="1"/>
          </p:cNvSpPr>
          <p:nvPr>
            <p:ph type="body" sz="quarter" idx="31" hasCustomPrompt="1"/>
          </p:nvPr>
        </p:nvSpPr>
        <p:spPr>
          <a:xfrm>
            <a:off x="1617785" y="2295708"/>
            <a:ext cx="9878845" cy="576000"/>
          </a:xfrm>
        </p:spPr>
        <p:txBody>
          <a:bodyPr anchor="ctr"/>
          <a:lstStyle>
            <a:lvl1pPr marL="0" indent="0">
              <a:buNone/>
              <a:defRPr sz="1600"/>
            </a:lvl1pPr>
          </a:lstStyle>
          <a:p>
            <a:pPr lvl="0"/>
            <a:r>
              <a:rPr lang="nl-NL" dirty="0"/>
              <a:t>Klik om hoofdstuktitel toe te voegen</a:t>
            </a:r>
          </a:p>
        </p:txBody>
      </p:sp>
      <p:sp>
        <p:nvSpPr>
          <p:cNvPr id="30" name="Text Placeholder 4">
            <a:extLst>
              <a:ext uri="{FF2B5EF4-FFF2-40B4-BE49-F238E27FC236}">
                <a16:creationId xmlns:a16="http://schemas.microsoft.com/office/drawing/2014/main" id="{B1B9703B-FADB-4FA6-B8FB-E3BF076CBA2C}"/>
              </a:ext>
            </a:extLst>
          </p:cNvPr>
          <p:cNvSpPr>
            <a:spLocks noGrp="1"/>
          </p:cNvSpPr>
          <p:nvPr>
            <p:ph type="body" sz="quarter" idx="32" hasCustomPrompt="1"/>
          </p:nvPr>
        </p:nvSpPr>
        <p:spPr>
          <a:xfrm>
            <a:off x="1617785" y="3073102"/>
            <a:ext cx="9878845" cy="576000"/>
          </a:xfrm>
        </p:spPr>
        <p:txBody>
          <a:bodyPr anchor="ctr"/>
          <a:lstStyle>
            <a:lvl1pPr marL="0" indent="0">
              <a:buNone/>
              <a:defRPr sz="1600"/>
            </a:lvl1pPr>
          </a:lstStyle>
          <a:p>
            <a:pPr lvl="0"/>
            <a:r>
              <a:rPr lang="nl-NL" dirty="0"/>
              <a:t>Klik om hoofdstuktitel toe te voegen</a:t>
            </a:r>
          </a:p>
        </p:txBody>
      </p:sp>
      <p:sp>
        <p:nvSpPr>
          <p:cNvPr id="31" name="Text Placeholder 4">
            <a:extLst>
              <a:ext uri="{FF2B5EF4-FFF2-40B4-BE49-F238E27FC236}">
                <a16:creationId xmlns:a16="http://schemas.microsoft.com/office/drawing/2014/main" id="{6E23FF3B-3585-451E-B36D-95D91B1AD445}"/>
              </a:ext>
            </a:extLst>
          </p:cNvPr>
          <p:cNvSpPr>
            <a:spLocks noGrp="1"/>
          </p:cNvSpPr>
          <p:nvPr>
            <p:ph type="body" sz="quarter" idx="33" hasCustomPrompt="1"/>
          </p:nvPr>
        </p:nvSpPr>
        <p:spPr>
          <a:xfrm>
            <a:off x="1617785" y="3850181"/>
            <a:ext cx="9878845" cy="576000"/>
          </a:xfrm>
        </p:spPr>
        <p:txBody>
          <a:bodyPr anchor="ctr"/>
          <a:lstStyle>
            <a:lvl1pPr marL="0" indent="0">
              <a:buNone/>
              <a:defRPr sz="1600"/>
            </a:lvl1pPr>
          </a:lstStyle>
          <a:p>
            <a:pPr lvl="0"/>
            <a:r>
              <a:rPr lang="nl-NL" dirty="0"/>
              <a:t>Klik om hoofdstuktitel toe te voegen</a:t>
            </a:r>
          </a:p>
        </p:txBody>
      </p:sp>
      <p:sp>
        <p:nvSpPr>
          <p:cNvPr id="32" name="Text Placeholder 4">
            <a:extLst>
              <a:ext uri="{FF2B5EF4-FFF2-40B4-BE49-F238E27FC236}">
                <a16:creationId xmlns:a16="http://schemas.microsoft.com/office/drawing/2014/main" id="{B526D535-2FCB-4390-8380-2F13D7A4761C}"/>
              </a:ext>
            </a:extLst>
          </p:cNvPr>
          <p:cNvSpPr>
            <a:spLocks noGrp="1"/>
          </p:cNvSpPr>
          <p:nvPr>
            <p:ph type="body" sz="quarter" idx="34" hasCustomPrompt="1"/>
          </p:nvPr>
        </p:nvSpPr>
        <p:spPr>
          <a:xfrm>
            <a:off x="1617785" y="4627259"/>
            <a:ext cx="9878845" cy="576000"/>
          </a:xfrm>
        </p:spPr>
        <p:txBody>
          <a:bodyPr anchor="ctr"/>
          <a:lstStyle>
            <a:lvl1pPr marL="0" indent="0">
              <a:buNone/>
              <a:defRPr sz="1600"/>
            </a:lvl1pPr>
          </a:lstStyle>
          <a:p>
            <a:pPr lvl="0"/>
            <a:r>
              <a:rPr lang="nl-NL" dirty="0"/>
              <a:t>Klik om hoofdstuktitel toe te voegen</a:t>
            </a:r>
          </a:p>
        </p:txBody>
      </p:sp>
      <p:sp>
        <p:nvSpPr>
          <p:cNvPr id="34" name="Content Placeholder 33">
            <a:extLst>
              <a:ext uri="{FF2B5EF4-FFF2-40B4-BE49-F238E27FC236}">
                <a16:creationId xmlns:a16="http://schemas.microsoft.com/office/drawing/2014/main" id="{CB7EA44B-E1AE-4106-A865-656870EDF45E}"/>
              </a:ext>
            </a:extLst>
          </p:cNvPr>
          <p:cNvSpPr>
            <a:spLocks noGrp="1"/>
          </p:cNvSpPr>
          <p:nvPr>
            <p:ph sz="quarter" idx="35" hasCustomPrompt="1"/>
          </p:nvPr>
        </p:nvSpPr>
        <p:spPr>
          <a:xfrm>
            <a:off x="1020497" y="2396508"/>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7" name="Content Placeholder 35">
            <a:extLst>
              <a:ext uri="{FF2B5EF4-FFF2-40B4-BE49-F238E27FC236}">
                <a16:creationId xmlns:a16="http://schemas.microsoft.com/office/drawing/2014/main" id="{F350D63D-035F-4B56-9C49-F8894DDB98C8}"/>
              </a:ext>
            </a:extLst>
          </p:cNvPr>
          <p:cNvSpPr>
            <a:spLocks noGrp="1"/>
          </p:cNvSpPr>
          <p:nvPr>
            <p:ph sz="quarter" idx="37" hasCustomPrompt="1"/>
          </p:nvPr>
        </p:nvSpPr>
        <p:spPr>
          <a:xfrm>
            <a:off x="919697" y="3072839"/>
            <a:ext cx="576000" cy="576263"/>
          </a:xfrm>
          <a:prstGeom prst="ellipse">
            <a:avLst/>
          </a:prstGeom>
        </p:spPr>
        <p:txBody>
          <a:bodyPr/>
          <a:lstStyle>
            <a:lvl1pPr marL="0" indent="0">
              <a:buNone/>
              <a:defRPr>
                <a:noFill/>
              </a:defRPr>
            </a:lvl1pPr>
          </a:lstStyle>
          <a:p>
            <a:pPr lvl="0"/>
            <a:r>
              <a:rPr lang="nl-NL" dirty="0"/>
              <a:t>Kleur</a:t>
            </a:r>
          </a:p>
        </p:txBody>
      </p:sp>
      <p:sp>
        <p:nvSpPr>
          <p:cNvPr id="38" name="Content Placeholder 33">
            <a:extLst>
              <a:ext uri="{FF2B5EF4-FFF2-40B4-BE49-F238E27FC236}">
                <a16:creationId xmlns:a16="http://schemas.microsoft.com/office/drawing/2014/main" id="{8D00E5AB-2194-4FC2-8650-AF31295D2099}"/>
              </a:ext>
            </a:extLst>
          </p:cNvPr>
          <p:cNvSpPr>
            <a:spLocks noGrp="1"/>
          </p:cNvSpPr>
          <p:nvPr>
            <p:ph sz="quarter" idx="38" hasCustomPrompt="1"/>
          </p:nvPr>
        </p:nvSpPr>
        <p:spPr>
          <a:xfrm>
            <a:off x="1020497" y="317377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9" name="Content Placeholder 35">
            <a:extLst>
              <a:ext uri="{FF2B5EF4-FFF2-40B4-BE49-F238E27FC236}">
                <a16:creationId xmlns:a16="http://schemas.microsoft.com/office/drawing/2014/main" id="{156B25DE-A0D6-46DE-9D2C-868140B3D3AF}"/>
              </a:ext>
            </a:extLst>
          </p:cNvPr>
          <p:cNvSpPr>
            <a:spLocks noGrp="1"/>
          </p:cNvSpPr>
          <p:nvPr>
            <p:ph sz="quarter" idx="39" hasCustomPrompt="1"/>
          </p:nvPr>
        </p:nvSpPr>
        <p:spPr>
          <a:xfrm>
            <a:off x="919697" y="4627259"/>
            <a:ext cx="576000" cy="576263"/>
          </a:xfrm>
          <a:prstGeom prst="ellipse">
            <a:avLst/>
          </a:prstGeom>
        </p:spPr>
        <p:txBody>
          <a:bodyPr/>
          <a:lstStyle>
            <a:lvl1pPr marL="0" indent="0">
              <a:buNone/>
              <a:defRPr>
                <a:noFill/>
              </a:defRPr>
            </a:lvl1pPr>
          </a:lstStyle>
          <a:p>
            <a:pPr lvl="0"/>
            <a:r>
              <a:rPr lang="nl-NL" dirty="0"/>
              <a:t>Kleur</a:t>
            </a:r>
          </a:p>
        </p:txBody>
      </p:sp>
      <p:sp>
        <p:nvSpPr>
          <p:cNvPr id="40" name="Content Placeholder 33">
            <a:extLst>
              <a:ext uri="{FF2B5EF4-FFF2-40B4-BE49-F238E27FC236}">
                <a16:creationId xmlns:a16="http://schemas.microsoft.com/office/drawing/2014/main" id="{F9193A0D-3023-48D2-9562-A7C00B68F2B3}"/>
              </a:ext>
            </a:extLst>
          </p:cNvPr>
          <p:cNvSpPr>
            <a:spLocks noGrp="1"/>
          </p:cNvSpPr>
          <p:nvPr>
            <p:ph sz="quarter" idx="40" hasCustomPrompt="1"/>
          </p:nvPr>
        </p:nvSpPr>
        <p:spPr>
          <a:xfrm>
            <a:off x="1020497" y="472819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41" name="Content Placeholder 35">
            <a:extLst>
              <a:ext uri="{FF2B5EF4-FFF2-40B4-BE49-F238E27FC236}">
                <a16:creationId xmlns:a16="http://schemas.microsoft.com/office/drawing/2014/main" id="{832AF622-7277-4D8A-8E59-D37829E543AF}"/>
              </a:ext>
            </a:extLst>
          </p:cNvPr>
          <p:cNvSpPr>
            <a:spLocks noGrp="1"/>
          </p:cNvSpPr>
          <p:nvPr>
            <p:ph sz="quarter" idx="41" hasCustomPrompt="1"/>
          </p:nvPr>
        </p:nvSpPr>
        <p:spPr>
          <a:xfrm>
            <a:off x="919697" y="3849918"/>
            <a:ext cx="576000" cy="576263"/>
          </a:xfrm>
          <a:prstGeom prst="ellipse">
            <a:avLst/>
          </a:prstGeom>
        </p:spPr>
        <p:txBody>
          <a:bodyPr/>
          <a:lstStyle>
            <a:lvl1pPr marL="0" indent="0">
              <a:buNone/>
              <a:defRPr>
                <a:noFill/>
              </a:defRPr>
            </a:lvl1pPr>
          </a:lstStyle>
          <a:p>
            <a:pPr lvl="0"/>
            <a:r>
              <a:rPr lang="nl-NL" dirty="0"/>
              <a:t>Kleur</a:t>
            </a:r>
          </a:p>
        </p:txBody>
      </p:sp>
      <p:sp>
        <p:nvSpPr>
          <p:cNvPr id="42" name="Content Placeholder 33">
            <a:extLst>
              <a:ext uri="{FF2B5EF4-FFF2-40B4-BE49-F238E27FC236}">
                <a16:creationId xmlns:a16="http://schemas.microsoft.com/office/drawing/2014/main" id="{C6633357-A625-4BAE-B7C2-AF4DADA78DA8}"/>
              </a:ext>
            </a:extLst>
          </p:cNvPr>
          <p:cNvSpPr>
            <a:spLocks noGrp="1"/>
          </p:cNvSpPr>
          <p:nvPr>
            <p:ph sz="quarter" idx="42" hasCustomPrompt="1"/>
          </p:nvPr>
        </p:nvSpPr>
        <p:spPr>
          <a:xfrm>
            <a:off x="1020497" y="3950849"/>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Tree>
    <p:extLst>
      <p:ext uri="{BB962C8B-B14F-4D97-AF65-F5344CB8AC3E}">
        <p14:creationId xmlns:p14="http://schemas.microsoft.com/office/powerpoint/2010/main" val="5250300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Cover L Pic">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1"/>
            </p:custDataLst>
            <p:extLst>
              <p:ext uri="{D42A27DB-BD31-4B8C-83A1-F6EECF244321}">
                <p14:modId xmlns:p14="http://schemas.microsoft.com/office/powerpoint/2010/main" val="4109291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TextBox 8">
            <a:extLst>
              <a:ext uri="{FF2B5EF4-FFF2-40B4-BE49-F238E27FC236}">
                <a16:creationId xmlns:a16="http://schemas.microsoft.com/office/drawing/2014/main" id="{3E408D0B-1C14-4E7B-8EB7-FDE06942DF52}"/>
              </a:ext>
            </a:extLst>
          </p:cNvPr>
          <p:cNvSpPr txBox="1"/>
          <p:nvPr userDrawn="1"/>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14" name="Text Placeholder 4">
            <a:extLst>
              <a:ext uri="{FF2B5EF4-FFF2-40B4-BE49-F238E27FC236}">
                <a16:creationId xmlns:a16="http://schemas.microsoft.com/office/drawing/2014/main" id="{6E8D33AE-4BDF-4CC3-A20E-EE02C90CFC08}"/>
              </a:ext>
            </a:extLst>
          </p:cNvPr>
          <p:cNvSpPr>
            <a:spLocks noGrp="1"/>
          </p:cNvSpPr>
          <p:nvPr>
            <p:ph type="body" sz="quarter" idx="31" hasCustomPrompt="1"/>
          </p:nvPr>
        </p:nvSpPr>
        <p:spPr>
          <a:xfrm>
            <a:off x="919697" y="2295708"/>
            <a:ext cx="9878845" cy="576000"/>
          </a:xfrm>
          <a:solidFill>
            <a:srgbClr val="22777B"/>
          </a:solidFill>
        </p:spPr>
        <p:txBody>
          <a:bodyPr anchor="ctr"/>
          <a:lstStyle>
            <a:lvl1pPr marL="0" indent="0">
              <a:buNone/>
              <a:defRPr sz="1600" b="1">
                <a:solidFill>
                  <a:schemeClr val="bg1"/>
                </a:solidFill>
              </a:defRPr>
            </a:lvl1pPr>
          </a:lstStyle>
          <a:p>
            <a:pPr lvl="0"/>
            <a:r>
              <a:rPr lang="nl-NL" dirty="0"/>
              <a:t>Klik om hoofdstuktitel toe te voegen</a:t>
            </a:r>
          </a:p>
        </p:txBody>
      </p:sp>
      <p:sp>
        <p:nvSpPr>
          <p:cNvPr id="15" name="Text Placeholder 4">
            <a:extLst>
              <a:ext uri="{FF2B5EF4-FFF2-40B4-BE49-F238E27FC236}">
                <a16:creationId xmlns:a16="http://schemas.microsoft.com/office/drawing/2014/main" id="{1ABDBFFE-C3A3-4E71-B692-F286AE382B40}"/>
              </a:ext>
            </a:extLst>
          </p:cNvPr>
          <p:cNvSpPr>
            <a:spLocks noGrp="1"/>
          </p:cNvSpPr>
          <p:nvPr>
            <p:ph type="body" sz="quarter" idx="32" hasCustomPrompt="1"/>
          </p:nvPr>
        </p:nvSpPr>
        <p:spPr>
          <a:xfrm>
            <a:off x="919697" y="2922689"/>
            <a:ext cx="9878845" cy="576000"/>
          </a:xfrm>
          <a:solidFill>
            <a:schemeClr val="bg1">
              <a:lumMod val="95000"/>
            </a:schemeClr>
          </a:solidFill>
        </p:spPr>
        <p:txBody>
          <a:bodyPr anchor="ctr"/>
          <a:lstStyle>
            <a:lvl1pPr marL="0" indent="0">
              <a:buNone/>
              <a:defRPr sz="1600" b="0"/>
            </a:lvl1pPr>
          </a:lstStyle>
          <a:p>
            <a:pPr lvl="0"/>
            <a:r>
              <a:rPr lang="nl-NL" dirty="0"/>
              <a:t>Klik om hoofdstuktitel toe te voegen</a:t>
            </a:r>
          </a:p>
        </p:txBody>
      </p:sp>
      <p:sp>
        <p:nvSpPr>
          <p:cNvPr id="16" name="Text Placeholder 4">
            <a:extLst>
              <a:ext uri="{FF2B5EF4-FFF2-40B4-BE49-F238E27FC236}">
                <a16:creationId xmlns:a16="http://schemas.microsoft.com/office/drawing/2014/main" id="{AF144E65-6C21-437A-804A-75A9C5AD7BE0}"/>
              </a:ext>
            </a:extLst>
          </p:cNvPr>
          <p:cNvSpPr>
            <a:spLocks noGrp="1"/>
          </p:cNvSpPr>
          <p:nvPr>
            <p:ph type="body" sz="quarter" idx="33" hasCustomPrompt="1"/>
          </p:nvPr>
        </p:nvSpPr>
        <p:spPr>
          <a:xfrm>
            <a:off x="919697" y="3549670"/>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
        <p:nvSpPr>
          <p:cNvPr id="17" name="Text Placeholder 4">
            <a:extLst>
              <a:ext uri="{FF2B5EF4-FFF2-40B4-BE49-F238E27FC236}">
                <a16:creationId xmlns:a16="http://schemas.microsoft.com/office/drawing/2014/main" id="{EA95A1DB-BF6E-4DDF-83B9-50B7096FB8F8}"/>
              </a:ext>
            </a:extLst>
          </p:cNvPr>
          <p:cNvSpPr>
            <a:spLocks noGrp="1"/>
          </p:cNvSpPr>
          <p:nvPr>
            <p:ph type="body" sz="quarter" idx="34" hasCustomPrompt="1"/>
          </p:nvPr>
        </p:nvSpPr>
        <p:spPr>
          <a:xfrm>
            <a:off x="919696" y="4176651"/>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Tree>
    <p:extLst>
      <p:ext uri="{BB962C8B-B14F-4D97-AF65-F5344CB8AC3E}">
        <p14:creationId xmlns:p14="http://schemas.microsoft.com/office/powerpoint/2010/main" val="126760207"/>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userDrawn="1">
            <p:custDataLst>
              <p:tags r:id="rId1"/>
            </p:custDataLst>
            <p:extLst>
              <p:ext uri="{D42A27DB-BD31-4B8C-83A1-F6EECF244321}">
                <p14:modId xmlns:p14="http://schemas.microsoft.com/office/powerpoint/2010/main" val="195668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992CD0B2-8AB2-4C6C-8876-E15753662C9B}" type="slidenum">
              <a:rPr lang="nl-NL" noProof="0" smtClean="0"/>
              <a:pPr/>
              <a:t>‹#›</a:t>
            </a:fld>
            <a:endParaRPr lang="nl-NL" noProof="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719391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userDrawn="1">
            <p:custDataLst>
              <p:tags r:id="rId1"/>
            </p:custDataLst>
            <p:extLst>
              <p:ext uri="{D42A27DB-BD31-4B8C-83A1-F6EECF244321}">
                <p14:modId xmlns:p14="http://schemas.microsoft.com/office/powerpoint/2010/main" val="2256913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a:xfrm>
            <a:off x="10989437" y="6688612"/>
            <a:ext cx="1023140" cy="163513"/>
          </a:xfrm>
          <a:prstGeom prst="rect">
            <a:avLst/>
          </a:prstGeom>
        </p:spPr>
        <p:txBody>
          <a:bodyPr/>
          <a:lstStyle/>
          <a:p>
            <a:fld id="{992CD0B2-8AB2-4C6C-8876-E15753662C9B}" type="slidenum">
              <a:rPr lang="nl-NL" noProof="0" smtClean="0"/>
              <a:pPr/>
              <a:t>‹#›</a:t>
            </a:fld>
            <a:endParaRPr lang="nl-NL" noProof="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3050596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userDrawn="1">
            <p:custDataLst>
              <p:tags r:id="rId1"/>
            </p:custDataLst>
            <p:extLst>
              <p:ext uri="{D42A27DB-BD31-4B8C-83A1-F6EECF244321}">
                <p14:modId xmlns:p14="http://schemas.microsoft.com/office/powerpoint/2010/main" val="4048325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A1CC6EC6-EC4A-4CCD-8E83-68494C8753B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75DEDF61-D0AA-4104-A8D4-B0406C012C3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141D24E2-A013-4401-84FB-25D9F21F720D}"/>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37138905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userDrawn="1">
            <p:custDataLst>
              <p:tags r:id="rId1"/>
            </p:custDataLst>
            <p:extLst>
              <p:ext uri="{D42A27DB-BD31-4B8C-83A1-F6EECF244321}">
                <p14:modId xmlns:p14="http://schemas.microsoft.com/office/powerpoint/2010/main" val="490289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30" name="Footnote">
            <a:extLst>
              <a:ext uri="{FF2B5EF4-FFF2-40B4-BE49-F238E27FC236}">
                <a16:creationId xmlns:a16="http://schemas.microsoft.com/office/drawing/2014/main" id="{BAE6918C-BA6B-443D-8DEA-7B54F5C7AAE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B52750C4-AA32-44BB-9C80-10FCEB69B711}"/>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pPr marL="0" indent="0">
              <a:buFont typeface="Wingdings" panose="05000000000000000000" pitchFamily="2" charset="2"/>
              <a:buNone/>
            </a:pPr>
            <a:r>
              <a:rPr lang="nl-NL" dirty="0"/>
              <a:t>Bron: </a:t>
            </a:r>
          </a:p>
        </p:txBody>
      </p:sp>
      <p:sp>
        <p:nvSpPr>
          <p:cNvPr id="32" name="Slide Number Placeholder">
            <a:extLst>
              <a:ext uri="{FF2B5EF4-FFF2-40B4-BE49-F238E27FC236}">
                <a16:creationId xmlns:a16="http://schemas.microsoft.com/office/drawing/2014/main" id="{90B24E08-7C33-4EE1-8E8A-8057549F0A12}"/>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9630557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userDrawn="1">
            <p:custDataLst>
              <p:tags r:id="rId1"/>
            </p:custDataLst>
            <p:extLst>
              <p:ext uri="{D42A27DB-BD31-4B8C-83A1-F6EECF244321}">
                <p14:modId xmlns:p14="http://schemas.microsoft.com/office/powerpoint/2010/main" val="2881474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a:xfrm>
            <a:off x="10989437" y="6688612"/>
            <a:ext cx="1023140" cy="163513"/>
          </a:xfrm>
          <a:prstGeom prst="rect">
            <a:avLst/>
          </a:prstGeom>
        </p:spPr>
        <p:txBody>
          <a:bodyPr/>
          <a:lstStyle>
            <a:lvl1pPr>
              <a:defRPr>
                <a:solidFill>
                  <a:schemeClr val="bg1"/>
                </a:solidFill>
              </a:defRPr>
            </a:lvl1pPr>
          </a:lstStyle>
          <a:p>
            <a:fld id="{992CD0B2-8AB2-4C6C-8876-E15753662C9B}" type="slidenum">
              <a:rPr lang="nl-NL" noProof="0" smtClean="0"/>
              <a:pPr/>
              <a:t>‹#›</a:t>
            </a:fld>
            <a:endParaRPr lang="nl-NL" noProof="0"/>
          </a:p>
        </p:txBody>
      </p:sp>
      <p:sp>
        <p:nvSpPr>
          <p:cNvPr id="19" name="Logo 14">
            <a:extLst>
              <a:ext uri="{FF2B5EF4-FFF2-40B4-BE49-F238E27FC236}">
                <a16:creationId xmlns:a16="http://schemas.microsoft.com/office/drawing/2014/main" id="{9CD50B4C-7136-431A-A5CC-F0B22E34E981}"/>
              </a:ext>
            </a:extLst>
          </p:cNvPr>
          <p:cNvSpPr/>
          <p:nvPr userDrawn="1"/>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userDrawn="1"/>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it’s</a:t>
            </a: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a:t>
            </a:r>
            <a:r>
              <a:rPr kumimoji="0" lang="nl-NL" sz="14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Middenlaan</a:t>
            </a: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5">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userDrawn="1"/>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userDrawn="1"/>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a:spcBef>
                <a:spcPts val="0"/>
              </a:spcBef>
              <a:buNone/>
              <a:defRPr>
                <a:solidFill>
                  <a:schemeClr val="bg1"/>
                </a:solidFill>
              </a:defRPr>
            </a:lvl1pPr>
          </a:lstStyle>
          <a:p>
            <a:pPr lvl="0"/>
            <a:r>
              <a:rPr lang="nl-NL" noProof="0"/>
              <a:t>Naam Achternaam (naam.achternaam@itspublic.nl)</a:t>
            </a:r>
          </a:p>
        </p:txBody>
      </p:sp>
    </p:spTree>
    <p:extLst>
      <p:ext uri="{BB962C8B-B14F-4D97-AF65-F5344CB8AC3E}">
        <p14:creationId xmlns:p14="http://schemas.microsoft.com/office/powerpoint/2010/main" val="13856414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userDrawn="1">
            <p:custDataLst>
              <p:tags r:id="rId1"/>
            </p:custDataLst>
            <p:extLst>
              <p:ext uri="{D42A27DB-BD31-4B8C-83A1-F6EECF244321}">
                <p14:modId xmlns:p14="http://schemas.microsoft.com/office/powerpoint/2010/main" val="3794103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EF18163C-3032-4085-8BA6-8A0653035EF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86F4C4B1-9275-48CF-AA51-4C4AE2EEF9A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7DB9CF3A-2012-49F0-8AB0-1AC736EA479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126419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1"/>
            </p:custDataLst>
            <p:extLst>
              <p:ext uri="{D42A27DB-BD31-4B8C-83A1-F6EECF244321}">
                <p14:modId xmlns:p14="http://schemas.microsoft.com/office/powerpoint/2010/main" val="2886310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8199AF3C-BF3F-4F94-A3CD-FB3C7C97E46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968CBD64-C511-48CF-88AD-3434DA0F028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9" name="Slide Number Placeholder">
            <a:extLst>
              <a:ext uri="{FF2B5EF4-FFF2-40B4-BE49-F238E27FC236}">
                <a16:creationId xmlns:a16="http://schemas.microsoft.com/office/drawing/2014/main" id="{42748C13-A219-4660-B0E3-4561AD5EEE2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3132716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userDrawn="1">
            <p:custDataLst>
              <p:tags r:id="rId1"/>
            </p:custDataLst>
            <p:extLst>
              <p:ext uri="{D42A27DB-BD31-4B8C-83A1-F6EECF244321}">
                <p14:modId xmlns:p14="http://schemas.microsoft.com/office/powerpoint/2010/main" val="1339535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EBCAAF10-43C2-42AC-8822-4B0A2D42A6A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54A57-B39A-4BA5-A8AA-39AB9D51FBD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9" name="Slide Number Placeholder">
            <a:extLst>
              <a:ext uri="{FF2B5EF4-FFF2-40B4-BE49-F238E27FC236}">
                <a16:creationId xmlns:a16="http://schemas.microsoft.com/office/drawing/2014/main" id="{ED2D3A2E-15BD-41F9-A054-33D4889B62DE}"/>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6160525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userDrawn="1">
            <p:custDataLst>
              <p:tags r:id="rId1"/>
            </p:custDataLst>
            <p:extLst>
              <p:ext uri="{D42A27DB-BD31-4B8C-83A1-F6EECF244321}">
                <p14:modId xmlns:p14="http://schemas.microsoft.com/office/powerpoint/2010/main" val="3036107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a:noFill/>
          <a:ln w="19050">
            <a:noFill/>
          </a:ln>
        </p:spPr>
        <p:txBody>
          <a:bodyPr vert="horz" lIns="7200" tIns="0" rIns="0" bIns="0" rtlCol="0" anchor="t">
            <a:noAutofit/>
          </a:bodyPr>
          <a:lstStyle>
            <a:lvl1pPr>
              <a:defRPr lang="nl-NL" b="1" noProof="0" dirty="0">
                <a:solidFill>
                  <a:schemeClr val="tx1"/>
                </a:solidFill>
              </a:defRPr>
            </a:lvl1pPr>
          </a:lstStyle>
          <a:p>
            <a:pPr marL="0" lvl="0" indent="0">
              <a:buNone/>
            </a:pPr>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20D419EE-88F1-4989-8836-3F7287A8548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9" name="Footer Placeholder">
            <a:extLst>
              <a:ext uri="{FF2B5EF4-FFF2-40B4-BE49-F238E27FC236}">
                <a16:creationId xmlns:a16="http://schemas.microsoft.com/office/drawing/2014/main" id="{496692EB-3EF7-4005-BB14-C4E4AE8A68F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39" name="Slide Number Placeholder">
            <a:extLst>
              <a:ext uri="{FF2B5EF4-FFF2-40B4-BE49-F238E27FC236}">
                <a16:creationId xmlns:a16="http://schemas.microsoft.com/office/drawing/2014/main" id="{412FEEA4-3298-41B0-B0FC-060B542257E0}"/>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579948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userDrawn="1">
            <p:custDataLst>
              <p:tags r:id="rId1"/>
            </p:custDataLst>
            <p:extLst>
              <p:ext uri="{D42A27DB-BD31-4B8C-83A1-F6EECF244321}">
                <p14:modId xmlns:p14="http://schemas.microsoft.com/office/powerpoint/2010/main" val="4015266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60819" y="4487276"/>
            <a:ext cx="10866439" cy="195509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79" y="2059963"/>
            <a:ext cx="10866439" cy="195509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60819" y="4127276"/>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79" y="1699963"/>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8433990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userDrawn="1">
            <p:custDataLst>
              <p:tags r:id="rId1"/>
            </p:custDataLst>
            <p:extLst>
              <p:ext uri="{D42A27DB-BD31-4B8C-83A1-F6EECF244321}">
                <p14:modId xmlns:p14="http://schemas.microsoft.com/office/powerpoint/2010/main" val="2712393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901CC59E-FC60-4C86-9DA5-AC4FAE7D62C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1EF4ABE-D938-4EF6-89F7-C7DD4C65A05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endParaRPr lang="nl-NL" dirty="0"/>
          </a:p>
        </p:txBody>
      </p:sp>
      <p:sp>
        <p:nvSpPr>
          <p:cNvPr id="15" name="Slide Number Placeholder">
            <a:extLst>
              <a:ext uri="{FF2B5EF4-FFF2-40B4-BE49-F238E27FC236}">
                <a16:creationId xmlns:a16="http://schemas.microsoft.com/office/drawing/2014/main" id="{F558ECA9-B2A7-4D71-83E2-6BCC7C0B11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22353680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9"/>
            </p:custDataLst>
            <p:extLst>
              <p:ext uri="{D42A27DB-BD31-4B8C-83A1-F6EECF244321}">
                <p14:modId xmlns:p14="http://schemas.microsoft.com/office/powerpoint/2010/main" val="84487748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1" imgW="470" imgH="469" progId="TCLayout.ActiveDocument.1">
                  <p:embed/>
                </p:oleObj>
              </mc:Choice>
              <mc:Fallback>
                <p:oleObj name="think-cell Slide" r:id="rId41" imgW="470" imgH="469" progId="TCLayout.ActiveDocument.1">
                  <p:embed/>
                  <p:pic>
                    <p:nvPicPr>
                      <p:cNvPr id="0" name=""/>
                      <p:cNvPicPr/>
                      <p:nvPr/>
                    </p:nvPicPr>
                    <p:blipFill>
                      <a:blip r:embed="rId42"/>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userDrawn="1">
            <p:custDataLst>
              <p:tags r:id="rId40"/>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Logo 14">
            <a:extLst>
              <a:ext uri="{FF2B5EF4-FFF2-40B4-BE49-F238E27FC236}">
                <a16:creationId xmlns:a16="http://schemas.microsoft.com/office/drawing/2014/main" id="{90B4F34B-2003-4AA1-8D3D-ED2C69CC3061}"/>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2455"/>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989437" y="6688612"/>
            <a:ext cx="1023140" cy="163513"/>
          </a:xfrm>
          <a:prstGeom prst="rect">
            <a:avLst/>
          </a:prstGeom>
        </p:spPr>
        <p:txBody>
          <a:bodyPr lIns="0" tIns="0" rIns="72000" bIns="0"/>
          <a:lstStyle>
            <a:lvl1pPr marL="0" indent="0" algn="r">
              <a:buNone/>
              <a:defRPr sz="1000">
                <a:latin typeface="+mj-lt"/>
              </a:defRPr>
            </a:lvl1pPr>
          </a:lstStyle>
          <a:p>
            <a:fld id="{992CD0B2-8AB2-4C6C-8876-E15753662C9B}" type="slidenum">
              <a:rPr lang="nl-NL" smtClean="0"/>
              <a:pPr/>
              <a:t>‹#›</a:t>
            </a:fld>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a:t>Klik om titel toe te voegen</a:t>
            </a:r>
          </a:p>
        </p:txBody>
      </p:sp>
      <p:sp>
        <p:nvSpPr>
          <p:cNvPr id="23" name="Footer Placeholder">
            <a:extLst>
              <a:ext uri="{FF2B5EF4-FFF2-40B4-BE49-F238E27FC236}">
                <a16:creationId xmlns:a16="http://schemas.microsoft.com/office/drawing/2014/main" id="{7D08E99E-5D00-4CC1-8F6F-091AC26BC389}"/>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Tree>
    <p:extLst>
      <p:ext uri="{BB962C8B-B14F-4D97-AF65-F5344CB8AC3E}">
        <p14:creationId xmlns:p14="http://schemas.microsoft.com/office/powerpoint/2010/main" val="1690676330"/>
      </p:ext>
    </p:extLst>
  </p:cSld>
  <p:clrMap bg1="lt1" tx1="dk1" bg2="lt2" tx2="dk2" accent1="accent1" accent2="accent2" accent3="accent3" accent4="accent4" accent5="accent5" accent6="accent6" hlink="hlink" folHlink="folHlink"/>
  <p:sldLayoutIdLst>
    <p:sldLayoutId id="2147484008" r:id="rId1"/>
    <p:sldLayoutId id="2147484002" r:id="rId2"/>
    <p:sldLayoutId id="2147483962" r:id="rId3"/>
    <p:sldLayoutId id="2147483994" r:id="rId4"/>
    <p:sldLayoutId id="2147484007" r:id="rId5"/>
    <p:sldLayoutId id="2147483996" r:id="rId6"/>
    <p:sldLayoutId id="2147483997" r:id="rId7"/>
    <p:sldLayoutId id="2147484014" r:id="rId8"/>
    <p:sldLayoutId id="2147483973" r:id="rId9"/>
    <p:sldLayoutId id="2147483963" r:id="rId10"/>
    <p:sldLayoutId id="2147484010" r:id="rId11"/>
    <p:sldLayoutId id="2147483969" r:id="rId12"/>
    <p:sldLayoutId id="2147483964" r:id="rId13"/>
    <p:sldLayoutId id="2147483967" r:id="rId14"/>
    <p:sldLayoutId id="2147483968" r:id="rId15"/>
    <p:sldLayoutId id="2147484000" r:id="rId16"/>
    <p:sldLayoutId id="2147483966" r:id="rId17"/>
    <p:sldLayoutId id="2147483970" r:id="rId18"/>
    <p:sldLayoutId id="2147484009" r:id="rId19"/>
    <p:sldLayoutId id="2147483975" r:id="rId20"/>
    <p:sldLayoutId id="2147483974" r:id="rId21"/>
    <p:sldLayoutId id="2147483972" r:id="rId22"/>
    <p:sldLayoutId id="2147483987" r:id="rId23"/>
    <p:sldLayoutId id="2147484001" r:id="rId24"/>
    <p:sldLayoutId id="2147483988" r:id="rId25"/>
    <p:sldLayoutId id="2147483965" r:id="rId26"/>
    <p:sldLayoutId id="2147484003" r:id="rId27"/>
    <p:sldLayoutId id="2147484004" r:id="rId28"/>
    <p:sldLayoutId id="2147484005" r:id="rId29"/>
    <p:sldLayoutId id="2147484012" r:id="rId30"/>
    <p:sldLayoutId id="2147484011" r:id="rId31"/>
    <p:sldLayoutId id="2147484013" r:id="rId32"/>
    <p:sldLayoutId id="2147483989" r:id="rId33"/>
    <p:sldLayoutId id="2147483995" r:id="rId34"/>
    <p:sldLayoutId id="2147483993" r:id="rId35"/>
    <p:sldLayoutId id="2147483991" r:id="rId36"/>
    <p:sldLayoutId id="2147484006" r:id="rId37"/>
  </p:sldLayoutIdLst>
  <p:hf hdr="0" dt="0"/>
  <p:txStyles>
    <p:title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F26B43"/>
          </p15:clr>
        </p15:guide>
        <p15:guide id="2" pos="415" userDrawn="1">
          <p15:clr>
            <a:srgbClr val="F26B43"/>
          </p15:clr>
        </p15:guide>
        <p15:guide id="3" pos="3840" userDrawn="1">
          <p15:clr>
            <a:srgbClr val="F26B43"/>
          </p15:clr>
        </p15:guide>
        <p15:guide id="4" orient="horz" pos="3974" userDrawn="1">
          <p15:clr>
            <a:srgbClr val="F26B43"/>
          </p15:clr>
        </p15:guide>
        <p15:guide id="5" orient="horz" pos="754" userDrawn="1">
          <p15:clr>
            <a:srgbClr val="F26B43"/>
          </p15:clr>
        </p15:guide>
        <p15:guide id="6" orient="horz" pos="1003" userDrawn="1">
          <p15:clr>
            <a:srgbClr val="F26B43"/>
          </p15:clr>
        </p15:guide>
        <p15:guide id="7" pos="726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1.xml"/><Relationship Id="rId1" Type="http://schemas.openxmlformats.org/officeDocument/2006/relationships/tags" Target="../tags/tag7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emf"/></Relationships>
</file>

<file path=ppt/slides/_rels/slide1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oleObject" Target="../embeddings/oleObject48.bin"/><Relationship Id="rId7" Type="http://schemas.openxmlformats.org/officeDocument/2006/relationships/image" Target="../media/image21.svg"/><Relationship Id="rId2" Type="http://schemas.openxmlformats.org/officeDocument/2006/relationships/slideLayout" Target="../slideLayouts/slideLayout2.xml"/><Relationship Id="rId1" Type="http://schemas.openxmlformats.org/officeDocument/2006/relationships/tags" Target="../tags/tag80.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2.emf"/><Relationship Id="rId9" Type="http://schemas.openxmlformats.org/officeDocument/2006/relationships/image" Target="../media/image23.svg"/></Relationships>
</file>

<file path=ppt/slides/_rels/slide11.xml.rels><?xml version="1.0" encoding="UTF-8" standalone="yes"?>
<Relationships xmlns="http://schemas.openxmlformats.org/package/2006/relationships"><Relationship Id="rId26" Type="http://schemas.openxmlformats.org/officeDocument/2006/relationships/tags" Target="../tags/tag106.xml"/><Relationship Id="rId21" Type="http://schemas.openxmlformats.org/officeDocument/2006/relationships/tags" Target="../tags/tag101.xml"/><Relationship Id="rId42" Type="http://schemas.openxmlformats.org/officeDocument/2006/relationships/tags" Target="../tags/tag122.xml"/><Relationship Id="rId47" Type="http://schemas.openxmlformats.org/officeDocument/2006/relationships/tags" Target="../tags/tag127.xml"/><Relationship Id="rId63" Type="http://schemas.openxmlformats.org/officeDocument/2006/relationships/tags" Target="../tags/tag143.xml"/><Relationship Id="rId68" Type="http://schemas.openxmlformats.org/officeDocument/2006/relationships/tags" Target="../tags/tag148.xml"/><Relationship Id="rId84" Type="http://schemas.openxmlformats.org/officeDocument/2006/relationships/tags" Target="../tags/tag164.xml"/><Relationship Id="rId89" Type="http://schemas.openxmlformats.org/officeDocument/2006/relationships/tags" Target="../tags/tag169.xml"/><Relationship Id="rId16" Type="http://schemas.openxmlformats.org/officeDocument/2006/relationships/tags" Target="../tags/tag96.xml"/><Relationship Id="rId107" Type="http://schemas.openxmlformats.org/officeDocument/2006/relationships/chart" Target="../charts/chart3.xml"/><Relationship Id="rId11" Type="http://schemas.openxmlformats.org/officeDocument/2006/relationships/tags" Target="../tags/tag91.xml"/><Relationship Id="rId32" Type="http://schemas.openxmlformats.org/officeDocument/2006/relationships/tags" Target="../tags/tag112.xml"/><Relationship Id="rId37" Type="http://schemas.openxmlformats.org/officeDocument/2006/relationships/tags" Target="../tags/tag117.xml"/><Relationship Id="rId53" Type="http://schemas.openxmlformats.org/officeDocument/2006/relationships/tags" Target="../tags/tag133.xml"/><Relationship Id="rId58" Type="http://schemas.openxmlformats.org/officeDocument/2006/relationships/tags" Target="../tags/tag138.xml"/><Relationship Id="rId74" Type="http://schemas.openxmlformats.org/officeDocument/2006/relationships/tags" Target="../tags/tag154.xml"/><Relationship Id="rId79" Type="http://schemas.openxmlformats.org/officeDocument/2006/relationships/tags" Target="../tags/tag159.xml"/><Relationship Id="rId102" Type="http://schemas.openxmlformats.org/officeDocument/2006/relationships/slideLayout" Target="../slideLayouts/slideLayout12.xml"/><Relationship Id="rId5" Type="http://schemas.openxmlformats.org/officeDocument/2006/relationships/tags" Target="../tags/tag85.xml"/><Relationship Id="rId90" Type="http://schemas.openxmlformats.org/officeDocument/2006/relationships/tags" Target="../tags/tag170.xml"/><Relationship Id="rId95" Type="http://schemas.openxmlformats.org/officeDocument/2006/relationships/tags" Target="../tags/tag175.xml"/><Relationship Id="rId22" Type="http://schemas.openxmlformats.org/officeDocument/2006/relationships/tags" Target="../tags/tag102.xml"/><Relationship Id="rId27" Type="http://schemas.openxmlformats.org/officeDocument/2006/relationships/tags" Target="../tags/tag107.xml"/><Relationship Id="rId43" Type="http://schemas.openxmlformats.org/officeDocument/2006/relationships/tags" Target="../tags/tag123.xml"/><Relationship Id="rId48" Type="http://schemas.openxmlformats.org/officeDocument/2006/relationships/tags" Target="../tags/tag128.xml"/><Relationship Id="rId64" Type="http://schemas.openxmlformats.org/officeDocument/2006/relationships/tags" Target="../tags/tag144.xml"/><Relationship Id="rId69" Type="http://schemas.openxmlformats.org/officeDocument/2006/relationships/tags" Target="../tags/tag149.xml"/><Relationship Id="rId80" Type="http://schemas.openxmlformats.org/officeDocument/2006/relationships/tags" Target="../tags/tag160.xml"/><Relationship Id="rId85" Type="http://schemas.openxmlformats.org/officeDocument/2006/relationships/tags" Target="../tags/tag165.xml"/><Relationship Id="rId12" Type="http://schemas.openxmlformats.org/officeDocument/2006/relationships/tags" Target="../tags/tag92.xml"/><Relationship Id="rId17" Type="http://schemas.openxmlformats.org/officeDocument/2006/relationships/tags" Target="../tags/tag97.xml"/><Relationship Id="rId33" Type="http://schemas.openxmlformats.org/officeDocument/2006/relationships/tags" Target="../tags/tag113.xml"/><Relationship Id="rId38" Type="http://schemas.openxmlformats.org/officeDocument/2006/relationships/tags" Target="../tags/tag118.xml"/><Relationship Id="rId59" Type="http://schemas.openxmlformats.org/officeDocument/2006/relationships/tags" Target="../tags/tag139.xml"/><Relationship Id="rId103" Type="http://schemas.openxmlformats.org/officeDocument/2006/relationships/oleObject" Target="../embeddings/oleObject49.bin"/><Relationship Id="rId108" Type="http://schemas.openxmlformats.org/officeDocument/2006/relationships/chart" Target="../charts/chart4.xml"/><Relationship Id="rId54" Type="http://schemas.openxmlformats.org/officeDocument/2006/relationships/tags" Target="../tags/tag134.xml"/><Relationship Id="rId70" Type="http://schemas.openxmlformats.org/officeDocument/2006/relationships/tags" Target="../tags/tag150.xml"/><Relationship Id="rId75" Type="http://schemas.openxmlformats.org/officeDocument/2006/relationships/tags" Target="../tags/tag155.xml"/><Relationship Id="rId91" Type="http://schemas.openxmlformats.org/officeDocument/2006/relationships/tags" Target="../tags/tag171.xml"/><Relationship Id="rId96" Type="http://schemas.openxmlformats.org/officeDocument/2006/relationships/tags" Target="../tags/tag176.xml"/><Relationship Id="rId1" Type="http://schemas.openxmlformats.org/officeDocument/2006/relationships/tags" Target="../tags/tag81.xml"/><Relationship Id="rId6" Type="http://schemas.openxmlformats.org/officeDocument/2006/relationships/tags" Target="../tags/tag86.xml"/><Relationship Id="rId15" Type="http://schemas.openxmlformats.org/officeDocument/2006/relationships/tags" Target="../tags/tag95.xml"/><Relationship Id="rId23" Type="http://schemas.openxmlformats.org/officeDocument/2006/relationships/tags" Target="../tags/tag103.xml"/><Relationship Id="rId28" Type="http://schemas.openxmlformats.org/officeDocument/2006/relationships/tags" Target="../tags/tag108.xml"/><Relationship Id="rId36" Type="http://schemas.openxmlformats.org/officeDocument/2006/relationships/tags" Target="../tags/tag116.xml"/><Relationship Id="rId49" Type="http://schemas.openxmlformats.org/officeDocument/2006/relationships/tags" Target="../tags/tag129.xml"/><Relationship Id="rId57" Type="http://schemas.openxmlformats.org/officeDocument/2006/relationships/tags" Target="../tags/tag137.xml"/><Relationship Id="rId106" Type="http://schemas.openxmlformats.org/officeDocument/2006/relationships/chart" Target="../charts/chart2.xml"/><Relationship Id="rId10" Type="http://schemas.openxmlformats.org/officeDocument/2006/relationships/tags" Target="../tags/tag90.xml"/><Relationship Id="rId31" Type="http://schemas.openxmlformats.org/officeDocument/2006/relationships/tags" Target="../tags/tag111.xml"/><Relationship Id="rId44" Type="http://schemas.openxmlformats.org/officeDocument/2006/relationships/tags" Target="../tags/tag124.xml"/><Relationship Id="rId52" Type="http://schemas.openxmlformats.org/officeDocument/2006/relationships/tags" Target="../tags/tag132.xml"/><Relationship Id="rId60" Type="http://schemas.openxmlformats.org/officeDocument/2006/relationships/tags" Target="../tags/tag140.xml"/><Relationship Id="rId65" Type="http://schemas.openxmlformats.org/officeDocument/2006/relationships/tags" Target="../tags/tag145.xml"/><Relationship Id="rId73" Type="http://schemas.openxmlformats.org/officeDocument/2006/relationships/tags" Target="../tags/tag153.xml"/><Relationship Id="rId78" Type="http://schemas.openxmlformats.org/officeDocument/2006/relationships/tags" Target="../tags/tag158.xml"/><Relationship Id="rId81" Type="http://schemas.openxmlformats.org/officeDocument/2006/relationships/tags" Target="../tags/tag161.xml"/><Relationship Id="rId86" Type="http://schemas.openxmlformats.org/officeDocument/2006/relationships/tags" Target="../tags/tag166.xml"/><Relationship Id="rId94" Type="http://schemas.openxmlformats.org/officeDocument/2006/relationships/tags" Target="../tags/tag174.xml"/><Relationship Id="rId99" Type="http://schemas.openxmlformats.org/officeDocument/2006/relationships/tags" Target="../tags/tag179.xml"/><Relationship Id="rId101" Type="http://schemas.openxmlformats.org/officeDocument/2006/relationships/tags" Target="../tags/tag181.xml"/><Relationship Id="rId4" Type="http://schemas.openxmlformats.org/officeDocument/2006/relationships/tags" Target="../tags/tag84.xml"/><Relationship Id="rId9" Type="http://schemas.openxmlformats.org/officeDocument/2006/relationships/tags" Target="../tags/tag89.xml"/><Relationship Id="rId13" Type="http://schemas.openxmlformats.org/officeDocument/2006/relationships/tags" Target="../tags/tag93.xml"/><Relationship Id="rId18" Type="http://schemas.openxmlformats.org/officeDocument/2006/relationships/tags" Target="../tags/tag98.xml"/><Relationship Id="rId39" Type="http://schemas.openxmlformats.org/officeDocument/2006/relationships/tags" Target="../tags/tag119.xml"/><Relationship Id="rId109" Type="http://schemas.openxmlformats.org/officeDocument/2006/relationships/chart" Target="../charts/chart5.xml"/><Relationship Id="rId34" Type="http://schemas.openxmlformats.org/officeDocument/2006/relationships/tags" Target="../tags/tag114.xml"/><Relationship Id="rId50" Type="http://schemas.openxmlformats.org/officeDocument/2006/relationships/tags" Target="../tags/tag130.xml"/><Relationship Id="rId55" Type="http://schemas.openxmlformats.org/officeDocument/2006/relationships/tags" Target="../tags/tag135.xml"/><Relationship Id="rId76" Type="http://schemas.openxmlformats.org/officeDocument/2006/relationships/tags" Target="../tags/tag156.xml"/><Relationship Id="rId97" Type="http://schemas.openxmlformats.org/officeDocument/2006/relationships/tags" Target="../tags/tag177.xml"/><Relationship Id="rId104" Type="http://schemas.openxmlformats.org/officeDocument/2006/relationships/image" Target="../media/image2.emf"/><Relationship Id="rId7" Type="http://schemas.openxmlformats.org/officeDocument/2006/relationships/tags" Target="../tags/tag87.xml"/><Relationship Id="rId71" Type="http://schemas.openxmlformats.org/officeDocument/2006/relationships/tags" Target="../tags/tag151.xml"/><Relationship Id="rId92" Type="http://schemas.openxmlformats.org/officeDocument/2006/relationships/tags" Target="../tags/tag172.xml"/><Relationship Id="rId2" Type="http://schemas.openxmlformats.org/officeDocument/2006/relationships/tags" Target="../tags/tag82.xml"/><Relationship Id="rId29" Type="http://schemas.openxmlformats.org/officeDocument/2006/relationships/tags" Target="../tags/tag109.xml"/><Relationship Id="rId24" Type="http://schemas.openxmlformats.org/officeDocument/2006/relationships/tags" Target="../tags/tag104.xml"/><Relationship Id="rId40" Type="http://schemas.openxmlformats.org/officeDocument/2006/relationships/tags" Target="../tags/tag120.xml"/><Relationship Id="rId45" Type="http://schemas.openxmlformats.org/officeDocument/2006/relationships/tags" Target="../tags/tag125.xml"/><Relationship Id="rId66" Type="http://schemas.openxmlformats.org/officeDocument/2006/relationships/tags" Target="../tags/tag146.xml"/><Relationship Id="rId87" Type="http://schemas.openxmlformats.org/officeDocument/2006/relationships/tags" Target="../tags/tag167.xml"/><Relationship Id="rId110" Type="http://schemas.openxmlformats.org/officeDocument/2006/relationships/chart" Target="../charts/chart6.xml"/><Relationship Id="rId61" Type="http://schemas.openxmlformats.org/officeDocument/2006/relationships/tags" Target="../tags/tag141.xml"/><Relationship Id="rId82" Type="http://schemas.openxmlformats.org/officeDocument/2006/relationships/tags" Target="../tags/tag162.xml"/><Relationship Id="rId19" Type="http://schemas.openxmlformats.org/officeDocument/2006/relationships/tags" Target="../tags/tag99.xml"/><Relationship Id="rId14" Type="http://schemas.openxmlformats.org/officeDocument/2006/relationships/tags" Target="../tags/tag94.xml"/><Relationship Id="rId30" Type="http://schemas.openxmlformats.org/officeDocument/2006/relationships/tags" Target="../tags/tag110.xml"/><Relationship Id="rId35" Type="http://schemas.openxmlformats.org/officeDocument/2006/relationships/tags" Target="../tags/tag115.xml"/><Relationship Id="rId56" Type="http://schemas.openxmlformats.org/officeDocument/2006/relationships/tags" Target="../tags/tag136.xml"/><Relationship Id="rId77" Type="http://schemas.openxmlformats.org/officeDocument/2006/relationships/tags" Target="../tags/tag157.xml"/><Relationship Id="rId100" Type="http://schemas.openxmlformats.org/officeDocument/2006/relationships/tags" Target="../tags/tag180.xml"/><Relationship Id="rId105" Type="http://schemas.openxmlformats.org/officeDocument/2006/relationships/chart" Target="../charts/chart1.xml"/><Relationship Id="rId8" Type="http://schemas.openxmlformats.org/officeDocument/2006/relationships/tags" Target="../tags/tag88.xml"/><Relationship Id="rId51" Type="http://schemas.openxmlformats.org/officeDocument/2006/relationships/tags" Target="../tags/tag131.xml"/><Relationship Id="rId72" Type="http://schemas.openxmlformats.org/officeDocument/2006/relationships/tags" Target="../tags/tag152.xml"/><Relationship Id="rId93" Type="http://schemas.openxmlformats.org/officeDocument/2006/relationships/tags" Target="../tags/tag173.xml"/><Relationship Id="rId98" Type="http://schemas.openxmlformats.org/officeDocument/2006/relationships/tags" Target="../tags/tag178.xml"/><Relationship Id="rId3" Type="http://schemas.openxmlformats.org/officeDocument/2006/relationships/tags" Target="../tags/tag83.xml"/><Relationship Id="rId25" Type="http://schemas.openxmlformats.org/officeDocument/2006/relationships/tags" Target="../tags/tag105.xml"/><Relationship Id="rId46" Type="http://schemas.openxmlformats.org/officeDocument/2006/relationships/tags" Target="../tags/tag126.xml"/><Relationship Id="rId67" Type="http://schemas.openxmlformats.org/officeDocument/2006/relationships/tags" Target="../tags/tag147.xml"/><Relationship Id="rId20" Type="http://schemas.openxmlformats.org/officeDocument/2006/relationships/tags" Target="../tags/tag100.xml"/><Relationship Id="rId41" Type="http://schemas.openxmlformats.org/officeDocument/2006/relationships/tags" Target="../tags/tag121.xml"/><Relationship Id="rId62" Type="http://schemas.openxmlformats.org/officeDocument/2006/relationships/tags" Target="../tags/tag142.xml"/><Relationship Id="rId83" Type="http://schemas.openxmlformats.org/officeDocument/2006/relationships/tags" Target="../tags/tag163.xml"/><Relationship Id="rId88" Type="http://schemas.openxmlformats.org/officeDocument/2006/relationships/tags" Target="../tags/tag168.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4.xml"/><Relationship Id="rId1" Type="http://schemas.openxmlformats.org/officeDocument/2006/relationships/tags" Target="../tags/tag182.xml"/><Relationship Id="rId4" Type="http://schemas.openxmlformats.org/officeDocument/2006/relationships/image" Target="../media/image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18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3.xml"/><Relationship Id="rId1" Type="http://schemas.openxmlformats.org/officeDocument/2006/relationships/tags" Target="../tags/tag184.xml"/><Relationship Id="rId4" Type="http://schemas.openxmlformats.org/officeDocument/2006/relationships/image" Target="../media/image2.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185.xml"/><Relationship Id="rId4" Type="http://schemas.openxmlformats.org/officeDocument/2006/relationships/image" Target="../media/image2.emf"/></Relationships>
</file>

<file path=ppt/slides/_rels/slide16.xml.rels><?xml version="1.0" encoding="UTF-8" standalone="yes"?>
<Relationships xmlns="http://schemas.openxmlformats.org/package/2006/relationships"><Relationship Id="rId13" Type="http://schemas.openxmlformats.org/officeDocument/2006/relationships/tags" Target="../tags/tag198.xml"/><Relationship Id="rId18" Type="http://schemas.openxmlformats.org/officeDocument/2006/relationships/tags" Target="../tags/tag203.xml"/><Relationship Id="rId26" Type="http://schemas.openxmlformats.org/officeDocument/2006/relationships/tags" Target="../tags/tag211.xml"/><Relationship Id="rId39" Type="http://schemas.openxmlformats.org/officeDocument/2006/relationships/tags" Target="../tags/tag224.xml"/><Relationship Id="rId21" Type="http://schemas.openxmlformats.org/officeDocument/2006/relationships/tags" Target="../tags/tag206.xml"/><Relationship Id="rId34" Type="http://schemas.openxmlformats.org/officeDocument/2006/relationships/tags" Target="../tags/tag219.xml"/><Relationship Id="rId42" Type="http://schemas.openxmlformats.org/officeDocument/2006/relationships/tags" Target="../tags/tag227.xml"/><Relationship Id="rId47" Type="http://schemas.openxmlformats.org/officeDocument/2006/relationships/tags" Target="../tags/tag232.xml"/><Relationship Id="rId50" Type="http://schemas.openxmlformats.org/officeDocument/2006/relationships/oleObject" Target="../embeddings/oleObject54.bin"/><Relationship Id="rId55" Type="http://schemas.openxmlformats.org/officeDocument/2006/relationships/chart" Target="../charts/chart10.xml"/><Relationship Id="rId7" Type="http://schemas.openxmlformats.org/officeDocument/2006/relationships/tags" Target="../tags/tag192.xml"/><Relationship Id="rId2" Type="http://schemas.openxmlformats.org/officeDocument/2006/relationships/tags" Target="../tags/tag187.xml"/><Relationship Id="rId16" Type="http://schemas.openxmlformats.org/officeDocument/2006/relationships/tags" Target="../tags/tag201.xml"/><Relationship Id="rId29" Type="http://schemas.openxmlformats.org/officeDocument/2006/relationships/tags" Target="../tags/tag214.xml"/><Relationship Id="rId11" Type="http://schemas.openxmlformats.org/officeDocument/2006/relationships/tags" Target="../tags/tag196.xml"/><Relationship Id="rId24" Type="http://schemas.openxmlformats.org/officeDocument/2006/relationships/tags" Target="../tags/tag209.xml"/><Relationship Id="rId32" Type="http://schemas.openxmlformats.org/officeDocument/2006/relationships/tags" Target="../tags/tag217.xml"/><Relationship Id="rId37" Type="http://schemas.openxmlformats.org/officeDocument/2006/relationships/tags" Target="../tags/tag222.xml"/><Relationship Id="rId40" Type="http://schemas.openxmlformats.org/officeDocument/2006/relationships/tags" Target="../tags/tag225.xml"/><Relationship Id="rId45" Type="http://schemas.openxmlformats.org/officeDocument/2006/relationships/tags" Target="../tags/tag230.xml"/><Relationship Id="rId53" Type="http://schemas.openxmlformats.org/officeDocument/2006/relationships/chart" Target="../charts/chart8.xml"/><Relationship Id="rId5" Type="http://schemas.openxmlformats.org/officeDocument/2006/relationships/tags" Target="../tags/tag190.xml"/><Relationship Id="rId19" Type="http://schemas.openxmlformats.org/officeDocument/2006/relationships/tags" Target="../tags/tag204.xml"/><Relationship Id="rId4" Type="http://schemas.openxmlformats.org/officeDocument/2006/relationships/tags" Target="../tags/tag189.xml"/><Relationship Id="rId9" Type="http://schemas.openxmlformats.org/officeDocument/2006/relationships/tags" Target="../tags/tag194.xml"/><Relationship Id="rId14" Type="http://schemas.openxmlformats.org/officeDocument/2006/relationships/tags" Target="../tags/tag199.xml"/><Relationship Id="rId22" Type="http://schemas.openxmlformats.org/officeDocument/2006/relationships/tags" Target="../tags/tag207.xml"/><Relationship Id="rId27" Type="http://schemas.openxmlformats.org/officeDocument/2006/relationships/tags" Target="../tags/tag212.xml"/><Relationship Id="rId30" Type="http://schemas.openxmlformats.org/officeDocument/2006/relationships/tags" Target="../tags/tag215.xml"/><Relationship Id="rId35" Type="http://schemas.openxmlformats.org/officeDocument/2006/relationships/tags" Target="../tags/tag220.xml"/><Relationship Id="rId43" Type="http://schemas.openxmlformats.org/officeDocument/2006/relationships/tags" Target="../tags/tag228.xml"/><Relationship Id="rId48" Type="http://schemas.openxmlformats.org/officeDocument/2006/relationships/tags" Target="../tags/tag233.xml"/><Relationship Id="rId56" Type="http://schemas.openxmlformats.org/officeDocument/2006/relationships/chart" Target="../charts/chart11.xml"/><Relationship Id="rId8" Type="http://schemas.openxmlformats.org/officeDocument/2006/relationships/tags" Target="../tags/tag193.xml"/><Relationship Id="rId51" Type="http://schemas.openxmlformats.org/officeDocument/2006/relationships/image" Target="../media/image2.emf"/><Relationship Id="rId3" Type="http://schemas.openxmlformats.org/officeDocument/2006/relationships/tags" Target="../tags/tag188.xml"/><Relationship Id="rId12" Type="http://schemas.openxmlformats.org/officeDocument/2006/relationships/tags" Target="../tags/tag197.xml"/><Relationship Id="rId17" Type="http://schemas.openxmlformats.org/officeDocument/2006/relationships/tags" Target="../tags/tag202.xml"/><Relationship Id="rId25" Type="http://schemas.openxmlformats.org/officeDocument/2006/relationships/tags" Target="../tags/tag210.xml"/><Relationship Id="rId33" Type="http://schemas.openxmlformats.org/officeDocument/2006/relationships/tags" Target="../tags/tag218.xml"/><Relationship Id="rId38" Type="http://schemas.openxmlformats.org/officeDocument/2006/relationships/tags" Target="../tags/tag223.xml"/><Relationship Id="rId46" Type="http://schemas.openxmlformats.org/officeDocument/2006/relationships/tags" Target="../tags/tag231.xml"/><Relationship Id="rId20" Type="http://schemas.openxmlformats.org/officeDocument/2006/relationships/tags" Target="../tags/tag205.xml"/><Relationship Id="rId41" Type="http://schemas.openxmlformats.org/officeDocument/2006/relationships/tags" Target="../tags/tag226.xml"/><Relationship Id="rId54" Type="http://schemas.openxmlformats.org/officeDocument/2006/relationships/chart" Target="../charts/chart9.xml"/><Relationship Id="rId1" Type="http://schemas.openxmlformats.org/officeDocument/2006/relationships/tags" Target="../tags/tag186.xml"/><Relationship Id="rId6" Type="http://schemas.openxmlformats.org/officeDocument/2006/relationships/tags" Target="../tags/tag191.xml"/><Relationship Id="rId15" Type="http://schemas.openxmlformats.org/officeDocument/2006/relationships/tags" Target="../tags/tag200.xml"/><Relationship Id="rId23" Type="http://schemas.openxmlformats.org/officeDocument/2006/relationships/tags" Target="../tags/tag208.xml"/><Relationship Id="rId28" Type="http://schemas.openxmlformats.org/officeDocument/2006/relationships/tags" Target="../tags/tag213.xml"/><Relationship Id="rId36" Type="http://schemas.openxmlformats.org/officeDocument/2006/relationships/tags" Target="../tags/tag221.xml"/><Relationship Id="rId49" Type="http://schemas.openxmlformats.org/officeDocument/2006/relationships/slideLayout" Target="../slideLayouts/slideLayout13.xml"/><Relationship Id="rId57" Type="http://schemas.openxmlformats.org/officeDocument/2006/relationships/chart" Target="../charts/chart12.xml"/><Relationship Id="rId10" Type="http://schemas.openxmlformats.org/officeDocument/2006/relationships/tags" Target="../tags/tag195.xml"/><Relationship Id="rId31" Type="http://schemas.openxmlformats.org/officeDocument/2006/relationships/tags" Target="../tags/tag216.xml"/><Relationship Id="rId44" Type="http://schemas.openxmlformats.org/officeDocument/2006/relationships/tags" Target="../tags/tag229.xml"/><Relationship Id="rId52" Type="http://schemas.openxmlformats.org/officeDocument/2006/relationships/chart" Target="../charts/chart7.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2.xml"/><Relationship Id="rId1" Type="http://schemas.openxmlformats.org/officeDocument/2006/relationships/tags" Target="../tags/tag23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emf"/></Relationships>
</file>

<file path=ppt/slides/_rels/slide18.xml.rels><?xml version="1.0" encoding="UTF-8" standalone="yes"?>
<Relationships xmlns="http://schemas.openxmlformats.org/package/2006/relationships"><Relationship Id="rId8" Type="http://schemas.openxmlformats.org/officeDocument/2006/relationships/tags" Target="../tags/tag242.xml"/><Relationship Id="rId13" Type="http://schemas.openxmlformats.org/officeDocument/2006/relationships/tags" Target="../tags/tag247.xml"/><Relationship Id="rId18" Type="http://schemas.openxmlformats.org/officeDocument/2006/relationships/image" Target="../media/image2.emf"/><Relationship Id="rId26" Type="http://schemas.openxmlformats.org/officeDocument/2006/relationships/image" Target="../media/image35.svg"/><Relationship Id="rId3" Type="http://schemas.openxmlformats.org/officeDocument/2006/relationships/tags" Target="../tags/tag237.xml"/><Relationship Id="rId21" Type="http://schemas.openxmlformats.org/officeDocument/2006/relationships/image" Target="../media/image30.png"/><Relationship Id="rId7" Type="http://schemas.openxmlformats.org/officeDocument/2006/relationships/tags" Target="../tags/tag241.xml"/><Relationship Id="rId12" Type="http://schemas.openxmlformats.org/officeDocument/2006/relationships/tags" Target="../tags/tag246.xml"/><Relationship Id="rId17" Type="http://schemas.openxmlformats.org/officeDocument/2006/relationships/oleObject" Target="../embeddings/oleObject56.bin"/><Relationship Id="rId25" Type="http://schemas.openxmlformats.org/officeDocument/2006/relationships/image" Target="../media/image34.png"/><Relationship Id="rId2" Type="http://schemas.openxmlformats.org/officeDocument/2006/relationships/tags" Target="../tags/tag236.xml"/><Relationship Id="rId16" Type="http://schemas.openxmlformats.org/officeDocument/2006/relationships/slideLayout" Target="../slideLayouts/slideLayout5.xml"/><Relationship Id="rId20" Type="http://schemas.openxmlformats.org/officeDocument/2006/relationships/image" Target="../media/image29.svg"/><Relationship Id="rId29" Type="http://schemas.openxmlformats.org/officeDocument/2006/relationships/image" Target="../media/image38.png"/><Relationship Id="rId1" Type="http://schemas.openxmlformats.org/officeDocument/2006/relationships/tags" Target="../tags/tag235.xml"/><Relationship Id="rId6" Type="http://schemas.openxmlformats.org/officeDocument/2006/relationships/tags" Target="../tags/tag240.xml"/><Relationship Id="rId11" Type="http://schemas.openxmlformats.org/officeDocument/2006/relationships/tags" Target="../tags/tag245.xml"/><Relationship Id="rId24" Type="http://schemas.openxmlformats.org/officeDocument/2006/relationships/image" Target="../media/image33.svg"/><Relationship Id="rId5" Type="http://schemas.openxmlformats.org/officeDocument/2006/relationships/tags" Target="../tags/tag239.xml"/><Relationship Id="rId15" Type="http://schemas.openxmlformats.org/officeDocument/2006/relationships/tags" Target="../tags/tag249.xml"/><Relationship Id="rId23" Type="http://schemas.openxmlformats.org/officeDocument/2006/relationships/image" Target="../media/image32.png"/><Relationship Id="rId28" Type="http://schemas.openxmlformats.org/officeDocument/2006/relationships/image" Target="../media/image37.svg"/><Relationship Id="rId10" Type="http://schemas.openxmlformats.org/officeDocument/2006/relationships/tags" Target="../tags/tag244.xml"/><Relationship Id="rId19" Type="http://schemas.openxmlformats.org/officeDocument/2006/relationships/image" Target="../media/image28.png"/><Relationship Id="rId4" Type="http://schemas.openxmlformats.org/officeDocument/2006/relationships/tags" Target="../tags/tag238.xml"/><Relationship Id="rId9" Type="http://schemas.openxmlformats.org/officeDocument/2006/relationships/tags" Target="../tags/tag243.xml"/><Relationship Id="rId14" Type="http://schemas.openxmlformats.org/officeDocument/2006/relationships/tags" Target="../tags/tag248.xml"/><Relationship Id="rId22" Type="http://schemas.openxmlformats.org/officeDocument/2006/relationships/image" Target="../media/image31.svg"/><Relationship Id="rId27" Type="http://schemas.openxmlformats.org/officeDocument/2006/relationships/image" Target="../media/image36.png"/><Relationship Id="rId30" Type="http://schemas.openxmlformats.org/officeDocument/2006/relationships/image" Target="../media/image39.sv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6.xml"/><Relationship Id="rId1" Type="http://schemas.openxmlformats.org/officeDocument/2006/relationships/tags" Target="../tags/tag250.xml"/><Relationship Id="rId5" Type="http://schemas.openxmlformats.org/officeDocument/2006/relationships/image" Target="../media/image40.png"/><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72.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8" Type="http://schemas.openxmlformats.org/officeDocument/2006/relationships/slide" Target="slide10.xml"/><Relationship Id="rId3" Type="http://schemas.openxmlformats.org/officeDocument/2006/relationships/oleObject" Target="../embeddings/oleObject41.bin"/><Relationship Id="rId7" Type="http://schemas.openxmlformats.org/officeDocument/2006/relationships/slide" Target="slide13.xml"/><Relationship Id="rId2" Type="http://schemas.openxmlformats.org/officeDocument/2006/relationships/slideLayout" Target="../slideLayouts/slideLayout32.xml"/><Relationship Id="rId1" Type="http://schemas.openxmlformats.org/officeDocument/2006/relationships/tags" Target="../tags/tag73.xml"/><Relationship Id="rId6" Type="http://schemas.openxmlformats.org/officeDocument/2006/relationships/slide" Target="slide14.xml"/><Relationship Id="rId5" Type="http://schemas.openxmlformats.org/officeDocument/2006/relationships/slide" Target="slide19.xml"/><Relationship Id="rId4" Type="http://schemas.openxmlformats.org/officeDocument/2006/relationships/image" Target="../media/image2.emf"/><Relationship Id="rId9" Type="http://schemas.openxmlformats.org/officeDocument/2006/relationships/slide" Target="slide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2.bin"/><Relationship Id="rId7" Type="http://schemas.openxmlformats.org/officeDocument/2006/relationships/image" Target="../media/image12.png"/><Relationship Id="rId2" Type="http://schemas.openxmlformats.org/officeDocument/2006/relationships/slideLayout" Target="../slideLayouts/slideLayout4.xml"/><Relationship Id="rId1" Type="http://schemas.openxmlformats.org/officeDocument/2006/relationships/tags" Target="../tags/tag7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75.xml"/><Relationship Id="rId4" Type="http://schemas.openxmlformats.org/officeDocument/2006/relationships/image" Target="../media/image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3.xml"/><Relationship Id="rId1" Type="http://schemas.openxmlformats.org/officeDocument/2006/relationships/tags" Target="../tags/tag76.xml"/><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77.xml"/><Relationship Id="rId5" Type="http://schemas.openxmlformats.org/officeDocument/2006/relationships/image" Target="../media/image13.png"/><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78.xml"/><Relationship Id="rId5" Type="http://schemas.openxmlformats.org/officeDocument/2006/relationships/image" Target="../media/image14.png"/><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oleObject" Target="../embeddings/oleObject47.bin"/><Relationship Id="rId7" Type="http://schemas.openxmlformats.org/officeDocument/2006/relationships/image" Target="../media/image17.emf"/><Relationship Id="rId2" Type="http://schemas.openxmlformats.org/officeDocument/2006/relationships/slideLayout" Target="../slideLayouts/slideLayout3.xml"/><Relationship Id="rId1" Type="http://schemas.openxmlformats.org/officeDocument/2006/relationships/tags" Target="../tags/tag79.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5DA81C-D9CF-49AA-BF49-D5DCE6CF56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4B5DA81C-D9CF-49AA-BF49-D5DCE6CF56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A4A317FA-1B84-4511-9DEA-4DA96AB1B695}"/>
              </a:ext>
            </a:extLst>
          </p:cNvPr>
          <p:cNvSpPr>
            <a:spLocks noGrp="1"/>
          </p:cNvSpPr>
          <p:nvPr>
            <p:ph type="ctrTitle"/>
          </p:nvPr>
        </p:nvSpPr>
        <p:spPr>
          <a:xfrm>
            <a:off x="989445" y="1758950"/>
            <a:ext cx="5868555" cy="1835150"/>
          </a:xfrm>
        </p:spPr>
        <p:txBody>
          <a:bodyPr vert="horz" anchor="ctr"/>
          <a:lstStyle/>
          <a:p>
            <a:r>
              <a:rPr lang="en-GB" dirty="0" err="1"/>
              <a:t>Stijlgids</a:t>
            </a:r>
            <a:r>
              <a:rPr lang="en-GB" dirty="0"/>
              <a:t> It’s Public</a:t>
            </a:r>
          </a:p>
        </p:txBody>
      </p:sp>
      <p:sp>
        <p:nvSpPr>
          <p:cNvPr id="12" name="Text Placeholder 11">
            <a:extLst>
              <a:ext uri="{FF2B5EF4-FFF2-40B4-BE49-F238E27FC236}">
                <a16:creationId xmlns:a16="http://schemas.microsoft.com/office/drawing/2014/main" id="{B18EE89A-7886-4E4D-BA34-85C60107A64E}"/>
              </a:ext>
            </a:extLst>
          </p:cNvPr>
          <p:cNvSpPr>
            <a:spLocks noGrp="1"/>
          </p:cNvSpPr>
          <p:nvPr>
            <p:ph type="body" idx="1"/>
          </p:nvPr>
        </p:nvSpPr>
        <p:spPr/>
        <p:txBody>
          <a:bodyPr/>
          <a:lstStyle/>
          <a:p>
            <a:r>
              <a:rPr lang="en-GB" dirty="0" err="1"/>
              <a:t>Juni</a:t>
            </a:r>
            <a:r>
              <a:rPr lang="en-GB" dirty="0"/>
              <a:t> 2021</a:t>
            </a:r>
          </a:p>
        </p:txBody>
      </p:sp>
      <p:pic>
        <p:nvPicPr>
          <p:cNvPr id="8" name="Graphic 7" descr="Storytelling">
            <a:extLst>
              <a:ext uri="{FF2B5EF4-FFF2-40B4-BE49-F238E27FC236}">
                <a16:creationId xmlns:a16="http://schemas.microsoft.com/office/drawing/2014/main" id="{3C7163E9-C392-418C-8227-C3AF39D5F73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64106" y="3573625"/>
            <a:ext cx="2669082" cy="2669082"/>
          </a:xfrm>
          <a:prstGeom prst="rect">
            <a:avLst/>
          </a:prstGeom>
        </p:spPr>
      </p:pic>
    </p:spTree>
    <p:extLst>
      <p:ext uri="{BB962C8B-B14F-4D97-AF65-F5344CB8AC3E}">
        <p14:creationId xmlns:p14="http://schemas.microsoft.com/office/powerpoint/2010/main" val="23918130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D798780-1FC1-4E18-8E6B-ED5045D4C9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4" name="Object 3" hidden="1">
                        <a:extLst>
                          <a:ext uri="{FF2B5EF4-FFF2-40B4-BE49-F238E27FC236}">
                            <a16:creationId xmlns:a16="http://schemas.microsoft.com/office/drawing/2014/main" id="{0D798780-1FC1-4E18-8E6B-ED5045D4C9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D1B4947-CFA7-4973-A29A-DC1E8120DC10}"/>
              </a:ext>
            </a:extLst>
          </p:cNvPr>
          <p:cNvSpPr>
            <a:spLocks noGrp="1"/>
          </p:cNvSpPr>
          <p:nvPr>
            <p:ph type="body" sz="quarter" idx="20"/>
          </p:nvPr>
        </p:nvSpPr>
        <p:spPr/>
        <p:txBody>
          <a:bodyPr/>
          <a:lstStyle/>
          <a:p>
            <a:endParaRPr lang="nl-NL"/>
          </a:p>
        </p:txBody>
      </p:sp>
      <p:sp>
        <p:nvSpPr>
          <p:cNvPr id="7" name="Footer Placeholder 6">
            <a:extLst>
              <a:ext uri="{FF2B5EF4-FFF2-40B4-BE49-F238E27FC236}">
                <a16:creationId xmlns:a16="http://schemas.microsoft.com/office/drawing/2014/main" id="{6CBB37F1-5558-463B-AD6F-AB3926F81C8D}"/>
              </a:ext>
            </a:extLst>
          </p:cNvPr>
          <p:cNvSpPr>
            <a:spLocks noGrp="1"/>
          </p:cNvSpPr>
          <p:nvPr>
            <p:ph type="ftr" sz="quarter" idx="3"/>
          </p:nvPr>
        </p:nvSpPr>
        <p:spPr/>
        <p:txBody>
          <a:bodyPr/>
          <a:lstStyle/>
          <a:p>
            <a:r>
              <a:rPr lang="en-GB">
                <a:latin typeface="+mj-lt"/>
              </a:rPr>
              <a:t>Bron: </a:t>
            </a:r>
            <a:endParaRPr lang="en-GB" dirty="0">
              <a:latin typeface="+mj-lt"/>
            </a:endParaRPr>
          </a:p>
        </p:txBody>
      </p:sp>
      <p:sp>
        <p:nvSpPr>
          <p:cNvPr id="6" name="Slide Number Placeholder 5">
            <a:extLst>
              <a:ext uri="{FF2B5EF4-FFF2-40B4-BE49-F238E27FC236}">
                <a16:creationId xmlns:a16="http://schemas.microsoft.com/office/drawing/2014/main" id="{C269D175-335E-4753-93BE-6CAB80B2A20F}"/>
              </a:ext>
            </a:extLst>
          </p:cNvPr>
          <p:cNvSpPr>
            <a:spLocks noGrp="1"/>
          </p:cNvSpPr>
          <p:nvPr>
            <p:ph type="sldNum" sz="quarter" idx="12"/>
          </p:nvPr>
        </p:nvSpPr>
        <p:spPr/>
        <p:txBody>
          <a:bodyPr/>
          <a:lstStyle/>
          <a:p>
            <a:fld id="{992CD0B2-8AB2-4C6C-8876-E15753662C9B}" type="slidenum">
              <a:rPr lang="nl-NL" noProof="0" smtClean="0"/>
              <a:pPr/>
              <a:t>10</a:t>
            </a:fld>
            <a:endParaRPr lang="nl-NL" noProof="0" dirty="0"/>
          </a:p>
        </p:txBody>
      </p:sp>
      <p:sp>
        <p:nvSpPr>
          <p:cNvPr id="21" name="Text Placeholder 20">
            <a:extLst>
              <a:ext uri="{FF2B5EF4-FFF2-40B4-BE49-F238E27FC236}">
                <a16:creationId xmlns:a16="http://schemas.microsoft.com/office/drawing/2014/main" id="{59745EE2-0A24-46C2-9D4D-83D782FCA785}"/>
              </a:ext>
            </a:extLst>
          </p:cNvPr>
          <p:cNvSpPr>
            <a:spLocks noGrp="1"/>
          </p:cNvSpPr>
          <p:nvPr>
            <p:ph type="body" sz="quarter" idx="14"/>
          </p:nvPr>
        </p:nvSpPr>
        <p:spPr/>
        <p:txBody>
          <a:bodyPr/>
          <a:lstStyle/>
          <a:p>
            <a:r>
              <a:rPr lang="nl-NL" dirty="0">
                <a:solidFill>
                  <a:srgbClr val="000000"/>
                </a:solidFill>
                <a:latin typeface="+mj-lt"/>
              </a:rPr>
              <a:t>Standaardkleuren It’s Public</a:t>
            </a:r>
          </a:p>
          <a:p>
            <a:endParaRPr lang="nl-NL" dirty="0">
              <a:latin typeface="+mj-lt"/>
            </a:endParaRPr>
          </a:p>
        </p:txBody>
      </p:sp>
      <p:sp>
        <p:nvSpPr>
          <p:cNvPr id="5" name="Title 4">
            <a:extLst>
              <a:ext uri="{FF2B5EF4-FFF2-40B4-BE49-F238E27FC236}">
                <a16:creationId xmlns:a16="http://schemas.microsoft.com/office/drawing/2014/main" id="{EC4248DB-F97B-4B1B-B1F5-B6C1F5287402}"/>
              </a:ext>
            </a:extLst>
          </p:cNvPr>
          <p:cNvSpPr>
            <a:spLocks noGrp="1"/>
          </p:cNvSpPr>
          <p:nvPr>
            <p:ph type="title"/>
          </p:nvPr>
        </p:nvSpPr>
        <p:spPr/>
        <p:txBody>
          <a:bodyPr vert="horz" lIns="0" tIns="0" rIns="0" bIns="0" rtlCol="0" anchor="b">
            <a:noAutofit/>
          </a:bodyPr>
          <a:lstStyle/>
          <a:p>
            <a:r>
              <a:rPr lang="nl-NL" dirty="0">
                <a:latin typeface="+mj-lt"/>
              </a:rPr>
              <a:t>Er zijn een aantal standaard kleuren </a:t>
            </a:r>
          </a:p>
        </p:txBody>
      </p:sp>
      <p:grpSp>
        <p:nvGrpSpPr>
          <p:cNvPr id="34" name="Group 33">
            <a:extLst>
              <a:ext uri="{FF2B5EF4-FFF2-40B4-BE49-F238E27FC236}">
                <a16:creationId xmlns:a16="http://schemas.microsoft.com/office/drawing/2014/main" id="{0435DD5B-8DD8-4A34-9317-04DA0381953C}"/>
              </a:ext>
            </a:extLst>
          </p:cNvPr>
          <p:cNvGrpSpPr/>
          <p:nvPr/>
        </p:nvGrpSpPr>
        <p:grpSpPr>
          <a:xfrm>
            <a:off x="1046277" y="1873602"/>
            <a:ext cx="9975341" cy="4203042"/>
            <a:chOff x="662781" y="2340637"/>
            <a:chExt cx="10024799" cy="4223880"/>
          </a:xfrm>
        </p:grpSpPr>
        <p:pic>
          <p:nvPicPr>
            <p:cNvPr id="35" name="Picture 34">
              <a:extLst>
                <a:ext uri="{FF2B5EF4-FFF2-40B4-BE49-F238E27FC236}">
                  <a16:creationId xmlns:a16="http://schemas.microsoft.com/office/drawing/2014/main" id="{EA62D6A3-285A-4B86-9C83-F23A9C495E04}"/>
                </a:ext>
              </a:extLst>
            </p:cNvPr>
            <p:cNvPicPr>
              <a:picLocks noChangeAspect="1"/>
            </p:cNvPicPr>
            <p:nvPr/>
          </p:nvPicPr>
          <p:blipFill rotWithShape="1">
            <a:blip r:embed="rId5"/>
            <a:srcRect r="5958"/>
            <a:stretch/>
          </p:blipFill>
          <p:spPr>
            <a:xfrm>
              <a:off x="9425355" y="2649981"/>
              <a:ext cx="1234290" cy="3184684"/>
            </a:xfrm>
            <a:prstGeom prst="rect">
              <a:avLst/>
            </a:prstGeom>
          </p:spPr>
        </p:pic>
        <p:sp>
          <p:nvSpPr>
            <p:cNvPr id="36" name="Rectangle 35">
              <a:extLst>
                <a:ext uri="{FF2B5EF4-FFF2-40B4-BE49-F238E27FC236}">
                  <a16:creationId xmlns:a16="http://schemas.microsoft.com/office/drawing/2014/main" id="{2D351B99-34DA-4FDB-B1B4-69C29CD920A8}"/>
                </a:ext>
              </a:extLst>
            </p:cNvPr>
            <p:cNvSpPr/>
            <p:nvPr/>
          </p:nvSpPr>
          <p:spPr>
            <a:xfrm>
              <a:off x="7680830" y="2627431"/>
              <a:ext cx="1188067" cy="782351"/>
            </a:xfrm>
            <a:prstGeom prst="rect">
              <a:avLst/>
            </a:prstGeom>
            <a:solidFill>
              <a:schemeClr val="accent5"/>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Accent5</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R207 G227 B230</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CFE3E6</a:t>
              </a:r>
            </a:p>
          </p:txBody>
        </p:sp>
        <p:sp>
          <p:nvSpPr>
            <p:cNvPr id="37" name="Rectangle 36">
              <a:extLst>
                <a:ext uri="{FF2B5EF4-FFF2-40B4-BE49-F238E27FC236}">
                  <a16:creationId xmlns:a16="http://schemas.microsoft.com/office/drawing/2014/main" id="{E282738D-FDA6-4CC6-BDED-96E0F3F82C13}"/>
                </a:ext>
              </a:extLst>
            </p:cNvPr>
            <p:cNvSpPr/>
            <p:nvPr/>
          </p:nvSpPr>
          <p:spPr>
            <a:xfrm>
              <a:off x="6418604" y="2627431"/>
              <a:ext cx="1188067" cy="782351"/>
            </a:xfrm>
            <a:prstGeom prst="rect">
              <a:avLst/>
            </a:prstGeom>
            <a:solidFill>
              <a:schemeClr val="accent4"/>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rgbClr val="000000"/>
                  </a:solidFill>
                  <a:latin typeface="+mj-lt"/>
                </a:rPr>
                <a:t>Accent4</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rgbClr val="000000"/>
                  </a:solidFill>
                  <a:latin typeface="+mj-lt"/>
                </a:rPr>
                <a:t>R149 G197 B201</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95C5C9</a:t>
              </a:r>
              <a:endParaRPr kumimoji="0" lang="en-GB"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endParaRPr>
            </a:p>
          </p:txBody>
        </p:sp>
        <p:sp>
          <p:nvSpPr>
            <p:cNvPr id="38" name="Rectangle 37">
              <a:extLst>
                <a:ext uri="{FF2B5EF4-FFF2-40B4-BE49-F238E27FC236}">
                  <a16:creationId xmlns:a16="http://schemas.microsoft.com/office/drawing/2014/main" id="{2595FFB5-6127-4281-AD83-D70F70F3E92E}"/>
                </a:ext>
              </a:extLst>
            </p:cNvPr>
            <p:cNvSpPr/>
            <p:nvPr/>
          </p:nvSpPr>
          <p:spPr>
            <a:xfrm>
              <a:off x="5156377" y="2627431"/>
              <a:ext cx="1188067" cy="782351"/>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Accent3</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R104 G171 B176</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rgbClr val="000000"/>
                  </a:solidFill>
                  <a:latin typeface="+mj-lt"/>
                </a:rPr>
                <a:t>#68ABB0</a:t>
              </a:r>
              <a:endParaRPr kumimoji="0" lang="en-GB"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endParaRPr>
            </a:p>
          </p:txBody>
        </p:sp>
        <p:sp>
          <p:nvSpPr>
            <p:cNvPr id="39" name="Rectangle 38">
              <a:extLst>
                <a:ext uri="{FF2B5EF4-FFF2-40B4-BE49-F238E27FC236}">
                  <a16:creationId xmlns:a16="http://schemas.microsoft.com/office/drawing/2014/main" id="{AC4FCBDD-C7AD-4544-A7AE-54C0E57DB746}"/>
                </a:ext>
              </a:extLst>
            </p:cNvPr>
            <p:cNvSpPr/>
            <p:nvPr/>
          </p:nvSpPr>
          <p:spPr>
            <a:xfrm>
              <a:off x="3894151" y="2627431"/>
              <a:ext cx="1188067" cy="782351"/>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chemeClr val="bg1"/>
                  </a:solidFill>
                  <a:effectLst/>
                  <a:uLnTx/>
                  <a:uFillTx/>
                  <a:latin typeface="+mj-lt"/>
                  <a:ea typeface="+mn-ea"/>
                  <a:cs typeface="Arial" panose="020B0604020202020204" pitchFamily="34" charset="0"/>
                </a:rPr>
                <a:t>Accent2</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chemeClr val="bg1"/>
                  </a:solidFill>
                  <a:effectLst/>
                  <a:uLnTx/>
                  <a:uFillTx/>
                  <a:latin typeface="+mj-lt"/>
                  <a:ea typeface="+mn-ea"/>
                  <a:cs typeface="Arial" panose="020B0604020202020204" pitchFamily="34" charset="0"/>
                </a:rPr>
                <a:t>R64 G 142 B 148</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chemeClr val="bg1"/>
                  </a:solidFill>
                  <a:latin typeface="+mj-lt"/>
                </a:rPr>
                <a:t>#408E94</a:t>
              </a:r>
              <a:endParaRPr kumimoji="0" lang="en-GB" sz="1000" b="0" i="0" u="none" strike="noStrike" kern="1200" cap="none" spc="0" normalizeH="0" noProof="0" dirty="0">
                <a:ln>
                  <a:noFill/>
                </a:ln>
                <a:solidFill>
                  <a:schemeClr val="bg1"/>
                </a:solidFill>
                <a:effectLst/>
                <a:uLnTx/>
                <a:uFillTx/>
                <a:latin typeface="+mj-lt"/>
              </a:endParaRPr>
            </a:p>
          </p:txBody>
        </p:sp>
        <p:sp>
          <p:nvSpPr>
            <p:cNvPr id="40" name="Rectangle 39">
              <a:extLst>
                <a:ext uri="{FF2B5EF4-FFF2-40B4-BE49-F238E27FC236}">
                  <a16:creationId xmlns:a16="http://schemas.microsoft.com/office/drawing/2014/main" id="{B9CDF2F9-E0BE-46E8-8C80-332CF928723A}"/>
                </a:ext>
              </a:extLst>
            </p:cNvPr>
            <p:cNvSpPr/>
            <p:nvPr/>
          </p:nvSpPr>
          <p:spPr>
            <a:xfrm>
              <a:off x="2631925" y="2627431"/>
              <a:ext cx="1188067" cy="782351"/>
            </a:xfrm>
            <a:prstGeom prst="rect">
              <a:avLst/>
            </a:prstGeom>
            <a:solidFill>
              <a:schemeClr val="accent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chemeClr val="bg1"/>
                  </a:solidFill>
                  <a:effectLst/>
                  <a:uLnTx/>
                  <a:uFillTx/>
                  <a:latin typeface="+mj-lt"/>
                  <a:ea typeface="+mn-ea"/>
                  <a:cs typeface="Arial" panose="020B0604020202020204" pitchFamily="34" charset="0"/>
                </a:rPr>
                <a:t>Accent1</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chemeClr val="bg1"/>
                  </a:solidFill>
                  <a:effectLst/>
                  <a:uLnTx/>
                  <a:uFillTx/>
                  <a:latin typeface="+mj-lt"/>
                  <a:ea typeface="+mn-ea"/>
                  <a:cs typeface="Arial" panose="020B0604020202020204" pitchFamily="34" charset="0"/>
                </a:rPr>
                <a:t>R34 G119 B123</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chemeClr val="bg1"/>
                  </a:solidFill>
                  <a:latin typeface="+mj-lt"/>
                </a:rPr>
                <a:t>#22777B</a:t>
              </a:r>
              <a:endParaRPr kumimoji="0" lang="en-GB" sz="1000" b="0" i="0" u="none" strike="noStrike" kern="1200" cap="none" spc="0" normalizeH="0" baseline="0" noProof="0" dirty="0">
                <a:ln>
                  <a:noFill/>
                </a:ln>
                <a:solidFill>
                  <a:schemeClr val="bg1"/>
                </a:solidFill>
                <a:effectLst/>
                <a:uLnTx/>
                <a:uFillTx/>
                <a:latin typeface="+mj-lt"/>
              </a:endParaRPr>
            </a:p>
          </p:txBody>
        </p:sp>
        <p:sp>
          <p:nvSpPr>
            <p:cNvPr id="41" name="Rectangle 40">
              <a:extLst>
                <a:ext uri="{FF2B5EF4-FFF2-40B4-BE49-F238E27FC236}">
                  <a16:creationId xmlns:a16="http://schemas.microsoft.com/office/drawing/2014/main" id="{1D0C88A0-9AC3-4731-B997-C1F705B88F82}"/>
                </a:ext>
              </a:extLst>
            </p:cNvPr>
            <p:cNvSpPr/>
            <p:nvPr/>
          </p:nvSpPr>
          <p:spPr>
            <a:xfrm>
              <a:off x="7680830" y="3474180"/>
              <a:ext cx="1188067" cy="782351"/>
            </a:xfrm>
            <a:prstGeom prst="rect">
              <a:avLst/>
            </a:prstGeom>
            <a:solidFill>
              <a:srgbClr val="DBDBD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rgbClr val="000000"/>
                  </a:solidFill>
                  <a:latin typeface="+mj-lt"/>
                </a:rPr>
                <a:t>Grey5</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rgbClr val="000000"/>
                  </a:solidFill>
                  <a:latin typeface="+mj-lt"/>
                </a:rPr>
                <a:t>R219 G219 B219</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DBD</a:t>
              </a:r>
              <a:r>
                <a:rPr lang="nl-NL" sz="1000" dirty="0">
                  <a:solidFill>
                    <a:srgbClr val="000000"/>
                  </a:solidFill>
                  <a:latin typeface="+mj-lt"/>
                </a:rPr>
                <a:t>BDB</a:t>
              </a:r>
              <a:endParaRPr kumimoji="0" lang="en-GB"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endParaRPr>
            </a:p>
          </p:txBody>
        </p:sp>
        <p:sp>
          <p:nvSpPr>
            <p:cNvPr id="42" name="Rectangle 41">
              <a:extLst>
                <a:ext uri="{FF2B5EF4-FFF2-40B4-BE49-F238E27FC236}">
                  <a16:creationId xmlns:a16="http://schemas.microsoft.com/office/drawing/2014/main" id="{F7079CB6-CC74-43C0-9089-599F70C9C99D}"/>
                </a:ext>
              </a:extLst>
            </p:cNvPr>
            <p:cNvSpPr/>
            <p:nvPr/>
          </p:nvSpPr>
          <p:spPr>
            <a:xfrm>
              <a:off x="6418604" y="3474180"/>
              <a:ext cx="1188067" cy="782351"/>
            </a:xfrm>
            <a:prstGeom prst="rect">
              <a:avLst/>
            </a:prstGeom>
            <a:solidFill>
              <a:srgbClr val="AFAFAF"/>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rgbClr val="000000"/>
                  </a:solidFill>
                  <a:latin typeface="+mj-lt"/>
                </a:rPr>
                <a:t>Grey4</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rgbClr val="000000"/>
                  </a:solidFill>
                  <a:latin typeface="+mj-lt"/>
                </a:rPr>
                <a:t>R175 G175 B175</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AFAFAF</a:t>
              </a:r>
              <a:endParaRPr kumimoji="0" lang="en-GB"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endParaRPr>
            </a:p>
          </p:txBody>
        </p:sp>
        <p:sp>
          <p:nvSpPr>
            <p:cNvPr id="43" name="Rectangle 42">
              <a:extLst>
                <a:ext uri="{FF2B5EF4-FFF2-40B4-BE49-F238E27FC236}">
                  <a16:creationId xmlns:a16="http://schemas.microsoft.com/office/drawing/2014/main" id="{C8DB6911-6741-4414-968D-92777AECF5F3}"/>
                </a:ext>
              </a:extLst>
            </p:cNvPr>
            <p:cNvSpPr/>
            <p:nvPr/>
          </p:nvSpPr>
          <p:spPr>
            <a:xfrm>
              <a:off x="5156377" y="3474180"/>
              <a:ext cx="1188067" cy="782351"/>
            </a:xfrm>
            <a:prstGeom prst="rect">
              <a:avLst/>
            </a:prstGeom>
            <a:solidFill>
              <a:srgbClr val="8C8C8C"/>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rgbClr val="FFFFFF"/>
                  </a:solidFill>
                  <a:effectLst/>
                  <a:uLnTx/>
                  <a:uFillTx/>
                  <a:latin typeface="+mj-lt"/>
                  <a:ea typeface="+mn-ea"/>
                  <a:cs typeface="Arial" panose="020B0604020202020204" pitchFamily="34" charset="0"/>
                </a:rPr>
                <a:t>Grey3</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rgbClr val="FFFFFF"/>
                  </a:solidFill>
                  <a:effectLst/>
                  <a:uLnTx/>
                  <a:uFillTx/>
                  <a:latin typeface="+mj-lt"/>
                  <a:ea typeface="+mn-ea"/>
                  <a:cs typeface="Arial" panose="020B0604020202020204" pitchFamily="34" charset="0"/>
                </a:rPr>
                <a:t>R140 G140 B140</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rgbClr val="FFFFFF"/>
                  </a:solidFill>
                  <a:latin typeface="+mj-lt"/>
                </a:rPr>
                <a:t>#8C8C8C</a:t>
              </a:r>
              <a:endParaRPr kumimoji="0" lang="en-GB" sz="1000" b="0" i="0" u="none" strike="noStrike" kern="1200" cap="none" spc="0" normalizeH="0" baseline="0" noProof="0" dirty="0">
                <a:ln>
                  <a:noFill/>
                </a:ln>
                <a:solidFill>
                  <a:srgbClr val="FFFFFF"/>
                </a:solidFill>
                <a:effectLst/>
                <a:uLnTx/>
                <a:uFillTx/>
                <a:latin typeface="+mj-lt"/>
                <a:ea typeface="+mn-ea"/>
                <a:cs typeface="Arial" panose="020B0604020202020204" pitchFamily="34" charset="0"/>
              </a:endParaRPr>
            </a:p>
          </p:txBody>
        </p:sp>
        <p:sp>
          <p:nvSpPr>
            <p:cNvPr id="44" name="Rectangle 43">
              <a:extLst>
                <a:ext uri="{FF2B5EF4-FFF2-40B4-BE49-F238E27FC236}">
                  <a16:creationId xmlns:a16="http://schemas.microsoft.com/office/drawing/2014/main" id="{1EE04477-9DD5-43CC-A954-74F45D5A21E9}"/>
                </a:ext>
              </a:extLst>
            </p:cNvPr>
            <p:cNvSpPr/>
            <p:nvPr/>
          </p:nvSpPr>
          <p:spPr>
            <a:xfrm>
              <a:off x="3894151" y="3474180"/>
              <a:ext cx="1188067" cy="782351"/>
            </a:xfrm>
            <a:prstGeom prst="rect">
              <a:avLst/>
            </a:prstGeom>
            <a:solidFill>
              <a:srgbClr val="6A6A6A"/>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chemeClr val="bg1"/>
                  </a:solidFill>
                  <a:effectLst/>
                  <a:uLnTx/>
                  <a:uFillTx/>
                  <a:latin typeface="+mj-lt"/>
                  <a:ea typeface="+mn-ea"/>
                  <a:cs typeface="Arial" panose="020B0604020202020204" pitchFamily="34" charset="0"/>
                </a:rPr>
                <a:t>Grey2</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chemeClr val="bg1"/>
                  </a:solidFill>
                  <a:effectLst/>
                  <a:uLnTx/>
                  <a:uFillTx/>
                  <a:latin typeface="+mj-lt"/>
                  <a:ea typeface="+mn-ea"/>
                  <a:cs typeface="Arial" panose="020B0604020202020204" pitchFamily="34" charset="0"/>
                </a:rPr>
                <a:t>R106 G106 B106</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chemeClr val="bg1"/>
                  </a:solidFill>
                  <a:latin typeface="+mj-lt"/>
                </a:rPr>
                <a:t>#6A6A6A</a:t>
              </a:r>
              <a:endParaRPr kumimoji="0" lang="en-GB" sz="1000" b="0" i="0" u="none" strike="noStrike" kern="1200" cap="none" spc="0" normalizeH="0" baseline="0" noProof="0" dirty="0">
                <a:ln>
                  <a:noFill/>
                </a:ln>
                <a:solidFill>
                  <a:schemeClr val="bg1"/>
                </a:solidFill>
                <a:effectLst/>
                <a:uLnTx/>
                <a:uFillTx/>
                <a:latin typeface="+mj-lt"/>
                <a:ea typeface="+mn-ea"/>
                <a:cs typeface="Arial" panose="020B0604020202020204" pitchFamily="34" charset="0"/>
              </a:endParaRPr>
            </a:p>
          </p:txBody>
        </p:sp>
        <p:sp>
          <p:nvSpPr>
            <p:cNvPr id="45" name="Rectangle 44">
              <a:extLst>
                <a:ext uri="{FF2B5EF4-FFF2-40B4-BE49-F238E27FC236}">
                  <a16:creationId xmlns:a16="http://schemas.microsoft.com/office/drawing/2014/main" id="{10CBC474-9215-4B8F-9E88-9A64717AC83C}"/>
                </a:ext>
              </a:extLst>
            </p:cNvPr>
            <p:cNvSpPr/>
            <p:nvPr/>
          </p:nvSpPr>
          <p:spPr>
            <a:xfrm>
              <a:off x="2631925" y="3474180"/>
              <a:ext cx="1188067" cy="782351"/>
            </a:xfrm>
            <a:prstGeom prst="rect">
              <a:avLst/>
            </a:prstGeom>
            <a:solidFill>
              <a:srgbClr val="4F4F4F"/>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chemeClr val="bg1"/>
                  </a:solidFill>
                  <a:effectLst/>
                  <a:uLnTx/>
                  <a:uFillTx/>
                  <a:latin typeface="+mj-lt"/>
                  <a:ea typeface="+mn-ea"/>
                  <a:cs typeface="Arial" panose="020B0604020202020204" pitchFamily="34" charset="0"/>
                </a:rPr>
                <a:t>Grey1</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chemeClr val="bg1"/>
                  </a:solidFill>
                  <a:effectLst/>
                  <a:uLnTx/>
                  <a:uFillTx/>
                  <a:latin typeface="+mj-lt"/>
                  <a:ea typeface="+mn-ea"/>
                  <a:cs typeface="Arial" panose="020B0604020202020204" pitchFamily="34" charset="0"/>
                </a:rPr>
                <a:t>R79 G79 B79</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chemeClr val="bg1"/>
                  </a:solidFill>
                  <a:latin typeface="+mj-lt"/>
                </a:rPr>
                <a:t>#4F4F4F</a:t>
              </a:r>
              <a:endParaRPr kumimoji="0" lang="en-GB" sz="1000" b="0" i="0" u="none" strike="noStrike" kern="1200" cap="none" spc="0" normalizeH="0" baseline="0" noProof="0" dirty="0">
                <a:ln>
                  <a:noFill/>
                </a:ln>
                <a:solidFill>
                  <a:schemeClr val="bg1"/>
                </a:solidFill>
                <a:effectLst/>
                <a:uLnTx/>
                <a:uFillTx/>
                <a:latin typeface="+mj-lt"/>
                <a:ea typeface="+mn-ea"/>
                <a:cs typeface="Arial" panose="020B0604020202020204" pitchFamily="34" charset="0"/>
              </a:endParaRPr>
            </a:p>
          </p:txBody>
        </p:sp>
        <p:sp>
          <p:nvSpPr>
            <p:cNvPr id="46" name="Rectangle 45">
              <a:extLst>
                <a:ext uri="{FF2B5EF4-FFF2-40B4-BE49-F238E27FC236}">
                  <a16:creationId xmlns:a16="http://schemas.microsoft.com/office/drawing/2014/main" id="{14AA74E9-82D0-4FE2-ACE2-E5BC9DF33D93}"/>
                </a:ext>
              </a:extLst>
            </p:cNvPr>
            <p:cNvSpPr/>
            <p:nvPr/>
          </p:nvSpPr>
          <p:spPr>
            <a:xfrm>
              <a:off x="7680830" y="4637495"/>
              <a:ext cx="1188067" cy="568126"/>
            </a:xfrm>
            <a:prstGeom prst="rect">
              <a:avLst/>
            </a:prstGeom>
            <a:solidFill>
              <a:srgbClr val="BF211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chemeClr val="bg1"/>
                  </a:solidFill>
                  <a:effectLst/>
                  <a:uLnTx/>
                  <a:uFillTx/>
                  <a:latin typeface="+mj-lt"/>
                  <a:ea typeface="+mn-ea"/>
                  <a:cs typeface="Arial" panose="020B0604020202020204" pitchFamily="34" charset="0"/>
                </a:rPr>
                <a:t>Red</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chemeClr val="bg1"/>
                  </a:solidFill>
                  <a:effectLst/>
                  <a:uLnTx/>
                  <a:uFillTx/>
                  <a:latin typeface="+mj-lt"/>
                  <a:ea typeface="+mn-ea"/>
                  <a:cs typeface="Arial" panose="020B0604020202020204" pitchFamily="34" charset="0"/>
                </a:rPr>
                <a:t>R191 G33 B30</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chemeClr val="bg1"/>
                  </a:solidFill>
                  <a:latin typeface="+mj-lt"/>
                </a:rPr>
                <a:t>#BF211E</a:t>
              </a:r>
              <a:endParaRPr kumimoji="0" lang="en-GB" sz="1000" b="0" i="0" u="none" strike="noStrike" kern="1200" cap="none" spc="0" normalizeH="0" baseline="0" noProof="0" dirty="0">
                <a:ln>
                  <a:noFill/>
                </a:ln>
                <a:solidFill>
                  <a:schemeClr val="bg1"/>
                </a:solidFill>
                <a:effectLst/>
                <a:uLnTx/>
                <a:uFillTx/>
                <a:latin typeface="+mj-lt"/>
              </a:endParaRPr>
            </a:p>
          </p:txBody>
        </p:sp>
        <p:sp>
          <p:nvSpPr>
            <p:cNvPr id="68" name="Rectangle 67">
              <a:extLst>
                <a:ext uri="{FF2B5EF4-FFF2-40B4-BE49-F238E27FC236}">
                  <a16:creationId xmlns:a16="http://schemas.microsoft.com/office/drawing/2014/main" id="{A3B871AD-16E2-4D6E-8DB8-E861D6A0AF93}"/>
                </a:ext>
              </a:extLst>
            </p:cNvPr>
            <p:cNvSpPr/>
            <p:nvPr/>
          </p:nvSpPr>
          <p:spPr>
            <a:xfrm>
              <a:off x="2631925" y="4637495"/>
              <a:ext cx="1188067" cy="568126"/>
            </a:xfrm>
            <a:prstGeom prst="rect">
              <a:avLst/>
            </a:prstGeom>
            <a:solidFill>
              <a:srgbClr val="17722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chemeClr val="bg1"/>
                  </a:solidFill>
                  <a:latin typeface="+mj-lt"/>
                </a:rPr>
                <a:t>Darkgreen</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chemeClr val="bg1"/>
                  </a:solidFill>
                  <a:latin typeface="+mj-lt"/>
                </a:rPr>
                <a:t>R23 G114 B43</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chemeClr val="bg1"/>
                  </a:solidFill>
                  <a:effectLst/>
                  <a:uLnTx/>
                  <a:uFillTx/>
                  <a:latin typeface="+mj-lt"/>
                  <a:ea typeface="+mn-ea"/>
                  <a:cs typeface="Arial" panose="020B0604020202020204" pitchFamily="34" charset="0"/>
                </a:rPr>
                <a:t>#17722B</a:t>
              </a:r>
              <a:endParaRPr kumimoji="0" lang="en-GB" sz="1000" b="0" i="0" u="none" strike="noStrike" kern="1200" cap="none" spc="0" normalizeH="0" baseline="0" noProof="0" dirty="0">
                <a:ln>
                  <a:noFill/>
                </a:ln>
                <a:solidFill>
                  <a:schemeClr val="bg1"/>
                </a:solidFill>
                <a:effectLst/>
                <a:uLnTx/>
                <a:uFillTx/>
                <a:latin typeface="+mj-lt"/>
                <a:ea typeface="+mn-ea"/>
                <a:cs typeface="Arial" panose="020B0604020202020204" pitchFamily="34" charset="0"/>
              </a:endParaRPr>
            </a:p>
          </p:txBody>
        </p:sp>
        <p:sp>
          <p:nvSpPr>
            <p:cNvPr id="69" name="Rectangle 68">
              <a:extLst>
                <a:ext uri="{FF2B5EF4-FFF2-40B4-BE49-F238E27FC236}">
                  <a16:creationId xmlns:a16="http://schemas.microsoft.com/office/drawing/2014/main" id="{0A677570-2044-4935-B098-39D89FD7BE97}"/>
                </a:ext>
              </a:extLst>
            </p:cNvPr>
            <p:cNvSpPr/>
            <p:nvPr/>
          </p:nvSpPr>
          <p:spPr>
            <a:xfrm>
              <a:off x="6418604" y="4637495"/>
              <a:ext cx="1188067" cy="568126"/>
            </a:xfrm>
            <a:prstGeom prst="rect">
              <a:avLst/>
            </a:prstGeom>
            <a:solidFill>
              <a:srgbClr val="EC6224"/>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rgbClr val="FFFFFF"/>
                  </a:solidFill>
                  <a:effectLst/>
                  <a:uLnTx/>
                  <a:uFillTx/>
                  <a:latin typeface="+mj-lt"/>
                  <a:ea typeface="+mn-ea"/>
                  <a:cs typeface="Arial" panose="020B0604020202020204" pitchFamily="34" charset="0"/>
                </a:rPr>
                <a:t>Orange</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rgbClr val="FFFFFF"/>
                  </a:solidFill>
                  <a:effectLst/>
                  <a:uLnTx/>
                  <a:uFillTx/>
                  <a:latin typeface="+mj-lt"/>
                  <a:ea typeface="+mn-ea"/>
                  <a:cs typeface="Arial" panose="020B0604020202020204" pitchFamily="34" charset="0"/>
                </a:rPr>
                <a:t>R236 G98 B36</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rgbClr val="FFFFFF"/>
                  </a:solidFill>
                  <a:latin typeface="+mj-lt"/>
                </a:rPr>
                <a:t>#EC6224</a:t>
              </a:r>
              <a:endParaRPr kumimoji="0" lang="en-GB" sz="1000" b="0" i="0" u="none" strike="noStrike" kern="1200" cap="none" spc="0" normalizeH="0" baseline="0" noProof="0" dirty="0">
                <a:ln>
                  <a:noFill/>
                </a:ln>
                <a:solidFill>
                  <a:srgbClr val="FFFFFF"/>
                </a:solidFill>
                <a:effectLst/>
                <a:uLnTx/>
                <a:uFillTx/>
                <a:latin typeface="+mj-lt"/>
                <a:ea typeface="+mn-ea"/>
                <a:cs typeface="Arial" panose="020B0604020202020204" pitchFamily="34" charset="0"/>
              </a:endParaRPr>
            </a:p>
          </p:txBody>
        </p:sp>
        <p:sp>
          <p:nvSpPr>
            <p:cNvPr id="70" name="Rectangle 69">
              <a:extLst>
                <a:ext uri="{FF2B5EF4-FFF2-40B4-BE49-F238E27FC236}">
                  <a16:creationId xmlns:a16="http://schemas.microsoft.com/office/drawing/2014/main" id="{B35FF7E3-3BF6-4051-8EBD-BC8DAF8E42AB}"/>
                </a:ext>
              </a:extLst>
            </p:cNvPr>
            <p:cNvSpPr/>
            <p:nvPr/>
          </p:nvSpPr>
          <p:spPr>
            <a:xfrm>
              <a:off x="3894151" y="4637495"/>
              <a:ext cx="1188067" cy="568126"/>
            </a:xfrm>
            <a:prstGeom prst="rect">
              <a:avLst/>
            </a:prstGeom>
            <a:solidFill>
              <a:srgbClr val="59943A"/>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err="1">
                  <a:solidFill>
                    <a:srgbClr val="FFFFFF"/>
                  </a:solidFill>
                  <a:latin typeface="+mj-lt"/>
                </a:rPr>
                <a:t>Lightgreen</a:t>
              </a:r>
              <a:endParaRPr lang="nl-NL" sz="1000" dirty="0">
                <a:solidFill>
                  <a:srgbClr val="FFFFFF"/>
                </a:solidFill>
                <a:latin typeface="+mj-lt"/>
              </a:endParaRP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rgbClr val="FFFFFF"/>
                  </a:solidFill>
                  <a:latin typeface="+mj-lt"/>
                </a:rPr>
                <a:t>R89 G148 B58</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rgbClr val="FFFFFF"/>
                  </a:solidFill>
                  <a:effectLst/>
                  <a:uLnTx/>
                  <a:uFillTx/>
                  <a:latin typeface="+mj-lt"/>
                  <a:ea typeface="+mn-ea"/>
                  <a:cs typeface="Arial" panose="020B0604020202020204" pitchFamily="34" charset="0"/>
                </a:rPr>
                <a:t>#59943A	</a:t>
              </a:r>
              <a:endParaRPr kumimoji="0" lang="en-GB" sz="1000" b="0" i="0" u="none" strike="noStrike" kern="1200" cap="none" spc="0" normalizeH="0" baseline="0" noProof="0" dirty="0">
                <a:ln>
                  <a:noFill/>
                </a:ln>
                <a:solidFill>
                  <a:srgbClr val="FFFFFF"/>
                </a:solidFill>
                <a:effectLst/>
                <a:uLnTx/>
                <a:uFillTx/>
                <a:latin typeface="+mj-lt"/>
                <a:ea typeface="+mn-ea"/>
                <a:cs typeface="Arial" panose="020B0604020202020204" pitchFamily="34" charset="0"/>
              </a:endParaRPr>
            </a:p>
          </p:txBody>
        </p:sp>
        <p:sp>
          <p:nvSpPr>
            <p:cNvPr id="71" name="Rectangle 70">
              <a:extLst>
                <a:ext uri="{FF2B5EF4-FFF2-40B4-BE49-F238E27FC236}">
                  <a16:creationId xmlns:a16="http://schemas.microsoft.com/office/drawing/2014/main" id="{A5750069-C780-452E-8701-159413053D17}"/>
                </a:ext>
              </a:extLst>
            </p:cNvPr>
            <p:cNvSpPr/>
            <p:nvPr/>
          </p:nvSpPr>
          <p:spPr>
            <a:xfrm>
              <a:off x="5156377" y="4637495"/>
              <a:ext cx="1188067" cy="568126"/>
            </a:xfrm>
            <a:prstGeom prst="rect">
              <a:avLst/>
            </a:prstGeom>
            <a:solidFill>
              <a:srgbClr val="FFBD4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err="1">
                  <a:ln>
                    <a:noFill/>
                  </a:ln>
                  <a:solidFill>
                    <a:srgbClr val="000000"/>
                  </a:solidFill>
                  <a:effectLst/>
                  <a:uLnTx/>
                  <a:uFillTx/>
                  <a:latin typeface="+mj-lt"/>
                  <a:ea typeface="+mn-ea"/>
                  <a:cs typeface="Arial" panose="020B0604020202020204" pitchFamily="34" charset="0"/>
                </a:rPr>
                <a:t>Yellow</a:t>
              </a:r>
              <a:endParaRPr kumimoji="0" lang="nl-NL"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endParaRP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R255 G189 B66</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rgbClr val="000000"/>
                  </a:solidFill>
                  <a:latin typeface="+mj-lt"/>
                </a:rPr>
                <a:t>#FFBD42</a:t>
              </a:r>
              <a:endParaRPr kumimoji="0" lang="en-GB"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endParaRPr>
            </a:p>
          </p:txBody>
        </p:sp>
        <p:sp>
          <p:nvSpPr>
            <p:cNvPr id="72" name="Rectangle 71">
              <a:extLst>
                <a:ext uri="{FF2B5EF4-FFF2-40B4-BE49-F238E27FC236}">
                  <a16:creationId xmlns:a16="http://schemas.microsoft.com/office/drawing/2014/main" id="{2BDF9541-B784-4930-9D6D-32B328C6A939}"/>
                </a:ext>
              </a:extLst>
            </p:cNvPr>
            <p:cNvSpPr/>
            <p:nvPr/>
          </p:nvSpPr>
          <p:spPr>
            <a:xfrm>
              <a:off x="7680830" y="5320115"/>
              <a:ext cx="1188067" cy="568126"/>
            </a:xfrm>
            <a:prstGeom prst="rect">
              <a:avLst/>
            </a:prstGeom>
            <a:solidFill>
              <a:srgbClr val="FFBD4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err="1">
                  <a:ln>
                    <a:noFill/>
                  </a:ln>
                  <a:solidFill>
                    <a:srgbClr val="000000"/>
                  </a:solidFill>
                  <a:effectLst/>
                  <a:uLnTx/>
                  <a:uFillTx/>
                  <a:latin typeface="+mj-lt"/>
                  <a:ea typeface="+mn-ea"/>
                  <a:cs typeface="Arial" panose="020B0604020202020204" pitchFamily="34" charset="0"/>
                </a:rPr>
                <a:t>Yellow</a:t>
              </a:r>
              <a:endParaRPr kumimoji="0" lang="nl-NL"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endParaRP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R255 G189 B66</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rgbClr val="000000"/>
                  </a:solidFill>
                  <a:latin typeface="+mj-lt"/>
                </a:rPr>
                <a:t>#FFBD42</a:t>
              </a:r>
              <a:endParaRPr kumimoji="0" lang="en-GB"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endParaRPr>
            </a:p>
          </p:txBody>
        </p:sp>
        <p:sp>
          <p:nvSpPr>
            <p:cNvPr id="73" name="Rectangle 72">
              <a:extLst>
                <a:ext uri="{FF2B5EF4-FFF2-40B4-BE49-F238E27FC236}">
                  <a16:creationId xmlns:a16="http://schemas.microsoft.com/office/drawing/2014/main" id="{A875D9BB-97C1-433F-AA07-2CB805B35B2C}"/>
                </a:ext>
              </a:extLst>
            </p:cNvPr>
            <p:cNvSpPr/>
            <p:nvPr/>
          </p:nvSpPr>
          <p:spPr>
            <a:xfrm>
              <a:off x="2631925" y="5320115"/>
              <a:ext cx="1188067" cy="568126"/>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chemeClr val="bg1"/>
                  </a:solidFill>
                  <a:effectLst/>
                  <a:uLnTx/>
                  <a:uFillTx/>
                  <a:latin typeface="+mj-lt"/>
                  <a:ea typeface="+mn-ea"/>
                  <a:cs typeface="Arial" panose="020B0604020202020204" pitchFamily="34" charset="0"/>
                </a:rPr>
                <a:t>Accent1</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chemeClr val="bg1"/>
                  </a:solidFill>
                  <a:effectLst/>
                  <a:uLnTx/>
                  <a:uFillTx/>
                  <a:latin typeface="+mj-lt"/>
                  <a:ea typeface="+mn-ea"/>
                  <a:cs typeface="Arial" panose="020B0604020202020204" pitchFamily="34" charset="0"/>
                </a:rPr>
                <a:t>R34 G119 B123</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chemeClr val="bg1"/>
                  </a:solidFill>
                  <a:latin typeface="+mj-lt"/>
                </a:rPr>
                <a:t>#22777B</a:t>
              </a:r>
              <a:endParaRPr kumimoji="0" lang="en-GB" sz="1000" b="0" i="0" u="none" strike="noStrike" kern="1200" cap="none" spc="0" normalizeH="0" baseline="0" noProof="0" dirty="0">
                <a:ln>
                  <a:noFill/>
                </a:ln>
                <a:solidFill>
                  <a:schemeClr val="bg1"/>
                </a:solidFill>
                <a:effectLst/>
                <a:uLnTx/>
                <a:uFillTx/>
                <a:latin typeface="+mj-lt"/>
              </a:endParaRPr>
            </a:p>
          </p:txBody>
        </p:sp>
        <p:sp>
          <p:nvSpPr>
            <p:cNvPr id="74" name="Rectangle 73">
              <a:extLst>
                <a:ext uri="{FF2B5EF4-FFF2-40B4-BE49-F238E27FC236}">
                  <a16:creationId xmlns:a16="http://schemas.microsoft.com/office/drawing/2014/main" id="{01FB844C-EBC6-467A-8A9E-F157B1D7FE48}"/>
                </a:ext>
              </a:extLst>
            </p:cNvPr>
            <p:cNvSpPr/>
            <p:nvPr/>
          </p:nvSpPr>
          <p:spPr>
            <a:xfrm>
              <a:off x="6418604" y="5320115"/>
              <a:ext cx="1188067" cy="568126"/>
            </a:xfrm>
            <a:prstGeom prst="rect">
              <a:avLst/>
            </a:prstGeom>
            <a:solidFill>
              <a:srgbClr val="FFE8BA"/>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err="1">
                  <a:solidFill>
                    <a:srgbClr val="000000"/>
                  </a:solidFill>
                  <a:latin typeface="+mj-lt"/>
                </a:rPr>
                <a:t>Lightyellow</a:t>
              </a:r>
              <a:endParaRPr lang="nl-NL" sz="1000" dirty="0">
                <a:solidFill>
                  <a:srgbClr val="000000"/>
                </a:solidFill>
                <a:latin typeface="+mj-lt"/>
              </a:endParaRP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rgbClr val="000000"/>
                  </a:solidFill>
                  <a:latin typeface="+mj-lt"/>
                </a:rPr>
                <a:t>R</a:t>
              </a:r>
              <a:r>
                <a:rPr kumimoji="0" lang="nl-NL"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255 G232 B186</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rgbClr val="000000"/>
                  </a:solidFill>
                  <a:latin typeface="+mj-lt"/>
                </a:rPr>
                <a:t>#FFE8BA</a:t>
              </a:r>
              <a:endParaRPr kumimoji="0" lang="en-GB"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endParaRPr>
            </a:p>
          </p:txBody>
        </p:sp>
        <p:sp>
          <p:nvSpPr>
            <p:cNvPr id="75" name="Rectangle 74">
              <a:extLst>
                <a:ext uri="{FF2B5EF4-FFF2-40B4-BE49-F238E27FC236}">
                  <a16:creationId xmlns:a16="http://schemas.microsoft.com/office/drawing/2014/main" id="{5A9CD356-5425-40C7-AFAC-F0992B10D60D}"/>
                </a:ext>
              </a:extLst>
            </p:cNvPr>
            <p:cNvSpPr/>
            <p:nvPr/>
          </p:nvSpPr>
          <p:spPr>
            <a:xfrm>
              <a:off x="3894151" y="5320115"/>
              <a:ext cx="1188067" cy="568126"/>
            </a:xfrm>
            <a:prstGeom prst="rect">
              <a:avLst/>
            </a:prstGeom>
            <a:solidFill>
              <a:srgbClr val="95C5C9"/>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rgbClr val="000000"/>
                  </a:solidFill>
                  <a:latin typeface="+mj-lt"/>
                </a:rPr>
                <a:t>Accent4</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rgbClr val="000000"/>
                  </a:solidFill>
                  <a:latin typeface="+mj-lt"/>
                </a:rPr>
                <a:t>R149 G197 B201</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95C5C9</a:t>
              </a:r>
              <a:endParaRPr kumimoji="0" lang="en-GB"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endParaRPr>
            </a:p>
          </p:txBody>
        </p:sp>
        <p:sp>
          <p:nvSpPr>
            <p:cNvPr id="76" name="Rectangle 75">
              <a:extLst>
                <a:ext uri="{FF2B5EF4-FFF2-40B4-BE49-F238E27FC236}">
                  <a16:creationId xmlns:a16="http://schemas.microsoft.com/office/drawing/2014/main" id="{5CE04C09-4E64-47AA-9DC9-1FBF6A966A05}"/>
                </a:ext>
              </a:extLst>
            </p:cNvPr>
            <p:cNvSpPr/>
            <p:nvPr/>
          </p:nvSpPr>
          <p:spPr>
            <a:xfrm>
              <a:off x="5156377" y="5320115"/>
              <a:ext cx="1188067" cy="568126"/>
            </a:xfrm>
            <a:prstGeom prst="rect">
              <a:avLst/>
            </a:prstGeom>
            <a:solidFill>
              <a:srgbClr val="DBDBD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rgbClr val="000000"/>
                  </a:solidFill>
                  <a:latin typeface="+mj-lt"/>
                </a:rPr>
                <a:t>Grey5</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rgbClr val="000000"/>
                  </a:solidFill>
                  <a:latin typeface="+mj-lt"/>
                </a:rPr>
                <a:t>R219 G219 B219</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DBD</a:t>
              </a:r>
              <a:r>
                <a:rPr lang="nl-NL" sz="1000" dirty="0">
                  <a:solidFill>
                    <a:srgbClr val="000000"/>
                  </a:solidFill>
                  <a:latin typeface="+mj-lt"/>
                </a:rPr>
                <a:t>BDB</a:t>
              </a:r>
              <a:endParaRPr kumimoji="0" lang="en-GB"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endParaRPr>
            </a:p>
          </p:txBody>
        </p:sp>
        <p:sp>
          <p:nvSpPr>
            <p:cNvPr id="77" name="TextBox 76">
              <a:extLst>
                <a:ext uri="{FF2B5EF4-FFF2-40B4-BE49-F238E27FC236}">
                  <a16:creationId xmlns:a16="http://schemas.microsoft.com/office/drawing/2014/main" id="{AD1AD444-277E-47E3-AD87-99F003A10A06}"/>
                </a:ext>
              </a:extLst>
            </p:cNvPr>
            <p:cNvSpPr txBox="1"/>
            <p:nvPr/>
          </p:nvSpPr>
          <p:spPr>
            <a:xfrm>
              <a:off x="662781" y="2861278"/>
              <a:ext cx="1969144" cy="535419"/>
            </a:xfrm>
            <a:prstGeom prst="rect">
              <a:avLst/>
            </a:prstGeom>
          </p:spPr>
          <p:txBody>
            <a:bodyPr vert="horz" wrap="square" lIns="91440" tIns="45720" rIns="91440" bIns="45720" rtlCol="0">
              <a:noAutofit/>
            </a:bodyPr>
            <a:lstStyle/>
            <a:p>
              <a:pPr marL="0" indent="0" algn="l">
                <a:buNone/>
              </a:pPr>
              <a:r>
                <a:rPr lang="nl-NL" sz="1600" b="1" noProof="0" dirty="0">
                  <a:latin typeface="+mj-lt"/>
                </a:rPr>
                <a:t>Basiskleuren</a:t>
              </a:r>
              <a:endParaRPr lang="en-GB" sz="1600" b="1" noProof="0" dirty="0">
                <a:latin typeface="+mj-lt"/>
              </a:endParaRPr>
            </a:p>
          </p:txBody>
        </p:sp>
        <p:sp>
          <p:nvSpPr>
            <p:cNvPr id="78" name="TextBox 77">
              <a:extLst>
                <a:ext uri="{FF2B5EF4-FFF2-40B4-BE49-F238E27FC236}">
                  <a16:creationId xmlns:a16="http://schemas.microsoft.com/office/drawing/2014/main" id="{485A27D9-E57C-4747-BC1F-6D07E4687AC1}"/>
                </a:ext>
              </a:extLst>
            </p:cNvPr>
            <p:cNvSpPr txBox="1"/>
            <p:nvPr/>
          </p:nvSpPr>
          <p:spPr>
            <a:xfrm>
              <a:off x="662781" y="3673411"/>
              <a:ext cx="1969144" cy="535419"/>
            </a:xfrm>
            <a:prstGeom prst="rect">
              <a:avLst/>
            </a:prstGeom>
          </p:spPr>
          <p:txBody>
            <a:bodyPr vert="horz" wrap="square" lIns="91440" tIns="45720" rIns="91440" bIns="45720" rtlCol="0">
              <a:noAutofit/>
            </a:bodyPr>
            <a:lstStyle/>
            <a:p>
              <a:pPr marL="0" indent="0" algn="l">
                <a:buNone/>
              </a:pPr>
              <a:r>
                <a:rPr lang="nl-NL" sz="1600" b="1" noProof="0" dirty="0">
                  <a:latin typeface="+mj-lt"/>
                </a:rPr>
                <a:t>Grijstinten</a:t>
              </a:r>
              <a:endParaRPr lang="en-GB" sz="1600" b="1" noProof="0" dirty="0">
                <a:latin typeface="+mj-lt"/>
              </a:endParaRPr>
            </a:p>
          </p:txBody>
        </p:sp>
        <p:sp>
          <p:nvSpPr>
            <p:cNvPr id="79" name="TextBox 78">
              <a:extLst>
                <a:ext uri="{FF2B5EF4-FFF2-40B4-BE49-F238E27FC236}">
                  <a16:creationId xmlns:a16="http://schemas.microsoft.com/office/drawing/2014/main" id="{0C5D5FF0-75AD-4119-B3B3-22FBCADDE3E5}"/>
                </a:ext>
              </a:extLst>
            </p:cNvPr>
            <p:cNvSpPr txBox="1"/>
            <p:nvPr/>
          </p:nvSpPr>
          <p:spPr>
            <a:xfrm>
              <a:off x="662781" y="4682794"/>
              <a:ext cx="1969144" cy="535419"/>
            </a:xfrm>
            <a:prstGeom prst="rect">
              <a:avLst/>
            </a:prstGeom>
          </p:spPr>
          <p:txBody>
            <a:bodyPr vert="horz" wrap="square" lIns="91440" tIns="45720" rIns="91440" bIns="45720" rtlCol="0">
              <a:noAutofit/>
            </a:bodyPr>
            <a:lstStyle/>
            <a:p>
              <a:pPr marL="0" indent="0" algn="l">
                <a:buNone/>
              </a:pPr>
              <a:r>
                <a:rPr lang="nl-NL" sz="1600" b="1" noProof="0" dirty="0">
                  <a:latin typeface="+mj-lt"/>
                </a:rPr>
                <a:t>Stoplicht/schaal (groen naar rood)</a:t>
              </a:r>
              <a:endParaRPr lang="en-GB" sz="1600" b="1" noProof="0" dirty="0">
                <a:latin typeface="+mj-lt"/>
              </a:endParaRPr>
            </a:p>
          </p:txBody>
        </p:sp>
        <p:sp>
          <p:nvSpPr>
            <p:cNvPr id="80" name="TextBox 79">
              <a:extLst>
                <a:ext uri="{FF2B5EF4-FFF2-40B4-BE49-F238E27FC236}">
                  <a16:creationId xmlns:a16="http://schemas.microsoft.com/office/drawing/2014/main" id="{0C618B11-0513-45BD-B5F5-608D88135638}"/>
                </a:ext>
              </a:extLst>
            </p:cNvPr>
            <p:cNvSpPr txBox="1"/>
            <p:nvPr/>
          </p:nvSpPr>
          <p:spPr>
            <a:xfrm>
              <a:off x="662781" y="5352822"/>
              <a:ext cx="1969144" cy="535419"/>
            </a:xfrm>
            <a:prstGeom prst="rect">
              <a:avLst/>
            </a:prstGeom>
          </p:spPr>
          <p:txBody>
            <a:bodyPr vert="horz" wrap="square" lIns="91440" tIns="45720" rIns="91440" bIns="45720" rtlCol="0">
              <a:noAutofit/>
            </a:bodyPr>
            <a:lstStyle/>
            <a:p>
              <a:pPr marL="0" indent="0" algn="l">
                <a:buNone/>
              </a:pPr>
              <a:r>
                <a:rPr lang="nl-NL" sz="1600" b="1" noProof="0" dirty="0">
                  <a:latin typeface="+mj-lt"/>
                </a:rPr>
                <a:t>Schaal </a:t>
              </a:r>
              <a:br>
                <a:rPr lang="nl-NL" sz="1600" b="1" noProof="0" dirty="0">
                  <a:latin typeface="+mj-lt"/>
                </a:rPr>
              </a:br>
              <a:r>
                <a:rPr lang="nl-NL" sz="1600" b="1" noProof="0" dirty="0">
                  <a:latin typeface="+mj-lt"/>
                </a:rPr>
                <a:t>(blauw naar geel)</a:t>
              </a:r>
              <a:endParaRPr lang="en-GB" sz="1600" b="1" noProof="0" dirty="0">
                <a:latin typeface="+mj-lt"/>
              </a:endParaRPr>
            </a:p>
          </p:txBody>
        </p:sp>
        <p:sp>
          <p:nvSpPr>
            <p:cNvPr id="81" name="Rectangle 80">
              <a:extLst>
                <a:ext uri="{FF2B5EF4-FFF2-40B4-BE49-F238E27FC236}">
                  <a16:creationId xmlns:a16="http://schemas.microsoft.com/office/drawing/2014/main" id="{AF83FBE0-66C5-43F4-A51D-03BD675CDA25}"/>
                </a:ext>
              </a:extLst>
            </p:cNvPr>
            <p:cNvSpPr/>
            <p:nvPr/>
          </p:nvSpPr>
          <p:spPr>
            <a:xfrm>
              <a:off x="9503560" y="3945932"/>
              <a:ext cx="578042" cy="126140"/>
            </a:xfrm>
            <a:prstGeom prst="rect">
              <a:avLst/>
            </a:prstGeom>
            <a:noFill/>
            <a:ln w="19050">
              <a:solidFill>
                <a:srgbClr val="17722B"/>
              </a:solidFill>
            </a:ln>
          </p:spPr>
          <p:txBody>
            <a:bodyPr lIns="72000" tIns="72000" rIns="72000" bIns="72000" rtlCol="0" anchor="t">
              <a:noAutofit/>
            </a:bodyPr>
            <a:lstStyle/>
            <a:p>
              <a:pPr algn="l">
                <a:buClr>
                  <a:schemeClr val="tx2"/>
                </a:buClr>
              </a:pPr>
              <a:endParaRPr kumimoji="0" lang="en-GB" sz="1050" b="0" i="0" u="none" strike="noStrike" kern="1200" cap="none" spc="0" normalizeH="0" baseline="0" noProof="0" dirty="0">
                <a:ln>
                  <a:noFill/>
                </a:ln>
                <a:solidFill>
                  <a:srgbClr val="000000"/>
                </a:solidFill>
                <a:effectLst/>
                <a:uLnTx/>
                <a:uFillTx/>
                <a:latin typeface="+mj-lt"/>
                <a:ea typeface="+mn-ea"/>
                <a:cs typeface="+mn-cs"/>
              </a:endParaRPr>
            </a:p>
          </p:txBody>
        </p:sp>
        <p:sp>
          <p:nvSpPr>
            <p:cNvPr id="82" name="Rectangle 81">
              <a:extLst>
                <a:ext uri="{FF2B5EF4-FFF2-40B4-BE49-F238E27FC236}">
                  <a16:creationId xmlns:a16="http://schemas.microsoft.com/office/drawing/2014/main" id="{FB95B249-5729-4B24-9205-6DFD0D79893A}"/>
                </a:ext>
              </a:extLst>
            </p:cNvPr>
            <p:cNvSpPr/>
            <p:nvPr/>
          </p:nvSpPr>
          <p:spPr>
            <a:xfrm>
              <a:off x="10081602" y="3945932"/>
              <a:ext cx="578042" cy="126140"/>
            </a:xfrm>
            <a:prstGeom prst="rect">
              <a:avLst/>
            </a:prstGeom>
            <a:noFill/>
            <a:ln w="19050">
              <a:solidFill>
                <a:srgbClr val="17722B"/>
              </a:solidFill>
            </a:ln>
          </p:spPr>
          <p:txBody>
            <a:bodyPr lIns="72000" tIns="72000" rIns="72000" bIns="72000" rtlCol="0" anchor="t">
              <a:noAutofit/>
            </a:bodyPr>
            <a:lstStyle/>
            <a:p>
              <a:pPr algn="l">
                <a:buClr>
                  <a:schemeClr val="tx2"/>
                </a:buClr>
              </a:pPr>
              <a:endParaRPr kumimoji="0" lang="en-GB" sz="1050" b="0" i="0" u="none" strike="noStrike" kern="1200" cap="none" spc="0" normalizeH="0" baseline="0" noProof="0" dirty="0">
                <a:ln>
                  <a:noFill/>
                </a:ln>
                <a:solidFill>
                  <a:srgbClr val="000000"/>
                </a:solidFill>
                <a:effectLst/>
                <a:uLnTx/>
                <a:uFillTx/>
                <a:latin typeface="+mj-lt"/>
                <a:ea typeface="+mn-ea"/>
                <a:cs typeface="+mn-cs"/>
              </a:endParaRPr>
            </a:p>
          </p:txBody>
        </p:sp>
        <p:sp>
          <p:nvSpPr>
            <p:cNvPr id="83" name="Rectangle 82">
              <a:extLst>
                <a:ext uri="{FF2B5EF4-FFF2-40B4-BE49-F238E27FC236}">
                  <a16:creationId xmlns:a16="http://schemas.microsoft.com/office/drawing/2014/main" id="{E04C1E6B-7435-47A8-AA8F-70257BCF75D1}"/>
                </a:ext>
              </a:extLst>
            </p:cNvPr>
            <p:cNvSpPr/>
            <p:nvPr/>
          </p:nvSpPr>
          <p:spPr>
            <a:xfrm>
              <a:off x="9503560" y="4074753"/>
              <a:ext cx="578042" cy="126140"/>
            </a:xfrm>
            <a:prstGeom prst="rect">
              <a:avLst/>
            </a:prstGeom>
            <a:noFill/>
            <a:ln w="19050">
              <a:solidFill>
                <a:srgbClr val="17722B"/>
              </a:solidFill>
            </a:ln>
          </p:spPr>
          <p:txBody>
            <a:bodyPr lIns="72000" tIns="72000" rIns="72000" bIns="72000" rtlCol="0" anchor="t">
              <a:noAutofit/>
            </a:bodyPr>
            <a:lstStyle/>
            <a:p>
              <a:pPr algn="l">
                <a:buClr>
                  <a:schemeClr val="tx2"/>
                </a:buClr>
              </a:pPr>
              <a:endParaRPr kumimoji="0" lang="en-GB" sz="1050" b="0" i="0" u="none" strike="noStrike" kern="1200" cap="none" spc="0" normalizeH="0" baseline="0" noProof="0" dirty="0">
                <a:ln>
                  <a:noFill/>
                </a:ln>
                <a:solidFill>
                  <a:srgbClr val="000000"/>
                </a:solidFill>
                <a:effectLst/>
                <a:uLnTx/>
                <a:uFillTx/>
                <a:latin typeface="+mj-lt"/>
                <a:ea typeface="+mn-ea"/>
                <a:cs typeface="+mn-cs"/>
              </a:endParaRPr>
            </a:p>
          </p:txBody>
        </p:sp>
        <p:sp>
          <p:nvSpPr>
            <p:cNvPr id="84" name="Rectangle 83">
              <a:extLst>
                <a:ext uri="{FF2B5EF4-FFF2-40B4-BE49-F238E27FC236}">
                  <a16:creationId xmlns:a16="http://schemas.microsoft.com/office/drawing/2014/main" id="{A1C635D1-91A7-497C-94B9-3C722D575991}"/>
                </a:ext>
              </a:extLst>
            </p:cNvPr>
            <p:cNvSpPr/>
            <p:nvPr/>
          </p:nvSpPr>
          <p:spPr>
            <a:xfrm>
              <a:off x="10081602" y="4074753"/>
              <a:ext cx="578042" cy="126140"/>
            </a:xfrm>
            <a:prstGeom prst="rect">
              <a:avLst/>
            </a:prstGeom>
            <a:noFill/>
            <a:ln w="19050">
              <a:solidFill>
                <a:srgbClr val="17722B"/>
              </a:solidFill>
            </a:ln>
          </p:spPr>
          <p:txBody>
            <a:bodyPr lIns="72000" tIns="72000" rIns="72000" bIns="72000" rtlCol="0" anchor="t">
              <a:noAutofit/>
            </a:bodyPr>
            <a:lstStyle/>
            <a:p>
              <a:pPr algn="l">
                <a:buClr>
                  <a:schemeClr val="tx2"/>
                </a:buClr>
              </a:pPr>
              <a:endParaRPr kumimoji="0" lang="en-GB" sz="1050" b="0" i="0" u="none" strike="noStrike" kern="1200" cap="none" spc="0" normalizeH="0" baseline="0" noProof="0" dirty="0">
                <a:ln>
                  <a:noFill/>
                </a:ln>
                <a:solidFill>
                  <a:srgbClr val="000000"/>
                </a:solidFill>
                <a:effectLst/>
                <a:uLnTx/>
                <a:uFillTx/>
                <a:latin typeface="+mj-lt"/>
                <a:ea typeface="+mn-ea"/>
                <a:cs typeface="+mn-cs"/>
              </a:endParaRPr>
            </a:p>
          </p:txBody>
        </p:sp>
        <p:sp>
          <p:nvSpPr>
            <p:cNvPr id="85" name="Rectangle 84">
              <a:extLst>
                <a:ext uri="{FF2B5EF4-FFF2-40B4-BE49-F238E27FC236}">
                  <a16:creationId xmlns:a16="http://schemas.microsoft.com/office/drawing/2014/main" id="{05024081-C477-48E1-876A-E82F0EFAA9AC}"/>
                </a:ext>
              </a:extLst>
            </p:cNvPr>
            <p:cNvSpPr/>
            <p:nvPr/>
          </p:nvSpPr>
          <p:spPr>
            <a:xfrm>
              <a:off x="9512967" y="3056046"/>
              <a:ext cx="1135721" cy="126140"/>
            </a:xfrm>
            <a:prstGeom prst="rect">
              <a:avLst/>
            </a:prstGeom>
            <a:noFill/>
            <a:ln w="19050">
              <a:solidFill>
                <a:srgbClr val="17722B"/>
              </a:solidFill>
            </a:ln>
          </p:spPr>
          <p:txBody>
            <a:bodyPr lIns="72000" tIns="72000" rIns="72000" bIns="72000" rtlCol="0" anchor="t">
              <a:noAutofit/>
            </a:bodyPr>
            <a:lstStyle/>
            <a:p>
              <a:pPr algn="l">
                <a:buClr>
                  <a:schemeClr val="tx2"/>
                </a:buClr>
              </a:pPr>
              <a:endParaRPr kumimoji="0" lang="en-GB" sz="1050" b="0" i="0" u="none" strike="noStrike" kern="1200" cap="none" spc="0" normalizeH="0" baseline="0" noProof="0" dirty="0">
                <a:ln>
                  <a:noFill/>
                </a:ln>
                <a:solidFill>
                  <a:srgbClr val="000000"/>
                </a:solidFill>
                <a:effectLst/>
                <a:uLnTx/>
                <a:uFillTx/>
                <a:latin typeface="+mj-lt"/>
                <a:ea typeface="+mn-ea"/>
                <a:cs typeface="+mn-cs"/>
              </a:endParaRPr>
            </a:p>
          </p:txBody>
        </p:sp>
        <p:pic>
          <p:nvPicPr>
            <p:cNvPr id="86" name="Content Placeholder 40" descr="Checkmark">
              <a:extLst>
                <a:ext uri="{FF2B5EF4-FFF2-40B4-BE49-F238E27FC236}">
                  <a16:creationId xmlns:a16="http://schemas.microsoft.com/office/drawing/2014/main" id="{123C4157-BF71-41B9-9D65-B8AA7F9290C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87439" y="2340637"/>
              <a:ext cx="821812" cy="821812"/>
            </a:xfrm>
            <a:prstGeom prst="rect">
              <a:avLst/>
            </a:prstGeom>
            <a:noFill/>
            <a:ln w="19050">
              <a:noFill/>
            </a:ln>
          </p:spPr>
        </p:pic>
        <p:pic>
          <p:nvPicPr>
            <p:cNvPr id="87" name="Content Placeholder 40" descr="Checkmark">
              <a:extLst>
                <a:ext uri="{FF2B5EF4-FFF2-40B4-BE49-F238E27FC236}">
                  <a16:creationId xmlns:a16="http://schemas.microsoft.com/office/drawing/2014/main" id="{C0B18DE3-6EC6-4A7A-B387-8A0F8C8F37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29016" y="3845626"/>
              <a:ext cx="821812" cy="821812"/>
            </a:xfrm>
            <a:prstGeom prst="rect">
              <a:avLst/>
            </a:prstGeom>
            <a:noFill/>
            <a:ln w="19050">
              <a:noFill/>
            </a:ln>
          </p:spPr>
        </p:pic>
        <p:sp>
          <p:nvSpPr>
            <p:cNvPr id="88" name="Rectangle 87">
              <a:extLst>
                <a:ext uri="{FF2B5EF4-FFF2-40B4-BE49-F238E27FC236}">
                  <a16:creationId xmlns:a16="http://schemas.microsoft.com/office/drawing/2014/main" id="{C5535BA1-E490-41D1-BF08-C740828A530B}"/>
                </a:ext>
              </a:extLst>
            </p:cNvPr>
            <p:cNvSpPr/>
            <p:nvPr/>
          </p:nvSpPr>
          <p:spPr>
            <a:xfrm>
              <a:off x="9454917" y="3231191"/>
              <a:ext cx="1232663" cy="457192"/>
            </a:xfrm>
            <a:prstGeom prst="rect">
              <a:avLst/>
            </a:prstGeom>
            <a:noFill/>
            <a:ln w="28575">
              <a:solidFill>
                <a:srgbClr val="BF211E"/>
              </a:solidFill>
            </a:ln>
          </p:spPr>
          <p:txBody>
            <a:bodyPr lIns="72000" tIns="72000" rIns="72000" bIns="72000" rtlCol="0" anchor="t">
              <a:noAutofit/>
            </a:bodyPr>
            <a:lstStyle/>
            <a:p>
              <a:pPr algn="l">
                <a:buClr>
                  <a:schemeClr val="tx2"/>
                </a:buClr>
              </a:pPr>
              <a:endParaRPr kumimoji="0" lang="en-GB" sz="1050" b="0" i="0" u="none" strike="noStrike" kern="1200" cap="none" spc="0" normalizeH="0" baseline="0" noProof="0" dirty="0">
                <a:ln>
                  <a:noFill/>
                </a:ln>
                <a:solidFill>
                  <a:srgbClr val="000000"/>
                </a:solidFill>
                <a:effectLst/>
                <a:uLnTx/>
                <a:uFillTx/>
                <a:latin typeface="+mj-lt"/>
                <a:ea typeface="+mn-ea"/>
                <a:cs typeface="+mn-cs"/>
              </a:endParaRPr>
            </a:p>
          </p:txBody>
        </p:sp>
        <p:pic>
          <p:nvPicPr>
            <p:cNvPr id="89" name="Content Placeholder 48" descr="Close">
              <a:extLst>
                <a:ext uri="{FF2B5EF4-FFF2-40B4-BE49-F238E27FC236}">
                  <a16:creationId xmlns:a16="http://schemas.microsoft.com/office/drawing/2014/main" id="{5DE8883E-C623-4E4E-9993-0F5F580B9F3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502009" y="3193535"/>
              <a:ext cx="523268" cy="523269"/>
            </a:xfrm>
            <a:prstGeom prst="rect">
              <a:avLst/>
            </a:prstGeom>
            <a:noFill/>
            <a:ln w="19050">
              <a:noFill/>
            </a:ln>
          </p:spPr>
        </p:pic>
        <p:pic>
          <p:nvPicPr>
            <p:cNvPr id="90" name="Content Placeholder 48" descr="Close">
              <a:extLst>
                <a:ext uri="{FF2B5EF4-FFF2-40B4-BE49-F238E27FC236}">
                  <a16:creationId xmlns:a16="http://schemas.microsoft.com/office/drawing/2014/main" id="{1172B8D1-005E-456B-A6EE-C058A6E5D70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83601" y="3193535"/>
              <a:ext cx="523268" cy="523269"/>
            </a:xfrm>
            <a:prstGeom prst="rect">
              <a:avLst/>
            </a:prstGeom>
            <a:noFill/>
            <a:ln w="19050">
              <a:noFill/>
            </a:ln>
          </p:spPr>
        </p:pic>
        <p:sp>
          <p:nvSpPr>
            <p:cNvPr id="91" name="Arrow: Right 90">
              <a:extLst>
                <a:ext uri="{FF2B5EF4-FFF2-40B4-BE49-F238E27FC236}">
                  <a16:creationId xmlns:a16="http://schemas.microsoft.com/office/drawing/2014/main" id="{BF9AFAF0-1DC7-42D7-BC3D-80A57B476E93}"/>
                </a:ext>
              </a:extLst>
            </p:cNvPr>
            <p:cNvSpPr/>
            <p:nvPr/>
          </p:nvSpPr>
          <p:spPr>
            <a:xfrm>
              <a:off x="8976996" y="3854452"/>
              <a:ext cx="417742" cy="440598"/>
            </a:xfrm>
            <a:prstGeom prst="rightArrow">
              <a:avLst/>
            </a:prstGeom>
            <a:solidFill>
              <a:srgbClr val="6A6A6A"/>
            </a:solidFill>
            <a:ln>
              <a:noFill/>
            </a:ln>
          </p:spPr>
          <p:txBody>
            <a:bodyPr lIns="72000" tIns="72000" rIns="72000" bIns="72000" rtlCol="0" anchor="t">
              <a:noAutofit/>
            </a:bodyPr>
            <a:lstStyle/>
            <a:p>
              <a:pPr algn="l">
                <a:buClr>
                  <a:schemeClr val="tx2"/>
                </a:buClr>
              </a:pPr>
              <a:endParaRPr kumimoji="0" lang="en-GB" sz="1050" b="0" i="0" u="none" strike="noStrike" kern="1200" cap="none" spc="0" normalizeH="0" baseline="0" noProof="0" dirty="0">
                <a:ln>
                  <a:noFill/>
                </a:ln>
                <a:solidFill>
                  <a:srgbClr val="000000"/>
                </a:solidFill>
                <a:effectLst/>
                <a:uLnTx/>
                <a:uFillTx/>
                <a:latin typeface="+mj-lt"/>
                <a:ea typeface="+mn-ea"/>
                <a:cs typeface="+mn-cs"/>
              </a:endParaRPr>
            </a:p>
          </p:txBody>
        </p:sp>
        <p:sp>
          <p:nvSpPr>
            <p:cNvPr id="95" name="Rectangle 94">
              <a:extLst>
                <a:ext uri="{FF2B5EF4-FFF2-40B4-BE49-F238E27FC236}">
                  <a16:creationId xmlns:a16="http://schemas.microsoft.com/office/drawing/2014/main" id="{3C8D77DE-A043-4D3F-8C46-D607EAC356C8}"/>
                </a:ext>
              </a:extLst>
            </p:cNvPr>
            <p:cNvSpPr/>
            <p:nvPr/>
          </p:nvSpPr>
          <p:spPr>
            <a:xfrm>
              <a:off x="2631925" y="5996391"/>
              <a:ext cx="1188067" cy="568126"/>
            </a:xfrm>
            <a:prstGeom prst="rect">
              <a:avLst/>
            </a:prstGeom>
            <a:solidFill>
              <a:srgbClr val="FFBD4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err="1">
                  <a:ln>
                    <a:noFill/>
                  </a:ln>
                  <a:solidFill>
                    <a:srgbClr val="000000"/>
                  </a:solidFill>
                  <a:effectLst/>
                  <a:uLnTx/>
                  <a:uFillTx/>
                  <a:latin typeface="+mj-lt"/>
                  <a:ea typeface="+mn-ea"/>
                  <a:cs typeface="Arial" panose="020B0604020202020204" pitchFamily="34" charset="0"/>
                </a:rPr>
                <a:t>Yellow</a:t>
              </a:r>
              <a:endParaRPr kumimoji="0" lang="nl-NL"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endParaRP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kumimoji="0" lang="nl-NL"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R255 G189 B66</a:t>
              </a:r>
            </a:p>
            <a:p>
              <a:pPr marL="0" marR="0" lvl="0" indent="0" algn="l" defTabSz="685800" rtl="0" eaLnBrk="1" fontAlgn="auto" latinLnBrk="0" hangingPunct="1">
                <a:lnSpc>
                  <a:spcPct val="90000"/>
                </a:lnSpc>
                <a:spcBef>
                  <a:spcPts val="0"/>
                </a:spcBef>
                <a:spcAft>
                  <a:spcPts val="0"/>
                </a:spcAft>
                <a:buClr>
                  <a:srgbClr val="FF0000"/>
                </a:buClr>
                <a:buSzTx/>
                <a:buFontTx/>
                <a:buNone/>
                <a:tabLst/>
                <a:defRPr/>
              </a:pPr>
              <a:r>
                <a:rPr lang="nl-NL" sz="1000" dirty="0">
                  <a:solidFill>
                    <a:srgbClr val="000000"/>
                  </a:solidFill>
                  <a:latin typeface="+mj-lt"/>
                </a:rPr>
                <a:t>#FFBD42</a:t>
              </a:r>
              <a:endParaRPr kumimoji="0" lang="en-GB" sz="10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endParaRPr>
            </a:p>
          </p:txBody>
        </p:sp>
        <p:sp>
          <p:nvSpPr>
            <p:cNvPr id="96" name="TextBox 95">
              <a:extLst>
                <a:ext uri="{FF2B5EF4-FFF2-40B4-BE49-F238E27FC236}">
                  <a16:creationId xmlns:a16="http://schemas.microsoft.com/office/drawing/2014/main" id="{BA703C6D-EB0D-4321-8BE9-265095C90134}"/>
                </a:ext>
              </a:extLst>
            </p:cNvPr>
            <p:cNvSpPr txBox="1"/>
            <p:nvPr/>
          </p:nvSpPr>
          <p:spPr>
            <a:xfrm>
              <a:off x="662781" y="6025184"/>
              <a:ext cx="1969144" cy="535419"/>
            </a:xfrm>
            <a:prstGeom prst="rect">
              <a:avLst/>
            </a:prstGeom>
          </p:spPr>
          <p:txBody>
            <a:bodyPr vert="horz" wrap="square" lIns="91440" tIns="45720" rIns="91440" bIns="45720" rtlCol="0" anchor="ctr">
              <a:noAutofit/>
            </a:bodyPr>
            <a:lstStyle/>
            <a:p>
              <a:pPr marL="0" indent="0" algn="l">
                <a:buNone/>
              </a:pPr>
              <a:r>
                <a:rPr lang="nl-NL" sz="1600" b="1" noProof="0" dirty="0">
                  <a:latin typeface="+mj-lt"/>
                </a:rPr>
                <a:t>Highlight</a:t>
              </a:r>
              <a:endParaRPr lang="en-GB" sz="1600" b="1" noProof="0" dirty="0">
                <a:latin typeface="+mj-lt"/>
              </a:endParaRPr>
            </a:p>
          </p:txBody>
        </p:sp>
      </p:grpSp>
      <p:sp>
        <p:nvSpPr>
          <p:cNvPr id="92" name="Rectangle 91">
            <a:extLst>
              <a:ext uri="{FF2B5EF4-FFF2-40B4-BE49-F238E27FC236}">
                <a16:creationId xmlns:a16="http://schemas.microsoft.com/office/drawing/2014/main" id="{5CC6BA57-2124-4E40-BA93-87D5E07C9219}"/>
              </a:ext>
            </a:extLst>
          </p:cNvPr>
          <p:cNvSpPr/>
          <p:nvPr/>
        </p:nvSpPr>
        <p:spPr>
          <a:xfrm>
            <a:off x="658814" y="0"/>
            <a:ext cx="277500" cy="257175"/>
          </a:xfrm>
          <a:prstGeom prst="rect">
            <a:avLst/>
          </a:prstGeom>
          <a:solidFill>
            <a:srgbClr val="22777B"/>
          </a:solidFill>
        </p:spPr>
        <p:txBody>
          <a:bodyPr lIns="72000" rIns="72000" rtlCol="0" anchor="t">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93" name="Rectangle 92">
            <a:extLst>
              <a:ext uri="{FF2B5EF4-FFF2-40B4-BE49-F238E27FC236}">
                <a16:creationId xmlns:a16="http://schemas.microsoft.com/office/drawing/2014/main" id="{A26AD554-0E35-42BF-8F16-94A1634DB9C1}"/>
              </a:ext>
            </a:extLst>
          </p:cNvPr>
          <p:cNvSpPr/>
          <p:nvPr/>
        </p:nvSpPr>
        <p:spPr>
          <a:xfrm>
            <a:off x="936314" y="0"/>
            <a:ext cx="3401346" cy="266699"/>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lIns="72000" rIns="72000" rtlCol="0" anchor="ctr">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Kleurgebruik</a:t>
            </a:r>
          </a:p>
        </p:txBody>
      </p:sp>
      <p:sp>
        <p:nvSpPr>
          <p:cNvPr id="94" name="Speech Bubble: Rectangle 93">
            <a:extLst>
              <a:ext uri="{FF2B5EF4-FFF2-40B4-BE49-F238E27FC236}">
                <a16:creationId xmlns:a16="http://schemas.microsoft.com/office/drawing/2014/main" id="{29D646B0-B751-44A5-B75E-BE8645F8B71B}"/>
              </a:ext>
            </a:extLst>
          </p:cNvPr>
          <p:cNvSpPr/>
          <p:nvPr/>
        </p:nvSpPr>
        <p:spPr>
          <a:xfrm>
            <a:off x="7035003" y="5609355"/>
            <a:ext cx="4568940" cy="801996"/>
          </a:xfrm>
          <a:prstGeom prst="wedgeRectCallout">
            <a:avLst>
              <a:gd name="adj1" fmla="val 24292"/>
              <a:gd name="adj2" fmla="val -81357"/>
            </a:avLst>
          </a:prstGeom>
          <a:solidFill>
            <a:schemeClr val="bg1">
              <a:lumMod val="95000"/>
            </a:schemeClr>
          </a:solidFill>
          <a:ln w="9525">
            <a:solidFill>
              <a:schemeClr val="bg1">
                <a:lumMod val="85000"/>
              </a:schemeClr>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spcBef>
                <a:spcPts val="750"/>
              </a:spcBef>
              <a:buClr>
                <a:schemeClr val="tx2"/>
              </a:buClr>
            </a:pPr>
            <a:r>
              <a:rPr lang="nl-NL" sz="1000" dirty="0"/>
              <a:t>De standaardkleuren zijn ook toegankelijk via het menu dat is ingebouwd in PowerPoint</a:t>
            </a:r>
          </a:p>
          <a:p>
            <a:pPr>
              <a:spcBef>
                <a:spcPts val="750"/>
              </a:spcBef>
              <a:buClr>
                <a:schemeClr val="tx2"/>
              </a:buClr>
            </a:pPr>
            <a:r>
              <a:rPr lang="nl-NL" sz="1000" dirty="0"/>
              <a:t>Let op: gebruik niet de gekke varianten die PowerPoint ook weergeeft (rood kruis)</a:t>
            </a:r>
          </a:p>
        </p:txBody>
      </p:sp>
    </p:spTree>
    <p:extLst>
      <p:ext uri="{BB962C8B-B14F-4D97-AF65-F5344CB8AC3E}">
        <p14:creationId xmlns:p14="http://schemas.microsoft.com/office/powerpoint/2010/main" val="41832619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EAC7F5F0-966A-4BBA-971D-72DF42E929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3" imgW="501" imgH="502" progId="TCLayout.ActiveDocument.1">
                  <p:embed/>
                </p:oleObj>
              </mc:Choice>
              <mc:Fallback>
                <p:oleObj name="think-cell Slide" r:id="rId103" imgW="501" imgH="502" progId="TCLayout.ActiveDocument.1">
                  <p:embed/>
                  <p:pic>
                    <p:nvPicPr>
                      <p:cNvPr id="17" name="Object 16" hidden="1">
                        <a:extLst>
                          <a:ext uri="{FF2B5EF4-FFF2-40B4-BE49-F238E27FC236}">
                            <a16:creationId xmlns:a16="http://schemas.microsoft.com/office/drawing/2014/main" id="{EAC7F5F0-966A-4BBA-971D-72DF42E929E3}"/>
                          </a:ext>
                        </a:extLst>
                      </p:cNvPr>
                      <p:cNvPicPr/>
                      <p:nvPr/>
                    </p:nvPicPr>
                    <p:blipFill>
                      <a:blip r:embed="rId104"/>
                      <a:stretch>
                        <a:fillRect/>
                      </a:stretch>
                    </p:blipFill>
                    <p:spPr>
                      <a:xfrm>
                        <a:off x="1588" y="1588"/>
                        <a:ext cx="1588" cy="1588"/>
                      </a:xfrm>
                      <a:prstGeom prst="rect">
                        <a:avLst/>
                      </a:prstGeom>
                    </p:spPr>
                  </p:pic>
                </p:oleObj>
              </mc:Fallback>
            </mc:AlternateContent>
          </a:graphicData>
        </a:graphic>
      </p:graphicFrame>
      <p:sp>
        <p:nvSpPr>
          <p:cNvPr id="48" name="Content Placeholder 47">
            <a:extLst>
              <a:ext uri="{FF2B5EF4-FFF2-40B4-BE49-F238E27FC236}">
                <a16:creationId xmlns:a16="http://schemas.microsoft.com/office/drawing/2014/main" id="{438BE621-9051-4344-92D9-CA50125FAD5C}"/>
              </a:ext>
            </a:extLst>
          </p:cNvPr>
          <p:cNvSpPr>
            <a:spLocks noGrp="1"/>
          </p:cNvSpPr>
          <p:nvPr>
            <p:ph sz="quarter" idx="40"/>
          </p:nvPr>
        </p:nvSpPr>
        <p:spPr/>
        <p:txBody>
          <a:bodyPr/>
          <a:lstStyle/>
          <a:p>
            <a:pPr marL="0" indent="0" fontAlgn="auto">
              <a:spcAft>
                <a:spcPts val="0"/>
              </a:spcAft>
              <a:buNone/>
            </a:pPr>
            <a:r>
              <a:rPr lang="nl-NL" b="1" dirty="0"/>
              <a:t>Als je iets wil </a:t>
            </a:r>
            <a:r>
              <a:rPr lang="nl-NL" b="1" dirty="0" err="1"/>
              <a:t>highlighten</a:t>
            </a:r>
            <a:r>
              <a:rPr lang="nl-NL" b="1" dirty="0"/>
              <a:t>, gebruik je de kleur geel</a:t>
            </a:r>
          </a:p>
          <a:p>
            <a:pPr fontAlgn="auto">
              <a:spcAft>
                <a:spcPts val="0"/>
              </a:spcAft>
            </a:pPr>
            <a:endParaRPr lang="nl-NL" b="1" dirty="0"/>
          </a:p>
          <a:p>
            <a:pPr fontAlgn="auto">
              <a:spcAft>
                <a:spcPts val="0"/>
              </a:spcAft>
            </a:pPr>
            <a:endParaRPr lang="nl-NL" dirty="0"/>
          </a:p>
        </p:txBody>
      </p:sp>
      <p:sp>
        <p:nvSpPr>
          <p:cNvPr id="47" name="Content Placeholder 46">
            <a:extLst>
              <a:ext uri="{FF2B5EF4-FFF2-40B4-BE49-F238E27FC236}">
                <a16:creationId xmlns:a16="http://schemas.microsoft.com/office/drawing/2014/main" id="{AED4C22C-9812-4D5A-B867-7823F6EE4708}"/>
              </a:ext>
            </a:extLst>
          </p:cNvPr>
          <p:cNvSpPr>
            <a:spLocks noGrp="1"/>
          </p:cNvSpPr>
          <p:nvPr>
            <p:ph sz="quarter" idx="39"/>
          </p:nvPr>
        </p:nvSpPr>
        <p:spPr/>
        <p:txBody>
          <a:bodyPr/>
          <a:lstStyle/>
          <a:p>
            <a:pPr marL="0" indent="0">
              <a:buFont typeface="Wingdings" panose="05000000000000000000" pitchFamily="2" charset="2"/>
              <a:buNone/>
            </a:pPr>
            <a:r>
              <a:rPr lang="nl-NL" b="1" dirty="0"/>
              <a:t>Als je veel verschillende kleuren nodig hebt, gebruik je eerst de blauwtinten op en daarna grijstinten</a:t>
            </a:r>
            <a:r>
              <a:rPr lang="nl-NL" b="1" baseline="30000" dirty="0"/>
              <a:t>1</a:t>
            </a:r>
          </a:p>
          <a:p>
            <a:endParaRPr lang="nl-NL" dirty="0"/>
          </a:p>
        </p:txBody>
      </p:sp>
      <p:sp>
        <p:nvSpPr>
          <p:cNvPr id="12" name="Content Placeholder 11">
            <a:extLst>
              <a:ext uri="{FF2B5EF4-FFF2-40B4-BE49-F238E27FC236}">
                <a16:creationId xmlns:a16="http://schemas.microsoft.com/office/drawing/2014/main" id="{D43F1323-CE51-419B-BA8D-8C6C97791183}"/>
              </a:ext>
            </a:extLst>
          </p:cNvPr>
          <p:cNvSpPr>
            <a:spLocks noGrp="1"/>
          </p:cNvSpPr>
          <p:nvPr>
            <p:ph sz="quarter" idx="35"/>
          </p:nvPr>
        </p:nvSpPr>
        <p:spPr/>
        <p:txBody>
          <a:bodyPr/>
          <a:lstStyle/>
          <a:p>
            <a:pPr marL="0" indent="0">
              <a:buNone/>
            </a:pPr>
            <a:r>
              <a:rPr lang="nl-NL" b="1" dirty="0"/>
              <a:t>Als je één specifieke tijdserie wil uitlichten, dan maak je die ene serie donker en de rest licht</a:t>
            </a:r>
          </a:p>
        </p:txBody>
      </p:sp>
      <p:sp>
        <p:nvSpPr>
          <p:cNvPr id="49" name="Content Placeholder 48">
            <a:extLst>
              <a:ext uri="{FF2B5EF4-FFF2-40B4-BE49-F238E27FC236}">
                <a16:creationId xmlns:a16="http://schemas.microsoft.com/office/drawing/2014/main" id="{30C7EF57-2C79-4DC9-9C70-DCBDD7E00FE3}"/>
              </a:ext>
            </a:extLst>
          </p:cNvPr>
          <p:cNvSpPr>
            <a:spLocks noGrp="1"/>
          </p:cNvSpPr>
          <p:nvPr>
            <p:ph sz="quarter" idx="41"/>
          </p:nvPr>
        </p:nvSpPr>
        <p:spPr/>
        <p:txBody>
          <a:bodyPr/>
          <a:lstStyle/>
          <a:p>
            <a:pPr marL="0" indent="0">
              <a:buFont typeface="Wingdings" panose="05000000000000000000" pitchFamily="2" charset="2"/>
              <a:buNone/>
            </a:pPr>
            <a:r>
              <a:rPr lang="nl-NL" b="1" dirty="0"/>
              <a:t>Typisch sorteren we tijdseries van groot naar klein (in meest recente jaar) en geven we ook kleuren van donker naar licht</a:t>
            </a:r>
          </a:p>
        </p:txBody>
      </p:sp>
      <p:sp>
        <p:nvSpPr>
          <p:cNvPr id="13" name="Text Placeholder 12">
            <a:extLst>
              <a:ext uri="{FF2B5EF4-FFF2-40B4-BE49-F238E27FC236}">
                <a16:creationId xmlns:a16="http://schemas.microsoft.com/office/drawing/2014/main" id="{7EDCE23E-94B1-49FC-9550-6BD1CE263D5C}"/>
              </a:ext>
            </a:extLst>
          </p:cNvPr>
          <p:cNvSpPr>
            <a:spLocks noGrp="1"/>
          </p:cNvSpPr>
          <p:nvPr>
            <p:ph type="body" sz="quarter" idx="20"/>
          </p:nvPr>
        </p:nvSpPr>
        <p:spPr/>
        <p:txBody>
          <a:bodyPr/>
          <a:lstStyle/>
          <a:p>
            <a:r>
              <a:rPr lang="nl-NL" dirty="0"/>
              <a:t>Alhoewel het typisch niet wenselijk is om zo veel tijdseries in één grafiek weer te geven. Vaak beter om een categorie ‘overig’ te gebruiken</a:t>
            </a:r>
          </a:p>
        </p:txBody>
      </p:sp>
      <p:sp>
        <p:nvSpPr>
          <p:cNvPr id="7" name="Footer Placeholder 6">
            <a:extLst>
              <a:ext uri="{FF2B5EF4-FFF2-40B4-BE49-F238E27FC236}">
                <a16:creationId xmlns:a16="http://schemas.microsoft.com/office/drawing/2014/main" id="{4A9EE3B3-E9E8-42AA-A957-ECD3687EB459}"/>
              </a:ext>
            </a:extLst>
          </p:cNvPr>
          <p:cNvSpPr>
            <a:spLocks noGrp="1"/>
          </p:cNvSpPr>
          <p:nvPr>
            <p:ph type="ftr" sz="quarter" idx="3"/>
          </p:nvPr>
        </p:nvSpPr>
        <p:spPr/>
        <p:txBody>
          <a:bodyPr/>
          <a:lstStyle/>
          <a:p>
            <a:r>
              <a:rPr lang="en-GB" dirty="0" err="1"/>
              <a:t>Bron</a:t>
            </a:r>
            <a:r>
              <a:rPr lang="en-GB" dirty="0"/>
              <a:t>: </a:t>
            </a:r>
          </a:p>
        </p:txBody>
      </p:sp>
      <p:sp>
        <p:nvSpPr>
          <p:cNvPr id="6" name="Slide Number Placeholder 5">
            <a:extLst>
              <a:ext uri="{FF2B5EF4-FFF2-40B4-BE49-F238E27FC236}">
                <a16:creationId xmlns:a16="http://schemas.microsoft.com/office/drawing/2014/main" id="{BEE77BB5-BCDC-431B-9FD2-828D67AB649F}"/>
              </a:ext>
            </a:extLst>
          </p:cNvPr>
          <p:cNvSpPr>
            <a:spLocks noGrp="1"/>
          </p:cNvSpPr>
          <p:nvPr>
            <p:ph type="sldNum" sz="quarter" idx="12"/>
          </p:nvPr>
        </p:nvSpPr>
        <p:spPr/>
        <p:txBody>
          <a:bodyPr/>
          <a:lstStyle/>
          <a:p>
            <a:fld id="{992CD0B2-8AB2-4C6C-8876-E15753662C9B}" type="slidenum">
              <a:rPr lang="nl-NL" noProof="0" smtClean="0"/>
              <a:pPr/>
              <a:t>11</a:t>
            </a:fld>
            <a:endParaRPr lang="nl-NL" noProof="0" dirty="0"/>
          </a:p>
        </p:txBody>
      </p:sp>
      <p:sp>
        <p:nvSpPr>
          <p:cNvPr id="46" name="Text Placeholder 45">
            <a:extLst>
              <a:ext uri="{FF2B5EF4-FFF2-40B4-BE49-F238E27FC236}">
                <a16:creationId xmlns:a16="http://schemas.microsoft.com/office/drawing/2014/main" id="{49AFBE6B-A495-4FAF-8304-787710DCEA04}"/>
              </a:ext>
            </a:extLst>
          </p:cNvPr>
          <p:cNvSpPr>
            <a:spLocks noGrp="1"/>
          </p:cNvSpPr>
          <p:nvPr>
            <p:ph type="body" sz="quarter" idx="14"/>
          </p:nvPr>
        </p:nvSpPr>
        <p:spPr/>
        <p:txBody>
          <a:bodyPr/>
          <a:lstStyle/>
          <a:p>
            <a:r>
              <a:rPr lang="nl-NL" dirty="0"/>
              <a:t>Kleurgebruik voorbeelden in grafieken</a:t>
            </a:r>
          </a:p>
        </p:txBody>
      </p:sp>
      <p:sp>
        <p:nvSpPr>
          <p:cNvPr id="10" name="Title 9">
            <a:extLst>
              <a:ext uri="{FF2B5EF4-FFF2-40B4-BE49-F238E27FC236}">
                <a16:creationId xmlns:a16="http://schemas.microsoft.com/office/drawing/2014/main" id="{F7AF941F-EDA9-4F72-99E5-E8C5694D4192}"/>
              </a:ext>
            </a:extLst>
          </p:cNvPr>
          <p:cNvSpPr>
            <a:spLocks noGrp="1"/>
          </p:cNvSpPr>
          <p:nvPr>
            <p:ph type="title"/>
          </p:nvPr>
        </p:nvSpPr>
        <p:spPr/>
        <p:txBody>
          <a:bodyPr vert="horz"/>
          <a:lstStyle/>
          <a:p>
            <a:r>
              <a:rPr lang="nl-NL" dirty="0"/>
              <a:t>Er zijn een paar aandachtspunten bij het gebruik van kleur in grafieken</a:t>
            </a:r>
          </a:p>
        </p:txBody>
      </p:sp>
      <p:graphicFrame>
        <p:nvGraphicFramePr>
          <p:cNvPr id="127" name="Chart 126">
            <a:extLst>
              <a:ext uri="{FF2B5EF4-FFF2-40B4-BE49-F238E27FC236}">
                <a16:creationId xmlns:a16="http://schemas.microsoft.com/office/drawing/2014/main" id="{23E9E711-F77C-4F11-8840-E249B56B9B41}"/>
              </a:ext>
            </a:extLst>
          </p:cNvPr>
          <p:cNvGraphicFramePr/>
          <p:nvPr>
            <p:custDataLst>
              <p:tags r:id="rId2"/>
            </p:custDataLst>
          </p:nvPr>
        </p:nvGraphicFramePr>
        <p:xfrm>
          <a:off x="1011238" y="2305050"/>
          <a:ext cx="2441575" cy="1549400"/>
        </p:xfrm>
        <a:graphic>
          <a:graphicData uri="http://schemas.openxmlformats.org/drawingml/2006/chart">
            <c:chart xmlns:c="http://schemas.openxmlformats.org/drawingml/2006/chart" xmlns:r="http://schemas.openxmlformats.org/officeDocument/2006/relationships" r:id="rId105"/>
          </a:graphicData>
        </a:graphic>
      </p:graphicFrame>
      <p:sp>
        <p:nvSpPr>
          <p:cNvPr id="75" name="Text Placeholder 5">
            <a:extLst>
              <a:ext uri="{FF2B5EF4-FFF2-40B4-BE49-F238E27FC236}">
                <a16:creationId xmlns:a16="http://schemas.microsoft.com/office/drawing/2014/main" id="{4B9982FA-94CE-476E-98B9-AED20350F85D}"/>
              </a:ext>
            </a:extLst>
          </p:cNvPr>
          <p:cNvSpPr>
            <a:spLocks noGrp="1"/>
          </p:cNvSpPr>
          <p:nvPr>
            <p:custDataLst>
              <p:tags r:id="rId3"/>
            </p:custDataLst>
          </p:nvPr>
        </p:nvSpPr>
        <p:spPr bwMode="gray">
          <a:xfrm>
            <a:off x="2065338" y="2979738"/>
            <a:ext cx="123825" cy="165100"/>
          </a:xfrm>
          <a:prstGeom prst="rect">
            <a:avLst/>
          </a:prstGeom>
          <a:solidFill>
            <a:schemeClr val="accent3"/>
          </a:solidFill>
          <a:ln>
            <a:noFill/>
          </a:ln>
        </p:spPr>
        <p:txBody>
          <a:bodyPr vert="horz" wrap="none" lIns="22225" tIns="0" rIns="22225"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6F40BEE9-B3CF-4E1F-8637-CD1BC4CCA6CD}" type="datetime'''''''''''''''''''4'''''''''''''''''''''''">
              <a:rPr lang="nl-NL" altLang="en-US" sz="1200" smtClean="0">
                <a:solidFill>
                  <a:schemeClr val="tx1"/>
                </a:solidFill>
                <a:effectLst/>
                <a:latin typeface="+mn-lt"/>
              </a:rPr>
              <a:pPr algn="ctr">
                <a:spcBef>
                  <a:spcPct val="0"/>
                </a:spcBef>
              </a:pPr>
              <a:t>4</a:t>
            </a:fld>
            <a:endParaRPr lang="nl-NL" sz="1200" noProof="0" dirty="0">
              <a:solidFill>
                <a:schemeClr val="tx1"/>
              </a:solidFill>
              <a:latin typeface="+mn-lt"/>
            </a:endParaRPr>
          </a:p>
        </p:txBody>
      </p:sp>
      <p:sp>
        <p:nvSpPr>
          <p:cNvPr id="23" name="Text Placeholder 5">
            <a:extLst>
              <a:ext uri="{FF2B5EF4-FFF2-40B4-BE49-F238E27FC236}">
                <a16:creationId xmlns:a16="http://schemas.microsoft.com/office/drawing/2014/main" id="{0AB5455B-DB4A-465D-9BB1-909B34DAE9D6}"/>
              </a:ext>
            </a:extLst>
          </p:cNvPr>
          <p:cNvSpPr>
            <a:spLocks noGrp="1"/>
          </p:cNvSpPr>
          <p:nvPr>
            <p:custDataLst>
              <p:tags r:id="rId4"/>
            </p:custDataLst>
          </p:nvPr>
        </p:nvSpPr>
        <p:spPr bwMode="auto">
          <a:xfrm>
            <a:off x="2836863" y="3822699"/>
            <a:ext cx="3079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7525FD4B-3C93-48FF-8832-B425609C5852}" type="datetime'''''''''2''''''''0''''''''2''''1'''''''''''''''''''">
              <a:rPr lang="nl-NL" altLang="en-US" sz="1200" smtClean="0">
                <a:solidFill>
                  <a:schemeClr val="tx1"/>
                </a:solidFill>
              </a:rPr>
              <a:pPr/>
              <a:t>2021</a:t>
            </a:fld>
            <a:endParaRPr lang="nl-NL" sz="1200" noProof="0" dirty="0">
              <a:solidFill>
                <a:schemeClr val="tx1"/>
              </a:solidFill>
              <a:latin typeface="+mn-lt"/>
            </a:endParaRPr>
          </a:p>
        </p:txBody>
      </p:sp>
      <p:sp>
        <p:nvSpPr>
          <p:cNvPr id="34" name="Text Placeholder 5">
            <a:extLst>
              <a:ext uri="{FF2B5EF4-FFF2-40B4-BE49-F238E27FC236}">
                <a16:creationId xmlns:a16="http://schemas.microsoft.com/office/drawing/2014/main" id="{4B9982FA-94CE-476E-98B9-AED20350F85D}"/>
              </a:ext>
            </a:extLst>
          </p:cNvPr>
          <p:cNvSpPr>
            <a:spLocks noGrp="1"/>
          </p:cNvSpPr>
          <p:nvPr>
            <p:custDataLst>
              <p:tags r:id="rId5"/>
            </p:custDataLst>
          </p:nvPr>
        </p:nvSpPr>
        <p:spPr bwMode="gray">
          <a:xfrm>
            <a:off x="1517650" y="3100387"/>
            <a:ext cx="123825" cy="165100"/>
          </a:xfrm>
          <a:prstGeom prst="rect">
            <a:avLst/>
          </a:prstGeom>
          <a:solidFill>
            <a:schemeClr val="accent5"/>
          </a:solidFill>
          <a:ln>
            <a:noFill/>
          </a:ln>
        </p:spPr>
        <p:txBody>
          <a:bodyPr vert="horz" wrap="none" lIns="22225" tIns="0" rIns="22225"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7FCA9F36-9FE2-4814-AA83-850F11E722AE}" type="datetime'''''''''''''''4'''''''''''''''''''''''''''''''''''''''">
              <a:rPr lang="nl-NL" altLang="en-US" sz="1200" smtClean="0">
                <a:solidFill>
                  <a:schemeClr val="tx1"/>
                </a:solidFill>
                <a:effectLst/>
                <a:latin typeface="+mn-lt"/>
              </a:rPr>
              <a:pPr algn="ctr">
                <a:spcBef>
                  <a:spcPct val="0"/>
                </a:spcBef>
              </a:pPr>
              <a:t>4</a:t>
            </a:fld>
            <a:endParaRPr lang="nl-NL" sz="1200" noProof="0" dirty="0">
              <a:solidFill>
                <a:schemeClr val="tx1"/>
              </a:solidFill>
              <a:latin typeface="+mn-lt"/>
            </a:endParaRPr>
          </a:p>
        </p:txBody>
      </p:sp>
      <p:sp>
        <p:nvSpPr>
          <p:cNvPr id="20" name="Text Placeholder 5">
            <a:extLst>
              <a:ext uri="{FF2B5EF4-FFF2-40B4-BE49-F238E27FC236}">
                <a16:creationId xmlns:a16="http://schemas.microsoft.com/office/drawing/2014/main" id="{36EC8D75-D8E4-4492-BA95-C4AB374F407F}"/>
              </a:ext>
            </a:extLst>
          </p:cNvPr>
          <p:cNvSpPr>
            <a:spLocks noGrp="1"/>
          </p:cNvSpPr>
          <p:nvPr>
            <p:custDataLst>
              <p:tags r:id="rId6"/>
            </p:custDataLst>
          </p:nvPr>
        </p:nvSpPr>
        <p:spPr bwMode="auto">
          <a:xfrm>
            <a:off x="1317625" y="3822699"/>
            <a:ext cx="3127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B71884F6-7825-4669-B9AD-5317B4CD083F}" type="datetime'''''''''2''''''0''''''''''1''''''9'''''''">
              <a:rPr lang="nl-NL" altLang="en-US" sz="1200" smtClean="0">
                <a:solidFill>
                  <a:schemeClr val="tx1"/>
                </a:solidFill>
              </a:rPr>
              <a:pPr/>
              <a:t>2019</a:t>
            </a:fld>
            <a:endParaRPr lang="nl-NL" sz="1200" noProof="0" dirty="0">
              <a:solidFill>
                <a:schemeClr val="tx1"/>
              </a:solidFill>
              <a:latin typeface="+mn-lt"/>
            </a:endParaRPr>
          </a:p>
        </p:txBody>
      </p:sp>
      <p:sp>
        <p:nvSpPr>
          <p:cNvPr id="24" name="Text Placeholder 5">
            <a:extLst>
              <a:ext uri="{FF2B5EF4-FFF2-40B4-BE49-F238E27FC236}">
                <a16:creationId xmlns:a16="http://schemas.microsoft.com/office/drawing/2014/main" id="{929874D0-9BF0-4D8C-8285-02D4A0B1F187}"/>
              </a:ext>
            </a:extLst>
          </p:cNvPr>
          <p:cNvSpPr>
            <a:spLocks noGrp="1"/>
          </p:cNvSpPr>
          <p:nvPr>
            <p:custDataLst>
              <p:tags r:id="rId7"/>
            </p:custDataLst>
          </p:nvPr>
        </p:nvSpPr>
        <p:spPr bwMode="auto">
          <a:xfrm>
            <a:off x="3324225" y="2387599"/>
            <a:ext cx="5413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spcBef>
                <a:spcPct val="0"/>
              </a:spcBef>
            </a:pPr>
            <a:fld id="{5CC0ADA4-5811-42CD-A573-6B4143765D45}" type="datetime'A''''''c''c''e''''''n''''''t'' ''''''''''5'''''''''''''">
              <a:rPr lang="nl-NL" altLang="en-US" sz="1200" smtClean="0">
                <a:solidFill>
                  <a:schemeClr val="tx1"/>
                </a:solidFill>
              </a:rPr>
              <a:pPr/>
              <a:t>Accent 5</a:t>
            </a:fld>
            <a:endParaRPr lang="nl-NL" sz="1200" noProof="0" dirty="0">
              <a:solidFill>
                <a:schemeClr val="tx1"/>
              </a:solidFill>
              <a:latin typeface="+mn-lt"/>
            </a:endParaRPr>
          </a:p>
        </p:txBody>
      </p:sp>
      <p:sp>
        <p:nvSpPr>
          <p:cNvPr id="22" name="Text Placeholder 5">
            <a:extLst>
              <a:ext uri="{FF2B5EF4-FFF2-40B4-BE49-F238E27FC236}">
                <a16:creationId xmlns:a16="http://schemas.microsoft.com/office/drawing/2014/main" id="{B971C6D7-4330-43EA-B063-25EB0CB4E62A}"/>
              </a:ext>
            </a:extLst>
          </p:cNvPr>
          <p:cNvSpPr>
            <a:spLocks noGrp="1"/>
          </p:cNvSpPr>
          <p:nvPr>
            <p:custDataLst>
              <p:tags r:id="rId8"/>
            </p:custDataLst>
          </p:nvPr>
        </p:nvSpPr>
        <p:spPr bwMode="auto">
          <a:xfrm>
            <a:off x="2074863" y="3822699"/>
            <a:ext cx="3143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9A7DA046-5FC6-487B-A617-37836D907D89}" type="datetime'''''''''''''''''''''''''''''''''''''''''20''''''''2''0'''''''">
              <a:rPr lang="nl-NL" altLang="en-US" sz="1200" smtClean="0">
                <a:solidFill>
                  <a:schemeClr val="tx1"/>
                </a:solidFill>
              </a:rPr>
              <a:pPr/>
              <a:t>2020</a:t>
            </a:fld>
            <a:endParaRPr lang="nl-NL" sz="1200" noProof="0" dirty="0">
              <a:solidFill>
                <a:schemeClr val="tx1"/>
              </a:solidFill>
              <a:latin typeface="+mn-lt"/>
            </a:endParaRPr>
          </a:p>
        </p:txBody>
      </p:sp>
      <p:sp>
        <p:nvSpPr>
          <p:cNvPr id="76" name="Text Placeholder 5">
            <a:extLst>
              <a:ext uri="{FF2B5EF4-FFF2-40B4-BE49-F238E27FC236}">
                <a16:creationId xmlns:a16="http://schemas.microsoft.com/office/drawing/2014/main" id="{4B9982FA-94CE-476E-98B9-AED20350F85D}"/>
              </a:ext>
            </a:extLst>
          </p:cNvPr>
          <p:cNvSpPr>
            <a:spLocks noGrp="1"/>
          </p:cNvSpPr>
          <p:nvPr>
            <p:custDataLst>
              <p:tags r:id="rId9"/>
            </p:custDataLst>
          </p:nvPr>
        </p:nvSpPr>
        <p:spPr bwMode="gray">
          <a:xfrm>
            <a:off x="2928938" y="2365375"/>
            <a:ext cx="123825" cy="165100"/>
          </a:xfrm>
          <a:prstGeom prst="rect">
            <a:avLst/>
          </a:prstGeom>
          <a:solidFill>
            <a:schemeClr val="accent5"/>
          </a:solidFill>
          <a:ln>
            <a:noFill/>
          </a:ln>
        </p:spPr>
        <p:txBody>
          <a:bodyPr vert="horz" wrap="none" lIns="22225" tIns="0" rIns="22225"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ED19F4B4-C152-4D6D-8789-504EE436140D}" type="datetime'''''''''''''''''''''''''''''''''''''''''''''''''4'''">
              <a:rPr lang="nl-NL" altLang="en-US" sz="1200" smtClean="0">
                <a:solidFill>
                  <a:schemeClr val="tx1"/>
                </a:solidFill>
                <a:effectLst/>
                <a:latin typeface="+mn-lt"/>
              </a:rPr>
              <a:pPr algn="ctr">
                <a:spcBef>
                  <a:spcPct val="0"/>
                </a:spcBef>
              </a:pPr>
              <a:t>4</a:t>
            </a:fld>
            <a:endParaRPr lang="nl-NL" sz="1200" noProof="0" dirty="0">
              <a:solidFill>
                <a:schemeClr val="tx1"/>
              </a:solidFill>
              <a:latin typeface="+mn-lt"/>
            </a:endParaRPr>
          </a:p>
        </p:txBody>
      </p:sp>
      <p:sp>
        <p:nvSpPr>
          <p:cNvPr id="21" name="Text Placeholder 5">
            <a:extLst>
              <a:ext uri="{FF2B5EF4-FFF2-40B4-BE49-F238E27FC236}">
                <a16:creationId xmlns:a16="http://schemas.microsoft.com/office/drawing/2014/main" id="{B7011AF9-4DD2-43E1-AE20-52944E348D28}"/>
              </a:ext>
            </a:extLst>
          </p:cNvPr>
          <p:cNvSpPr>
            <a:spLocks noGrp="1"/>
          </p:cNvSpPr>
          <p:nvPr>
            <p:custDataLst>
              <p:tags r:id="rId10"/>
            </p:custDataLst>
          </p:nvPr>
        </p:nvSpPr>
        <p:spPr bwMode="auto">
          <a:xfrm>
            <a:off x="3324225" y="2603499"/>
            <a:ext cx="5381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spcBef>
                <a:spcPct val="0"/>
              </a:spcBef>
            </a:pPr>
            <a:fld id="{7F025F63-70EC-4DDE-8DC1-048073A1BFE9}" type="datetime'''''''''A''''''c''''c''''''''e''''n''''''''t'''''' ''''''''3'">
              <a:rPr lang="nl-NL" altLang="en-US" sz="1200" smtClean="0">
                <a:solidFill>
                  <a:schemeClr val="tx1"/>
                </a:solidFill>
              </a:rPr>
              <a:pPr/>
              <a:t>Accent 3</a:t>
            </a:fld>
            <a:endParaRPr lang="nl-NL" sz="1200" noProof="0" dirty="0">
              <a:solidFill>
                <a:schemeClr val="tx1"/>
              </a:solidFill>
              <a:latin typeface="+mn-lt"/>
            </a:endParaRPr>
          </a:p>
        </p:txBody>
      </p:sp>
      <p:sp>
        <p:nvSpPr>
          <p:cNvPr id="25" name="Text Placeholder 5">
            <a:extLst>
              <a:ext uri="{FF2B5EF4-FFF2-40B4-BE49-F238E27FC236}">
                <a16:creationId xmlns:a16="http://schemas.microsoft.com/office/drawing/2014/main" id="{7A997183-FEDC-4B15-BA16-A448745FFC39}"/>
              </a:ext>
            </a:extLst>
          </p:cNvPr>
          <p:cNvSpPr>
            <a:spLocks noGrp="1"/>
          </p:cNvSpPr>
          <p:nvPr>
            <p:custDataLst>
              <p:tags r:id="rId11"/>
            </p:custDataLst>
          </p:nvPr>
        </p:nvSpPr>
        <p:spPr bwMode="auto">
          <a:xfrm>
            <a:off x="3324225" y="3165474"/>
            <a:ext cx="5365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spcBef>
                <a:spcPct val="0"/>
              </a:spcBef>
            </a:pPr>
            <a:fld id="{2EB7E2B4-112C-40CD-AA70-F430730B6F52}" type="datetime'''''''''Ac''''''c''e''''''''''''n''''''''''''''t'''' ''''1'''">
              <a:rPr lang="nl-NL" altLang="en-US" sz="1200" smtClean="0">
                <a:solidFill>
                  <a:schemeClr val="tx1"/>
                </a:solidFill>
              </a:rPr>
              <a:pPr/>
              <a:t>Accent 1</a:t>
            </a:fld>
            <a:endParaRPr lang="nl-NL" sz="1200" noProof="0" dirty="0">
              <a:solidFill>
                <a:schemeClr val="tx1"/>
              </a:solidFill>
              <a:latin typeface="+mn-lt"/>
            </a:endParaRPr>
          </a:p>
        </p:txBody>
      </p:sp>
      <p:sp>
        <p:nvSpPr>
          <p:cNvPr id="27" name="Text Placeholder 5">
            <a:extLst>
              <a:ext uri="{FF2B5EF4-FFF2-40B4-BE49-F238E27FC236}">
                <a16:creationId xmlns:a16="http://schemas.microsoft.com/office/drawing/2014/main" id="{FE77CF83-83F9-498C-816A-9B2F7D1774ED}"/>
              </a:ext>
            </a:extLst>
          </p:cNvPr>
          <p:cNvSpPr>
            <a:spLocks noGrp="1"/>
          </p:cNvSpPr>
          <p:nvPr>
            <p:custDataLst>
              <p:tags r:id="rId12"/>
            </p:custDataLst>
          </p:nvPr>
        </p:nvSpPr>
        <p:spPr bwMode="gray">
          <a:xfrm>
            <a:off x="1376363" y="2935287"/>
            <a:ext cx="1936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1AF72E40-0CF6-4D74-9C50-6BF6C3A8E157}" type="datetime'''''''''''''''''''2''''''''''''''''''''''''''''''''''''''2'''">
              <a:rPr lang="nl-NL" altLang="en-US" sz="1200" b="1" smtClean="0">
                <a:solidFill>
                  <a:schemeClr val="tx1"/>
                </a:solidFill>
              </a:rPr>
              <a:pPr/>
              <a:t>22</a:t>
            </a:fld>
            <a:endParaRPr lang="nl-NL" sz="1200" b="1" noProof="0" dirty="0">
              <a:solidFill>
                <a:schemeClr val="tx1"/>
              </a:solidFill>
              <a:latin typeface="+mn-lt"/>
            </a:endParaRPr>
          </a:p>
        </p:txBody>
      </p:sp>
      <p:sp>
        <p:nvSpPr>
          <p:cNvPr id="26" name="Text Placeholder 5">
            <a:extLst>
              <a:ext uri="{FF2B5EF4-FFF2-40B4-BE49-F238E27FC236}">
                <a16:creationId xmlns:a16="http://schemas.microsoft.com/office/drawing/2014/main" id="{0D97EF1C-0383-4B6E-8B87-9E8A09F1DCFF}"/>
              </a:ext>
            </a:extLst>
          </p:cNvPr>
          <p:cNvSpPr>
            <a:spLocks noGrp="1"/>
          </p:cNvSpPr>
          <p:nvPr>
            <p:custDataLst>
              <p:tags r:id="rId13"/>
            </p:custDataLst>
          </p:nvPr>
        </p:nvSpPr>
        <p:spPr bwMode="gray">
          <a:xfrm>
            <a:off x="2135188" y="2655887"/>
            <a:ext cx="1936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665C997-64AE-4C07-B4AD-EBC758F252F6}" type="datetime'''3''''''''''''''''''''''''1'''">
              <a:rPr lang="nl-NL" altLang="en-US" sz="1200" b="1" smtClean="0">
                <a:solidFill>
                  <a:schemeClr val="tx1"/>
                </a:solidFill>
              </a:rPr>
              <a:pPr/>
              <a:t>31</a:t>
            </a:fld>
            <a:endParaRPr lang="nl-NL" sz="1200" b="1" noProof="0" dirty="0">
              <a:solidFill>
                <a:schemeClr val="tx1"/>
              </a:solidFill>
              <a:latin typeface="+mn-lt"/>
            </a:endParaRPr>
          </a:p>
        </p:txBody>
      </p:sp>
      <p:sp>
        <p:nvSpPr>
          <p:cNvPr id="28" name="Text Placeholder 5">
            <a:extLst>
              <a:ext uri="{FF2B5EF4-FFF2-40B4-BE49-F238E27FC236}">
                <a16:creationId xmlns:a16="http://schemas.microsoft.com/office/drawing/2014/main" id="{EADEAC1B-B09F-4EA9-91BB-0A57480B733F}"/>
              </a:ext>
            </a:extLst>
          </p:cNvPr>
          <p:cNvSpPr>
            <a:spLocks noGrp="1"/>
          </p:cNvSpPr>
          <p:nvPr>
            <p:custDataLst>
              <p:tags r:id="rId14"/>
            </p:custDataLst>
          </p:nvPr>
        </p:nvSpPr>
        <p:spPr bwMode="gray">
          <a:xfrm>
            <a:off x="2886075" y="2197099"/>
            <a:ext cx="2095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1F3EE1AD-6E6E-44C5-880E-30E5A434C66B}" type="datetime'''''''''''''''''''''''''''''''''''4''''''''''''''''''''''6'">
              <a:rPr lang="nl-NL" altLang="en-US" sz="1200" b="1" smtClean="0">
                <a:solidFill>
                  <a:schemeClr val="tx1"/>
                </a:solidFill>
              </a:rPr>
              <a:pPr/>
              <a:t>46</a:t>
            </a:fld>
            <a:endParaRPr lang="nl-NL" sz="1200" b="1" noProof="0" dirty="0">
              <a:solidFill>
                <a:schemeClr val="tx1"/>
              </a:solidFill>
              <a:latin typeface="+mn-lt"/>
            </a:endParaRPr>
          </a:p>
        </p:txBody>
      </p:sp>
      <p:graphicFrame>
        <p:nvGraphicFramePr>
          <p:cNvPr id="144" name="Chart 143">
            <a:extLst>
              <a:ext uri="{FF2B5EF4-FFF2-40B4-BE49-F238E27FC236}">
                <a16:creationId xmlns:a16="http://schemas.microsoft.com/office/drawing/2014/main" id="{494F8505-CD0E-4CD2-9016-8D3FC86DECA5}"/>
              </a:ext>
            </a:extLst>
          </p:cNvPr>
          <p:cNvGraphicFramePr/>
          <p:nvPr>
            <p:custDataLst>
              <p:tags r:id="rId15"/>
            </p:custDataLst>
          </p:nvPr>
        </p:nvGraphicFramePr>
        <p:xfrm>
          <a:off x="9188450" y="4594225"/>
          <a:ext cx="1643063" cy="1555750"/>
        </p:xfrm>
        <a:graphic>
          <a:graphicData uri="http://schemas.openxmlformats.org/drawingml/2006/chart">
            <c:chart xmlns:c="http://schemas.openxmlformats.org/drawingml/2006/chart" xmlns:r="http://schemas.openxmlformats.org/officeDocument/2006/relationships" r:id="rId106"/>
          </a:graphicData>
        </a:graphic>
      </p:graphicFrame>
      <p:cxnSp>
        <p:nvCxnSpPr>
          <p:cNvPr id="376" name="Straight Connector 375">
            <a:extLst>
              <a:ext uri="{FF2B5EF4-FFF2-40B4-BE49-F238E27FC236}">
                <a16:creationId xmlns:a16="http://schemas.microsoft.com/office/drawing/2014/main" id="{786FCA8C-1093-4E4F-9159-AE89E1A4ECF2}"/>
              </a:ext>
            </a:extLst>
          </p:cNvPr>
          <p:cNvCxnSpPr/>
          <p:nvPr>
            <p:custDataLst>
              <p:tags r:id="rId16"/>
            </p:custDataLst>
          </p:nvPr>
        </p:nvCxnSpPr>
        <p:spPr bwMode="auto">
          <a:xfrm flipH="1">
            <a:off x="9618663" y="5383213"/>
            <a:ext cx="50800" cy="0"/>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454" name="Text Placeholder 5">
            <a:extLst>
              <a:ext uri="{FF2B5EF4-FFF2-40B4-BE49-F238E27FC236}">
                <a16:creationId xmlns:a16="http://schemas.microsoft.com/office/drawing/2014/main" id="{4B9982FA-94CE-476E-98B9-AED20350F85D}"/>
              </a:ext>
            </a:extLst>
          </p:cNvPr>
          <p:cNvSpPr>
            <a:spLocks noGrp="1"/>
          </p:cNvSpPr>
          <p:nvPr>
            <p:custDataLst>
              <p:tags r:id="rId17"/>
            </p:custDataLst>
          </p:nvPr>
        </p:nvSpPr>
        <p:spPr bwMode="gray">
          <a:xfrm>
            <a:off x="10452101" y="5002214"/>
            <a:ext cx="100013" cy="136525"/>
          </a:xfrm>
          <a:prstGeom prst="rect">
            <a:avLst/>
          </a:prstGeom>
          <a:solidFill>
            <a:schemeClr val="accent5"/>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7C11899-8799-417C-AD6D-FB413AF46EBC}" type="datetime'''4'''''''''''''''''''''''''''''''''''''''''''''''''''''''''''">
              <a:rPr lang="nl-NL" altLang="en-US" sz="1000" smtClean="0">
                <a:solidFill>
                  <a:schemeClr val="tx1"/>
                </a:solidFill>
                <a:effectLst/>
                <a:latin typeface="+mn-lt"/>
              </a:rPr>
              <a:pPr algn="ctr">
                <a:spcBef>
                  <a:spcPct val="0"/>
                </a:spcBef>
              </a:pPr>
              <a:t>4</a:t>
            </a:fld>
            <a:endParaRPr lang="nl-NL" sz="1000" noProof="0" dirty="0">
              <a:solidFill>
                <a:schemeClr val="tx1"/>
              </a:solidFill>
              <a:latin typeface="+mn-lt"/>
            </a:endParaRPr>
          </a:p>
        </p:txBody>
      </p:sp>
      <p:sp>
        <p:nvSpPr>
          <p:cNvPr id="161" name="Text Placeholder 5">
            <a:extLst>
              <a:ext uri="{FF2B5EF4-FFF2-40B4-BE49-F238E27FC236}">
                <a16:creationId xmlns:a16="http://schemas.microsoft.com/office/drawing/2014/main" id="{4B9982FA-94CE-476E-98B9-AED20350F85D}"/>
              </a:ext>
            </a:extLst>
          </p:cNvPr>
          <p:cNvSpPr>
            <a:spLocks noGrp="1"/>
          </p:cNvSpPr>
          <p:nvPr>
            <p:custDataLst>
              <p:tags r:id="rId18"/>
            </p:custDataLst>
          </p:nvPr>
        </p:nvSpPr>
        <p:spPr bwMode="gray">
          <a:xfrm>
            <a:off x="10033000" y="5154613"/>
            <a:ext cx="92075" cy="136525"/>
          </a:xfrm>
          <a:prstGeom prst="rect">
            <a:avLst/>
          </a:prstGeom>
          <a:solidFill>
            <a:srgbClr val="AFAFAF"/>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F7E08110-E5C6-4811-9C09-B9C89DD5611E}" type="datetime'''''''''''''''3'''''''''''''''''''''''''''''''''''''''''''''">
              <a:rPr lang="nl-NL" altLang="en-US" sz="1000" smtClean="0">
                <a:solidFill>
                  <a:schemeClr val="tx1"/>
                </a:solidFill>
                <a:effectLst/>
                <a:latin typeface="+mn-lt"/>
              </a:rPr>
              <a:pPr algn="ctr">
                <a:spcBef>
                  <a:spcPct val="0"/>
                </a:spcBef>
              </a:pPr>
              <a:t>3</a:t>
            </a:fld>
            <a:endParaRPr lang="nl-NL" sz="1000" noProof="0" dirty="0">
              <a:solidFill>
                <a:schemeClr val="tx1"/>
              </a:solidFill>
              <a:latin typeface="+mn-lt"/>
            </a:endParaRPr>
          </a:p>
        </p:txBody>
      </p:sp>
      <p:sp>
        <p:nvSpPr>
          <p:cNvPr id="349" name="Text Placeholder 5">
            <a:extLst>
              <a:ext uri="{FF2B5EF4-FFF2-40B4-BE49-F238E27FC236}">
                <a16:creationId xmlns:a16="http://schemas.microsoft.com/office/drawing/2014/main" id="{4B9982FA-94CE-476E-98B9-AED20350F85D}"/>
              </a:ext>
            </a:extLst>
          </p:cNvPr>
          <p:cNvSpPr>
            <a:spLocks noGrp="1"/>
          </p:cNvSpPr>
          <p:nvPr>
            <p:custDataLst>
              <p:tags r:id="rId19"/>
            </p:custDataLst>
          </p:nvPr>
        </p:nvSpPr>
        <p:spPr bwMode="gray">
          <a:xfrm>
            <a:off x="9398000" y="5632450"/>
            <a:ext cx="100013" cy="136525"/>
          </a:xfrm>
          <a:prstGeom prst="rect">
            <a:avLst/>
          </a:prstGeom>
          <a:solidFill>
            <a:schemeClr val="accent3"/>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B2DAC497-5D17-4945-88FA-5846AC64D4A7}" type="datetime'''''''''''''''''''4'''''''''">
              <a:rPr lang="nl-NL" altLang="en-US" sz="1000" smtClean="0">
                <a:solidFill>
                  <a:schemeClr val="tx1"/>
                </a:solidFill>
                <a:effectLst/>
              </a:rPr>
              <a:pPr/>
              <a:t>4</a:t>
            </a:fld>
            <a:endParaRPr lang="nl-NL" sz="1000" noProof="0" dirty="0">
              <a:solidFill>
                <a:schemeClr val="tx1"/>
              </a:solidFill>
              <a:latin typeface="+mn-lt"/>
            </a:endParaRPr>
          </a:p>
        </p:txBody>
      </p:sp>
      <p:sp>
        <p:nvSpPr>
          <p:cNvPr id="362" name="Text Placeholder 5">
            <a:extLst>
              <a:ext uri="{FF2B5EF4-FFF2-40B4-BE49-F238E27FC236}">
                <a16:creationId xmlns:a16="http://schemas.microsoft.com/office/drawing/2014/main" id="{4B9982FA-94CE-476E-98B9-AED20350F85D}"/>
              </a:ext>
            </a:extLst>
          </p:cNvPr>
          <p:cNvSpPr>
            <a:spLocks noGrp="1"/>
          </p:cNvSpPr>
          <p:nvPr>
            <p:custDataLst>
              <p:tags r:id="rId20"/>
            </p:custDataLst>
          </p:nvPr>
        </p:nvSpPr>
        <p:spPr bwMode="gray">
          <a:xfrm>
            <a:off x="9894888" y="5081588"/>
            <a:ext cx="92075" cy="136525"/>
          </a:xfrm>
          <a:prstGeom prst="rect">
            <a:avLst/>
          </a:prstGeom>
          <a:solidFill>
            <a:srgbClr val="DBDBDB"/>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50794088-D060-4E62-AC11-762F546BFAFC}" type="datetime'''''''''''3'''''''''''''''''''''''''''''''''''''''''''''''''">
              <a:rPr lang="nl-NL" altLang="en-US" sz="1000" smtClean="0">
                <a:solidFill>
                  <a:schemeClr val="tx1"/>
                </a:solidFill>
                <a:effectLst/>
                <a:latin typeface="+mn-lt"/>
              </a:rPr>
              <a:pPr algn="ctr">
                <a:spcBef>
                  <a:spcPct val="0"/>
                </a:spcBef>
              </a:pPr>
              <a:t>3</a:t>
            </a:fld>
            <a:endParaRPr lang="nl-NL" sz="1000" noProof="0" dirty="0">
              <a:solidFill>
                <a:schemeClr val="tx1"/>
              </a:solidFill>
              <a:latin typeface="+mn-lt"/>
            </a:endParaRPr>
          </a:p>
        </p:txBody>
      </p:sp>
      <p:sp>
        <p:nvSpPr>
          <p:cNvPr id="367" name="Text Placeholder 5">
            <a:extLst>
              <a:ext uri="{FF2B5EF4-FFF2-40B4-BE49-F238E27FC236}">
                <a16:creationId xmlns:a16="http://schemas.microsoft.com/office/drawing/2014/main" id="{4B9982FA-94CE-476E-98B9-AED20350F85D}"/>
              </a:ext>
            </a:extLst>
          </p:cNvPr>
          <p:cNvSpPr>
            <a:spLocks noGrp="1"/>
          </p:cNvSpPr>
          <p:nvPr>
            <p:custDataLst>
              <p:tags r:id="rId21"/>
            </p:custDataLst>
          </p:nvPr>
        </p:nvSpPr>
        <p:spPr bwMode="gray">
          <a:xfrm>
            <a:off x="9398001" y="5265738"/>
            <a:ext cx="100013" cy="136525"/>
          </a:xfrm>
          <a:prstGeom prst="rect">
            <a:avLst/>
          </a:prstGeom>
          <a:solidFill>
            <a:srgbClr val="DBDBDB"/>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103FA404-ACD1-407C-9B23-C69E742D8B8B}" type="datetime'''2'''''''''''''''''''''''''''''''">
              <a:rPr lang="nl-NL" altLang="en-US" sz="1000" smtClean="0">
                <a:solidFill>
                  <a:schemeClr val="tx1"/>
                </a:solidFill>
                <a:effectLst/>
                <a:latin typeface="+mn-lt"/>
              </a:rPr>
              <a:pPr algn="ctr">
                <a:spcBef>
                  <a:spcPct val="0"/>
                </a:spcBef>
              </a:pPr>
              <a:t>2</a:t>
            </a:fld>
            <a:endParaRPr lang="nl-NL" sz="1000" noProof="0" dirty="0">
              <a:solidFill>
                <a:schemeClr val="tx1"/>
              </a:solidFill>
              <a:latin typeface="+mn-lt"/>
            </a:endParaRPr>
          </a:p>
        </p:txBody>
      </p:sp>
      <p:sp>
        <p:nvSpPr>
          <p:cNvPr id="218" name="Text Placeholder 5">
            <a:extLst>
              <a:ext uri="{FF2B5EF4-FFF2-40B4-BE49-F238E27FC236}">
                <a16:creationId xmlns:a16="http://schemas.microsoft.com/office/drawing/2014/main" id="{4B9982FA-94CE-476E-98B9-AED20350F85D}"/>
              </a:ext>
            </a:extLst>
          </p:cNvPr>
          <p:cNvSpPr>
            <a:spLocks noGrp="1"/>
          </p:cNvSpPr>
          <p:nvPr>
            <p:custDataLst>
              <p:tags r:id="rId22"/>
            </p:custDataLst>
          </p:nvPr>
        </p:nvSpPr>
        <p:spPr bwMode="gray">
          <a:xfrm>
            <a:off x="9398000" y="5435600"/>
            <a:ext cx="100013" cy="136525"/>
          </a:xfrm>
          <a:prstGeom prst="rect">
            <a:avLst/>
          </a:prstGeom>
          <a:solidFill>
            <a:schemeClr val="accent5"/>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21FFA4EB-DE3F-4C42-B151-FB67BEDF9F1C}" type="datetime'''''''''2'''''''''''''''''''''''''''''''''''''''''''''''''''">
              <a:rPr lang="nl-NL" altLang="en-US" sz="1000" smtClean="0">
                <a:solidFill>
                  <a:schemeClr val="tx1"/>
                </a:solidFill>
                <a:effectLst/>
              </a:rPr>
              <a:pPr/>
              <a:t>2</a:t>
            </a:fld>
            <a:endParaRPr lang="nl-NL" sz="1000" noProof="0" dirty="0">
              <a:solidFill>
                <a:schemeClr val="tx1"/>
              </a:solidFill>
              <a:latin typeface="+mn-lt"/>
            </a:endParaRPr>
          </a:p>
        </p:txBody>
      </p:sp>
      <p:sp>
        <p:nvSpPr>
          <p:cNvPr id="373" name="Text Placeholder 5">
            <a:extLst>
              <a:ext uri="{FF2B5EF4-FFF2-40B4-BE49-F238E27FC236}">
                <a16:creationId xmlns:a16="http://schemas.microsoft.com/office/drawing/2014/main" id="{4B9982FA-94CE-476E-98B9-AED20350F85D}"/>
              </a:ext>
            </a:extLst>
          </p:cNvPr>
          <p:cNvSpPr>
            <a:spLocks noGrp="1"/>
          </p:cNvSpPr>
          <p:nvPr>
            <p:custDataLst>
              <p:tags r:id="rId23"/>
            </p:custDataLst>
          </p:nvPr>
        </p:nvSpPr>
        <p:spPr bwMode="gray">
          <a:xfrm>
            <a:off x="9539289" y="5375275"/>
            <a:ext cx="92075" cy="136525"/>
          </a:xfrm>
          <a:prstGeom prst="rect">
            <a:avLst/>
          </a:prstGeom>
          <a:solidFill>
            <a:srgbClr val="8C8C8C"/>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992B9D42-95FB-415E-AAA5-AFC4B5B15E5E}" type="datetime'''''''''''''''3'''''''">
              <a:rPr lang="nl-NL" altLang="en-US" sz="1000" smtClean="0">
                <a:solidFill>
                  <a:schemeClr val="bg1"/>
                </a:solidFill>
                <a:effectLst/>
                <a:latin typeface="+mn-lt"/>
              </a:rPr>
              <a:pPr algn="ctr">
                <a:spcBef>
                  <a:spcPct val="0"/>
                </a:spcBef>
              </a:pPr>
              <a:t>3</a:t>
            </a:fld>
            <a:endParaRPr lang="nl-NL" sz="1000" noProof="0" dirty="0">
              <a:solidFill>
                <a:schemeClr val="bg1"/>
              </a:solidFill>
              <a:latin typeface="+mn-lt"/>
            </a:endParaRPr>
          </a:p>
        </p:txBody>
      </p:sp>
      <p:sp>
        <p:nvSpPr>
          <p:cNvPr id="88" name="Text Placeholder 5">
            <a:extLst>
              <a:ext uri="{FF2B5EF4-FFF2-40B4-BE49-F238E27FC236}">
                <a16:creationId xmlns:a16="http://schemas.microsoft.com/office/drawing/2014/main" id="{F08CE307-1803-4667-B18F-EA5C22B33878}"/>
              </a:ext>
            </a:extLst>
          </p:cNvPr>
          <p:cNvSpPr>
            <a:spLocks noGrp="1"/>
          </p:cNvSpPr>
          <p:nvPr>
            <p:custDataLst>
              <p:tags r:id="rId24"/>
            </p:custDataLst>
          </p:nvPr>
        </p:nvSpPr>
        <p:spPr bwMode="auto">
          <a:xfrm>
            <a:off x="9382125" y="6110288"/>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2E77233-F735-44E1-A7A3-B05037EF4C6A}" type="datetime'2''01''''9'''''''''''''''''''''''''''''">
              <a:rPr lang="nl-NL" altLang="en-US" sz="1000" smtClean="0">
                <a:solidFill>
                  <a:schemeClr val="tx1"/>
                </a:solidFill>
                <a:latin typeface="+mn-lt"/>
              </a:rPr>
              <a:pPr/>
              <a:t>2019</a:t>
            </a:fld>
            <a:endParaRPr lang="nl-NL" sz="1000" noProof="0" dirty="0">
              <a:solidFill>
                <a:schemeClr val="tx1"/>
              </a:solidFill>
              <a:latin typeface="+mn-lt"/>
            </a:endParaRPr>
          </a:p>
        </p:txBody>
      </p:sp>
      <p:sp>
        <p:nvSpPr>
          <p:cNvPr id="146" name="Text Placeholder 5">
            <a:extLst>
              <a:ext uri="{FF2B5EF4-FFF2-40B4-BE49-F238E27FC236}">
                <a16:creationId xmlns:a16="http://schemas.microsoft.com/office/drawing/2014/main" id="{4B9982FA-94CE-476E-98B9-AED20350F85D}"/>
              </a:ext>
            </a:extLst>
          </p:cNvPr>
          <p:cNvSpPr>
            <a:spLocks noGrp="1"/>
          </p:cNvSpPr>
          <p:nvPr>
            <p:custDataLst>
              <p:tags r:id="rId25"/>
            </p:custDataLst>
          </p:nvPr>
        </p:nvSpPr>
        <p:spPr bwMode="gray">
          <a:xfrm>
            <a:off x="9893300" y="5245100"/>
            <a:ext cx="95250" cy="136525"/>
          </a:xfrm>
          <a:prstGeom prst="rect">
            <a:avLst/>
          </a:prstGeom>
          <a:solidFill>
            <a:srgbClr val="8C8C8C"/>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112E478A-89C3-45A0-B2E6-790400DE4CA6}" type="datetime'5'''">
              <a:rPr lang="nl-NL" altLang="en-US" sz="1000" smtClean="0">
                <a:solidFill>
                  <a:schemeClr val="bg1"/>
                </a:solidFill>
                <a:effectLst/>
              </a:rPr>
              <a:pPr/>
              <a:t>5</a:t>
            </a:fld>
            <a:endParaRPr lang="nl-NL" sz="1000" noProof="0" dirty="0">
              <a:solidFill>
                <a:schemeClr val="bg1"/>
              </a:solidFill>
              <a:latin typeface="+mn-lt"/>
            </a:endParaRPr>
          </a:p>
        </p:txBody>
      </p:sp>
      <p:sp>
        <p:nvSpPr>
          <p:cNvPr id="374" name="Text Placeholder 5">
            <a:extLst>
              <a:ext uri="{FF2B5EF4-FFF2-40B4-BE49-F238E27FC236}">
                <a16:creationId xmlns:a16="http://schemas.microsoft.com/office/drawing/2014/main" id="{4B9982FA-94CE-476E-98B9-AED20350F85D}"/>
              </a:ext>
            </a:extLst>
          </p:cNvPr>
          <p:cNvSpPr>
            <a:spLocks noGrp="1"/>
          </p:cNvSpPr>
          <p:nvPr>
            <p:custDataLst>
              <p:tags r:id="rId26"/>
            </p:custDataLst>
          </p:nvPr>
        </p:nvSpPr>
        <p:spPr bwMode="gray">
          <a:xfrm>
            <a:off x="10033001" y="5337175"/>
            <a:ext cx="92075" cy="136525"/>
          </a:xfrm>
          <a:prstGeom prst="rect">
            <a:avLst/>
          </a:prstGeom>
          <a:solidFill>
            <a:schemeClr val="accent5"/>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DBF6016A-C6DF-4E27-BEF1-0A4906F419BA}" type="datetime'''''''''''''''''''''''''''''''''''''''''''3'''''">
              <a:rPr lang="nl-NL" altLang="en-US" sz="1000" smtClean="0">
                <a:solidFill>
                  <a:schemeClr val="tx1"/>
                </a:solidFill>
                <a:effectLst/>
              </a:rPr>
              <a:pPr/>
              <a:t>3</a:t>
            </a:fld>
            <a:endParaRPr lang="nl-NL" sz="1000" noProof="0" dirty="0">
              <a:solidFill>
                <a:schemeClr val="tx1"/>
              </a:solidFill>
              <a:latin typeface="+mn-lt"/>
            </a:endParaRPr>
          </a:p>
        </p:txBody>
      </p:sp>
      <p:sp>
        <p:nvSpPr>
          <p:cNvPr id="375" name="Text Placeholder 5">
            <a:extLst>
              <a:ext uri="{FF2B5EF4-FFF2-40B4-BE49-F238E27FC236}">
                <a16:creationId xmlns:a16="http://schemas.microsoft.com/office/drawing/2014/main" id="{4B9982FA-94CE-476E-98B9-AED20350F85D}"/>
              </a:ext>
            </a:extLst>
          </p:cNvPr>
          <p:cNvSpPr>
            <a:spLocks noGrp="1"/>
          </p:cNvSpPr>
          <p:nvPr>
            <p:custDataLst>
              <p:tags r:id="rId27"/>
            </p:custDataLst>
          </p:nvPr>
        </p:nvSpPr>
        <p:spPr bwMode="gray">
          <a:xfrm>
            <a:off x="9891713" y="5419725"/>
            <a:ext cx="100013" cy="136525"/>
          </a:xfrm>
          <a:prstGeom prst="rect">
            <a:avLst/>
          </a:prstGeom>
          <a:solidFill>
            <a:schemeClr val="accent4"/>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2EBBE94E-C8C7-45D1-8091-87302C23263D}" type="datetime'''4'''''''''''''''''''''''''''''''">
              <a:rPr lang="nl-NL" altLang="en-US" sz="1000" smtClean="0">
                <a:solidFill>
                  <a:schemeClr val="tx1"/>
                </a:solidFill>
                <a:effectLst/>
                <a:latin typeface="+mn-lt"/>
              </a:rPr>
              <a:pPr algn="ctr">
                <a:spcBef>
                  <a:spcPct val="0"/>
                </a:spcBef>
              </a:pPr>
              <a:t>4</a:t>
            </a:fld>
            <a:endParaRPr lang="nl-NL" sz="1000" noProof="0" dirty="0">
              <a:solidFill>
                <a:schemeClr val="tx1"/>
              </a:solidFill>
              <a:latin typeface="+mn-lt"/>
            </a:endParaRPr>
          </a:p>
        </p:txBody>
      </p:sp>
      <p:sp>
        <p:nvSpPr>
          <p:cNvPr id="85" name="Text Placeholder 5">
            <a:extLst>
              <a:ext uri="{FF2B5EF4-FFF2-40B4-BE49-F238E27FC236}">
                <a16:creationId xmlns:a16="http://schemas.microsoft.com/office/drawing/2014/main" id="{DE69390A-B5B9-4DCD-9494-663D2A575FA5}"/>
              </a:ext>
            </a:extLst>
          </p:cNvPr>
          <p:cNvSpPr>
            <a:spLocks noGrp="1"/>
          </p:cNvSpPr>
          <p:nvPr>
            <p:custDataLst>
              <p:tags r:id="rId28"/>
            </p:custDataLst>
          </p:nvPr>
        </p:nvSpPr>
        <p:spPr bwMode="auto">
          <a:xfrm>
            <a:off x="9872663" y="6110288"/>
            <a:ext cx="2730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83FBC31A-5F41-4DD5-AFA6-FF83E556D0C8}" type="datetime'''''''''''''''''''20''''2''''''''''''''''''''''''0'">
              <a:rPr lang="nl-NL" altLang="en-US" sz="1000" smtClean="0">
                <a:solidFill>
                  <a:schemeClr val="tx1"/>
                </a:solidFill>
                <a:latin typeface="+mn-lt"/>
              </a:rPr>
              <a:pPr/>
              <a:t>2020</a:t>
            </a:fld>
            <a:endParaRPr lang="nl-NL" sz="1000" noProof="0" dirty="0">
              <a:solidFill>
                <a:schemeClr val="tx1"/>
              </a:solidFill>
              <a:latin typeface="+mn-lt"/>
            </a:endParaRPr>
          </a:p>
        </p:txBody>
      </p:sp>
      <p:sp>
        <p:nvSpPr>
          <p:cNvPr id="315" name="Text Placeholder 5">
            <a:extLst>
              <a:ext uri="{FF2B5EF4-FFF2-40B4-BE49-F238E27FC236}">
                <a16:creationId xmlns:a16="http://schemas.microsoft.com/office/drawing/2014/main" id="{78F4ADC1-41CC-4C36-B203-DC433DFEED88}"/>
              </a:ext>
            </a:extLst>
          </p:cNvPr>
          <p:cNvSpPr>
            <a:spLocks noGrp="1"/>
          </p:cNvSpPr>
          <p:nvPr>
            <p:custDataLst>
              <p:tags r:id="rId29"/>
            </p:custDataLst>
          </p:nvPr>
        </p:nvSpPr>
        <p:spPr bwMode="gray">
          <a:xfrm>
            <a:off x="10521950" y="4657725"/>
            <a:ext cx="100013" cy="136525"/>
          </a:xfrm>
          <a:prstGeom prst="rect">
            <a:avLst/>
          </a:prstGeom>
          <a:solidFill>
            <a:srgbClr val="DBDBDB"/>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83904DB9-0760-4F02-AC8B-4DD770E68E29}" type="datetime'''''''''''''''''''''''''''''4'''''''''''''''''">
              <a:rPr lang="nl-NL" altLang="en-US" sz="1000" smtClean="0">
                <a:solidFill>
                  <a:schemeClr val="tx1"/>
                </a:solidFill>
                <a:effectLst/>
                <a:latin typeface="+mn-lt"/>
              </a:rPr>
              <a:pPr/>
              <a:t>4</a:t>
            </a:fld>
            <a:endParaRPr lang="nl-NL" sz="1000" noProof="0" dirty="0">
              <a:solidFill>
                <a:schemeClr val="tx1"/>
              </a:solidFill>
              <a:latin typeface="+mn-lt"/>
            </a:endParaRPr>
          </a:p>
        </p:txBody>
      </p:sp>
      <p:sp>
        <p:nvSpPr>
          <p:cNvPr id="219" name="Text Placeholder 5">
            <a:extLst>
              <a:ext uri="{FF2B5EF4-FFF2-40B4-BE49-F238E27FC236}">
                <a16:creationId xmlns:a16="http://schemas.microsoft.com/office/drawing/2014/main" id="{4B9982FA-94CE-476E-98B9-AED20350F85D}"/>
              </a:ext>
            </a:extLst>
          </p:cNvPr>
          <p:cNvSpPr>
            <a:spLocks noGrp="1"/>
          </p:cNvSpPr>
          <p:nvPr>
            <p:custDataLst>
              <p:tags r:id="rId30"/>
            </p:custDataLst>
          </p:nvPr>
        </p:nvSpPr>
        <p:spPr bwMode="gray">
          <a:xfrm>
            <a:off x="10383838" y="4757738"/>
            <a:ext cx="100013" cy="136525"/>
          </a:xfrm>
          <a:prstGeom prst="rect">
            <a:avLst/>
          </a:prstGeom>
          <a:solidFill>
            <a:srgbClr val="AFAFAF"/>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E87F4963-9ED4-46F8-A6AF-164A99762EEA}" type="datetime'''''''''''''''''''''''''''''''4'''''''''''''''''''">
              <a:rPr lang="nl-NL" altLang="en-US" sz="1000" smtClean="0">
                <a:solidFill>
                  <a:schemeClr val="tx1"/>
                </a:solidFill>
                <a:effectLst/>
                <a:latin typeface="+mn-lt"/>
              </a:rPr>
              <a:pPr algn="ctr">
                <a:spcBef>
                  <a:spcPct val="0"/>
                </a:spcBef>
              </a:pPr>
              <a:t>4</a:t>
            </a:fld>
            <a:endParaRPr lang="nl-NL" sz="1000" noProof="0" dirty="0">
              <a:solidFill>
                <a:schemeClr val="tx1"/>
              </a:solidFill>
              <a:latin typeface="+mn-lt"/>
            </a:endParaRPr>
          </a:p>
        </p:txBody>
      </p:sp>
      <p:sp>
        <p:nvSpPr>
          <p:cNvPr id="87" name="Text Placeholder 5">
            <a:extLst>
              <a:ext uri="{FF2B5EF4-FFF2-40B4-BE49-F238E27FC236}">
                <a16:creationId xmlns:a16="http://schemas.microsoft.com/office/drawing/2014/main" id="{E9E97529-1BD5-435A-8CC4-E63374FD2357}"/>
              </a:ext>
            </a:extLst>
          </p:cNvPr>
          <p:cNvSpPr>
            <a:spLocks noGrp="1"/>
          </p:cNvSpPr>
          <p:nvPr>
            <p:custDataLst>
              <p:tags r:id="rId31"/>
            </p:custDataLst>
          </p:nvPr>
        </p:nvSpPr>
        <p:spPr bwMode="auto">
          <a:xfrm>
            <a:off x="10369550" y="6110288"/>
            <a:ext cx="2651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D314177D-0540-4472-A830-0C55CF860315}" type="datetime'''''''''''''''''2''''0''''''2''''''''''''''''''''1'''''''''">
              <a:rPr lang="nl-NL" altLang="en-US" sz="1000" smtClean="0">
                <a:solidFill>
                  <a:schemeClr val="tx1"/>
                </a:solidFill>
                <a:latin typeface="+mn-lt"/>
              </a:rPr>
              <a:pPr/>
              <a:t>2021</a:t>
            </a:fld>
            <a:endParaRPr lang="nl-NL" sz="1000" noProof="0" dirty="0">
              <a:solidFill>
                <a:schemeClr val="tx1"/>
              </a:solidFill>
              <a:latin typeface="+mn-lt"/>
            </a:endParaRPr>
          </a:p>
        </p:txBody>
      </p:sp>
      <p:sp>
        <p:nvSpPr>
          <p:cNvPr id="93" name="Text Placeholder 5">
            <a:extLst>
              <a:ext uri="{FF2B5EF4-FFF2-40B4-BE49-F238E27FC236}">
                <a16:creationId xmlns:a16="http://schemas.microsoft.com/office/drawing/2014/main" id="{9BD29854-CA39-44A1-9783-C91E7C7D1BCD}"/>
              </a:ext>
            </a:extLst>
          </p:cNvPr>
          <p:cNvSpPr>
            <a:spLocks noGrp="1"/>
          </p:cNvSpPr>
          <p:nvPr>
            <p:custDataLst>
              <p:tags r:id="rId32"/>
            </p:custDataLst>
          </p:nvPr>
        </p:nvSpPr>
        <p:spPr bwMode="gray">
          <a:xfrm>
            <a:off x="9436100" y="5129213"/>
            <a:ext cx="1603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F3C5CD2C-EDD9-4419-B12E-C67F08C01780}" type="datetime'''''''''''''''''''''''''''''3''''''''''''''1'''''''''''">
              <a:rPr lang="nl-NL" altLang="en-US" sz="1000" b="1" smtClean="0">
                <a:solidFill>
                  <a:schemeClr val="tx1"/>
                </a:solidFill>
              </a:rPr>
              <a:pPr/>
              <a:t>31</a:t>
            </a:fld>
            <a:endParaRPr lang="nl-NL" sz="1000" b="1" noProof="0" dirty="0">
              <a:solidFill>
                <a:schemeClr val="tx1"/>
              </a:solidFill>
              <a:latin typeface="+mn-lt"/>
            </a:endParaRPr>
          </a:p>
        </p:txBody>
      </p:sp>
      <p:sp>
        <p:nvSpPr>
          <p:cNvPr id="94" name="Text Placeholder 5">
            <a:extLst>
              <a:ext uri="{FF2B5EF4-FFF2-40B4-BE49-F238E27FC236}">
                <a16:creationId xmlns:a16="http://schemas.microsoft.com/office/drawing/2014/main" id="{D4ED7D01-DAFD-4760-87E6-F56A4171487D}"/>
              </a:ext>
            </a:extLst>
          </p:cNvPr>
          <p:cNvSpPr>
            <a:spLocks noGrp="1"/>
          </p:cNvSpPr>
          <p:nvPr>
            <p:custDataLst>
              <p:tags r:id="rId33"/>
            </p:custDataLst>
          </p:nvPr>
        </p:nvSpPr>
        <p:spPr bwMode="gray">
          <a:xfrm>
            <a:off x="9926638" y="4945063"/>
            <a:ext cx="166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1871D9B-1E31-4464-96CE-E76A34397715}" type="datetime'''''''''''''''3''''''''''''''''''''9'''''''''''''">
              <a:rPr lang="nl-NL" altLang="en-US" sz="1000" b="1" smtClean="0">
                <a:solidFill>
                  <a:schemeClr val="tx1"/>
                </a:solidFill>
              </a:rPr>
              <a:pPr/>
              <a:t>39</a:t>
            </a:fld>
            <a:endParaRPr lang="nl-NL" sz="1000" b="1" noProof="0" dirty="0">
              <a:solidFill>
                <a:schemeClr val="tx1"/>
              </a:solidFill>
              <a:latin typeface="+mn-lt"/>
            </a:endParaRPr>
          </a:p>
        </p:txBody>
      </p:sp>
      <p:sp>
        <p:nvSpPr>
          <p:cNvPr id="95" name="Text Placeholder 5">
            <a:extLst>
              <a:ext uri="{FF2B5EF4-FFF2-40B4-BE49-F238E27FC236}">
                <a16:creationId xmlns:a16="http://schemas.microsoft.com/office/drawing/2014/main" id="{1713548C-550D-402F-9506-355C8E824D03}"/>
              </a:ext>
            </a:extLst>
          </p:cNvPr>
          <p:cNvSpPr>
            <a:spLocks noGrp="1"/>
          </p:cNvSpPr>
          <p:nvPr>
            <p:custDataLst>
              <p:tags r:id="rId34"/>
            </p:custDataLst>
          </p:nvPr>
        </p:nvSpPr>
        <p:spPr bwMode="gray">
          <a:xfrm>
            <a:off x="10421938" y="4514850"/>
            <a:ext cx="1587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A4182292-A129-44CD-B579-A38AF5248025}" type="datetime'''''''''5''7'''''''''''''''''''''''''''''''''''''">
              <a:rPr lang="nl-NL" altLang="en-US" sz="1000" b="1" smtClean="0">
                <a:solidFill>
                  <a:schemeClr val="tx1"/>
                </a:solidFill>
              </a:rPr>
              <a:pPr/>
              <a:t>57</a:t>
            </a:fld>
            <a:endParaRPr lang="nl-NL" sz="1000" b="1" noProof="0" dirty="0">
              <a:solidFill>
                <a:schemeClr val="tx1"/>
              </a:solidFill>
              <a:latin typeface="+mn-lt"/>
            </a:endParaRPr>
          </a:p>
        </p:txBody>
      </p:sp>
      <p:graphicFrame>
        <p:nvGraphicFramePr>
          <p:cNvPr id="145" name="Chart 144">
            <a:extLst>
              <a:ext uri="{FF2B5EF4-FFF2-40B4-BE49-F238E27FC236}">
                <a16:creationId xmlns:a16="http://schemas.microsoft.com/office/drawing/2014/main" id="{59B78FC3-0582-48D3-B53B-CB6765478EE4}"/>
              </a:ext>
            </a:extLst>
          </p:cNvPr>
          <p:cNvGraphicFramePr/>
          <p:nvPr>
            <p:custDataLst>
              <p:tags r:id="rId35"/>
            </p:custDataLst>
          </p:nvPr>
        </p:nvGraphicFramePr>
        <p:xfrm>
          <a:off x="6526213" y="4594225"/>
          <a:ext cx="1643062" cy="1555750"/>
        </p:xfrm>
        <a:graphic>
          <a:graphicData uri="http://schemas.openxmlformats.org/drawingml/2006/chart">
            <c:chart xmlns:c="http://schemas.openxmlformats.org/drawingml/2006/chart" xmlns:r="http://schemas.openxmlformats.org/officeDocument/2006/relationships" r:id="rId107"/>
          </a:graphicData>
        </a:graphic>
      </p:graphicFrame>
      <p:sp>
        <p:nvSpPr>
          <p:cNvPr id="271" name="Text Placeholder 5">
            <a:extLst>
              <a:ext uri="{FF2B5EF4-FFF2-40B4-BE49-F238E27FC236}">
                <a16:creationId xmlns:a16="http://schemas.microsoft.com/office/drawing/2014/main" id="{C6BA1373-3860-40AA-938C-E8A3933B4591}"/>
              </a:ext>
            </a:extLst>
          </p:cNvPr>
          <p:cNvSpPr>
            <a:spLocks noGrp="1"/>
          </p:cNvSpPr>
          <p:nvPr>
            <p:custDataLst>
              <p:tags r:id="rId36"/>
            </p:custDataLst>
          </p:nvPr>
        </p:nvSpPr>
        <p:spPr bwMode="auto">
          <a:xfrm>
            <a:off x="8078788" y="5849938"/>
            <a:ext cx="4492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spcBef>
                <a:spcPct val="0"/>
              </a:spcBef>
            </a:pPr>
            <a:fld id="{CD69058F-1925-4E02-8771-83A3882165BE}" type="datetime'A''''''''c''ce''''n''''''''t'''''''''''''''''' ''''''1'''''">
              <a:rPr lang="nl-NL" altLang="en-US" sz="1000" smtClean="0">
                <a:solidFill>
                  <a:schemeClr val="tx1"/>
                </a:solidFill>
              </a:rPr>
              <a:pPr/>
              <a:t>Accent 1</a:t>
            </a:fld>
            <a:endParaRPr lang="nl-NL" sz="1000" noProof="0" dirty="0">
              <a:solidFill>
                <a:schemeClr val="tx1"/>
              </a:solidFill>
              <a:latin typeface="+mn-lt"/>
            </a:endParaRPr>
          </a:p>
        </p:txBody>
      </p:sp>
      <p:sp>
        <p:nvSpPr>
          <p:cNvPr id="451" name="Text Placeholder 5">
            <a:extLst>
              <a:ext uri="{FF2B5EF4-FFF2-40B4-BE49-F238E27FC236}">
                <a16:creationId xmlns:a16="http://schemas.microsoft.com/office/drawing/2014/main" id="{4B9982FA-94CE-476E-98B9-AED20350F85D}"/>
              </a:ext>
            </a:extLst>
          </p:cNvPr>
          <p:cNvSpPr>
            <a:spLocks noGrp="1"/>
          </p:cNvSpPr>
          <p:nvPr>
            <p:custDataLst>
              <p:tags r:id="rId37"/>
            </p:custDataLst>
          </p:nvPr>
        </p:nvSpPr>
        <p:spPr bwMode="gray">
          <a:xfrm>
            <a:off x="7789864" y="5002213"/>
            <a:ext cx="100013" cy="136525"/>
          </a:xfrm>
          <a:prstGeom prst="rect">
            <a:avLst/>
          </a:prstGeom>
          <a:solidFill>
            <a:schemeClr val="accent5"/>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4A98A80B-C005-4B68-98BC-30B24E062857}" type="datetime'''''''''''''''''''4'''''''''''''''''''''''''''''">
              <a:rPr lang="nl-NL" altLang="en-US" sz="1000" smtClean="0">
                <a:solidFill>
                  <a:schemeClr val="tx1"/>
                </a:solidFill>
                <a:effectLst/>
                <a:latin typeface="+mn-lt"/>
              </a:rPr>
              <a:pPr algn="ctr">
                <a:spcBef>
                  <a:spcPct val="0"/>
                </a:spcBef>
              </a:pPr>
              <a:t>4</a:t>
            </a:fld>
            <a:endParaRPr lang="nl-NL" sz="1000" noProof="0" dirty="0">
              <a:solidFill>
                <a:schemeClr val="tx1"/>
              </a:solidFill>
              <a:latin typeface="+mn-lt"/>
            </a:endParaRPr>
          </a:p>
        </p:txBody>
      </p:sp>
      <p:sp>
        <p:nvSpPr>
          <p:cNvPr id="274" name="Text Placeholder 5">
            <a:extLst>
              <a:ext uri="{FF2B5EF4-FFF2-40B4-BE49-F238E27FC236}">
                <a16:creationId xmlns:a16="http://schemas.microsoft.com/office/drawing/2014/main" id="{4B9982FA-94CE-476E-98B9-AED20350F85D}"/>
              </a:ext>
            </a:extLst>
          </p:cNvPr>
          <p:cNvSpPr>
            <a:spLocks noGrp="1"/>
          </p:cNvSpPr>
          <p:nvPr>
            <p:custDataLst>
              <p:tags r:id="rId38"/>
            </p:custDataLst>
          </p:nvPr>
        </p:nvSpPr>
        <p:spPr bwMode="gray">
          <a:xfrm>
            <a:off x="6735763" y="5435600"/>
            <a:ext cx="100013" cy="136525"/>
          </a:xfrm>
          <a:prstGeom prst="rect">
            <a:avLst/>
          </a:prstGeom>
          <a:solidFill>
            <a:schemeClr val="accent5"/>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EE0DDA24-F511-4B99-B8C3-B96E8C3F9270}" type="datetime'''''''''''''''''''''''''''''''''''''''''''''''''''''''''''''2'">
              <a:rPr lang="nl-NL" altLang="en-US" sz="1000" smtClean="0">
                <a:solidFill>
                  <a:schemeClr val="tx1"/>
                </a:solidFill>
                <a:effectLst/>
                <a:latin typeface="+mn-lt"/>
              </a:rPr>
              <a:pPr algn="ctr">
                <a:spcBef>
                  <a:spcPct val="0"/>
                </a:spcBef>
              </a:pPr>
              <a:t>2</a:t>
            </a:fld>
            <a:endParaRPr lang="nl-NL" sz="1000" noProof="0" dirty="0">
              <a:solidFill>
                <a:schemeClr val="tx1"/>
              </a:solidFill>
              <a:latin typeface="+mn-lt"/>
            </a:endParaRPr>
          </a:p>
        </p:txBody>
      </p:sp>
      <p:sp>
        <p:nvSpPr>
          <p:cNvPr id="449" name="Text Placeholder 5">
            <a:extLst>
              <a:ext uri="{FF2B5EF4-FFF2-40B4-BE49-F238E27FC236}">
                <a16:creationId xmlns:a16="http://schemas.microsoft.com/office/drawing/2014/main" id="{4B9982FA-94CE-476E-98B9-AED20350F85D}"/>
              </a:ext>
            </a:extLst>
          </p:cNvPr>
          <p:cNvSpPr>
            <a:spLocks noGrp="1"/>
          </p:cNvSpPr>
          <p:nvPr>
            <p:custDataLst>
              <p:tags r:id="rId39"/>
            </p:custDataLst>
          </p:nvPr>
        </p:nvSpPr>
        <p:spPr bwMode="gray">
          <a:xfrm>
            <a:off x="6735764" y="5632450"/>
            <a:ext cx="100013" cy="136525"/>
          </a:xfrm>
          <a:prstGeom prst="rect">
            <a:avLst/>
          </a:prstGeom>
          <a:solidFill>
            <a:schemeClr val="accent3"/>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C46F074F-ECAD-491D-A016-347174168D06}" type="datetime'''''''''''''''''''''''''''''''''''4'''''''''''''''''''">
              <a:rPr lang="nl-NL" altLang="en-US" sz="1000" smtClean="0">
                <a:solidFill>
                  <a:schemeClr val="tx1"/>
                </a:solidFill>
                <a:effectLst/>
                <a:latin typeface="+mn-lt"/>
              </a:rPr>
              <a:pPr algn="ctr">
                <a:spcBef>
                  <a:spcPct val="0"/>
                </a:spcBef>
              </a:pPr>
              <a:t>4</a:t>
            </a:fld>
            <a:endParaRPr lang="nl-NL" sz="1000" noProof="0" dirty="0">
              <a:solidFill>
                <a:schemeClr val="tx1"/>
              </a:solidFill>
              <a:latin typeface="+mn-lt"/>
            </a:endParaRPr>
          </a:p>
        </p:txBody>
      </p:sp>
      <p:sp>
        <p:nvSpPr>
          <p:cNvPr id="179" name="Text Placeholder 5">
            <a:extLst>
              <a:ext uri="{FF2B5EF4-FFF2-40B4-BE49-F238E27FC236}">
                <a16:creationId xmlns:a16="http://schemas.microsoft.com/office/drawing/2014/main" id="{53805CF6-3FDF-43B4-8743-0C2A07709D93}"/>
              </a:ext>
            </a:extLst>
          </p:cNvPr>
          <p:cNvSpPr>
            <a:spLocks noGrp="1"/>
          </p:cNvSpPr>
          <p:nvPr>
            <p:custDataLst>
              <p:tags r:id="rId40"/>
            </p:custDataLst>
          </p:nvPr>
        </p:nvSpPr>
        <p:spPr bwMode="auto">
          <a:xfrm>
            <a:off x="6719888" y="6110288"/>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AD15CE7-E3E3-42D8-8D8B-E8A8D47E9FEA}" type="datetime'''2''''''''''''''''''''''''0''''''1''''''''''''''9'''''''">
              <a:rPr lang="nl-NL" altLang="en-US" sz="1000" smtClean="0">
                <a:solidFill>
                  <a:schemeClr val="tx1"/>
                </a:solidFill>
              </a:rPr>
              <a:pPr/>
              <a:t>2019</a:t>
            </a:fld>
            <a:endParaRPr lang="nl-NL" sz="1000" noProof="0" dirty="0">
              <a:solidFill>
                <a:schemeClr val="tx1"/>
              </a:solidFill>
              <a:latin typeface="+mn-lt"/>
            </a:endParaRPr>
          </a:p>
        </p:txBody>
      </p:sp>
      <p:sp>
        <p:nvSpPr>
          <p:cNvPr id="278" name="Text Placeholder 5">
            <a:extLst>
              <a:ext uri="{FF2B5EF4-FFF2-40B4-BE49-F238E27FC236}">
                <a16:creationId xmlns:a16="http://schemas.microsoft.com/office/drawing/2014/main" id="{4B9982FA-94CE-476E-98B9-AED20350F85D}"/>
              </a:ext>
            </a:extLst>
          </p:cNvPr>
          <p:cNvSpPr>
            <a:spLocks noGrp="1"/>
          </p:cNvSpPr>
          <p:nvPr>
            <p:custDataLst>
              <p:tags r:id="rId41"/>
            </p:custDataLst>
          </p:nvPr>
        </p:nvSpPr>
        <p:spPr bwMode="gray">
          <a:xfrm>
            <a:off x="7370763" y="5337175"/>
            <a:ext cx="92075" cy="136525"/>
          </a:xfrm>
          <a:prstGeom prst="rect">
            <a:avLst/>
          </a:prstGeom>
          <a:solidFill>
            <a:schemeClr val="accent5"/>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3BDC0C5-6E0C-463A-93EB-55E49561E6E2}" type="datetime'''''''''''''''''''''3'''''''''''''''''''''''''''''''''''">
              <a:rPr lang="nl-NL" altLang="en-US" sz="1000" smtClean="0">
                <a:solidFill>
                  <a:schemeClr val="tx1"/>
                </a:solidFill>
                <a:effectLst/>
                <a:latin typeface="+mn-lt"/>
              </a:rPr>
              <a:pPr algn="ctr">
                <a:spcBef>
                  <a:spcPct val="0"/>
                </a:spcBef>
              </a:pPr>
              <a:t>3</a:t>
            </a:fld>
            <a:endParaRPr lang="nl-NL" sz="1000" noProof="0" dirty="0">
              <a:solidFill>
                <a:schemeClr val="tx1"/>
              </a:solidFill>
              <a:latin typeface="+mn-lt"/>
            </a:endParaRPr>
          </a:p>
        </p:txBody>
      </p:sp>
      <p:sp>
        <p:nvSpPr>
          <p:cNvPr id="270" name="Text Placeholder 5">
            <a:extLst>
              <a:ext uri="{FF2B5EF4-FFF2-40B4-BE49-F238E27FC236}">
                <a16:creationId xmlns:a16="http://schemas.microsoft.com/office/drawing/2014/main" id="{2221BEA8-C833-454C-9522-983E6F11A98C}"/>
              </a:ext>
            </a:extLst>
          </p:cNvPr>
          <p:cNvSpPr>
            <a:spLocks noGrp="1"/>
          </p:cNvSpPr>
          <p:nvPr>
            <p:custDataLst>
              <p:tags r:id="rId42"/>
            </p:custDataLst>
          </p:nvPr>
        </p:nvSpPr>
        <p:spPr bwMode="auto">
          <a:xfrm>
            <a:off x="8078787" y="5562600"/>
            <a:ext cx="4572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spcBef>
                <a:spcPct val="0"/>
              </a:spcBef>
            </a:pPr>
            <a:fld id="{A41068EC-1AE3-4676-9267-D865EC77919A}" type="datetime'''''''''''A''c''''ce''''''''''''''''''nt'''' ''2'''''''''''''">
              <a:rPr lang="nl-NL" altLang="en-US" sz="1000" smtClean="0">
                <a:solidFill>
                  <a:schemeClr val="tx1"/>
                </a:solidFill>
              </a:rPr>
              <a:pPr/>
              <a:t>Accent 2</a:t>
            </a:fld>
            <a:endParaRPr lang="nl-NL" sz="1000" noProof="0" dirty="0">
              <a:solidFill>
                <a:schemeClr val="tx1"/>
              </a:solidFill>
              <a:latin typeface="+mn-lt"/>
            </a:endParaRPr>
          </a:p>
        </p:txBody>
      </p:sp>
      <p:sp>
        <p:nvSpPr>
          <p:cNvPr id="450" name="Text Placeholder 5">
            <a:extLst>
              <a:ext uri="{FF2B5EF4-FFF2-40B4-BE49-F238E27FC236}">
                <a16:creationId xmlns:a16="http://schemas.microsoft.com/office/drawing/2014/main" id="{4B9982FA-94CE-476E-98B9-AED20350F85D}"/>
              </a:ext>
            </a:extLst>
          </p:cNvPr>
          <p:cNvSpPr>
            <a:spLocks noGrp="1"/>
          </p:cNvSpPr>
          <p:nvPr>
            <p:custDataLst>
              <p:tags r:id="rId43"/>
            </p:custDataLst>
          </p:nvPr>
        </p:nvSpPr>
        <p:spPr bwMode="gray">
          <a:xfrm>
            <a:off x="7229475" y="5419725"/>
            <a:ext cx="100013" cy="136525"/>
          </a:xfrm>
          <a:prstGeom prst="rect">
            <a:avLst/>
          </a:prstGeom>
          <a:solidFill>
            <a:schemeClr val="accent4"/>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18AB6BAF-D8CA-4A40-AA2E-4518DF94F1A1}" type="datetime'''''''''''''''''''''''''''''''''''''''4'''''">
              <a:rPr lang="nl-NL" altLang="en-US" sz="1000" smtClean="0">
                <a:solidFill>
                  <a:schemeClr val="tx1"/>
                </a:solidFill>
                <a:effectLst/>
                <a:latin typeface="+mn-lt"/>
              </a:rPr>
              <a:pPr algn="ctr">
                <a:spcBef>
                  <a:spcPct val="0"/>
                </a:spcBef>
              </a:pPr>
              <a:t>4</a:t>
            </a:fld>
            <a:endParaRPr lang="nl-NL" sz="1000" noProof="0" dirty="0">
              <a:solidFill>
                <a:schemeClr val="tx1"/>
              </a:solidFill>
              <a:latin typeface="+mn-lt"/>
            </a:endParaRPr>
          </a:p>
        </p:txBody>
      </p:sp>
      <p:sp>
        <p:nvSpPr>
          <p:cNvPr id="183" name="Text Placeholder 5">
            <a:extLst>
              <a:ext uri="{FF2B5EF4-FFF2-40B4-BE49-F238E27FC236}">
                <a16:creationId xmlns:a16="http://schemas.microsoft.com/office/drawing/2014/main" id="{DC04DDC1-A354-41B7-B8DD-3D205C7FB031}"/>
              </a:ext>
            </a:extLst>
          </p:cNvPr>
          <p:cNvSpPr>
            <a:spLocks noGrp="1"/>
          </p:cNvSpPr>
          <p:nvPr>
            <p:custDataLst>
              <p:tags r:id="rId44"/>
            </p:custDataLst>
          </p:nvPr>
        </p:nvSpPr>
        <p:spPr bwMode="auto">
          <a:xfrm>
            <a:off x="7210425" y="6110288"/>
            <a:ext cx="2730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A4513120-A7A2-4D2B-A52C-A03CF67BADB5}" type="datetime'''2''''''''''''''''02''''''''''''''''''''''''0'''''''">
              <a:rPr lang="nl-NL" altLang="en-US" sz="1000" smtClean="0">
                <a:solidFill>
                  <a:schemeClr val="tx1"/>
                </a:solidFill>
              </a:rPr>
              <a:pPr/>
              <a:t>2020</a:t>
            </a:fld>
            <a:endParaRPr lang="nl-NL" sz="1000" noProof="0" dirty="0">
              <a:solidFill>
                <a:schemeClr val="tx1"/>
              </a:solidFill>
              <a:latin typeface="+mn-lt"/>
            </a:endParaRPr>
          </a:p>
        </p:txBody>
      </p:sp>
      <p:sp>
        <p:nvSpPr>
          <p:cNvPr id="180" name="Text Placeholder 5">
            <a:extLst>
              <a:ext uri="{FF2B5EF4-FFF2-40B4-BE49-F238E27FC236}">
                <a16:creationId xmlns:a16="http://schemas.microsoft.com/office/drawing/2014/main" id="{9E5B32B8-B60A-46DF-9466-E3666622E8B2}"/>
              </a:ext>
            </a:extLst>
          </p:cNvPr>
          <p:cNvSpPr>
            <a:spLocks noGrp="1"/>
          </p:cNvSpPr>
          <p:nvPr>
            <p:custDataLst>
              <p:tags r:id="rId45"/>
            </p:custDataLst>
          </p:nvPr>
        </p:nvSpPr>
        <p:spPr bwMode="auto">
          <a:xfrm>
            <a:off x="7707313" y="6110288"/>
            <a:ext cx="2651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62466E32-E32C-4E04-A54D-7D54569BD3ED}" type="datetime'''2''''''''''''''''''''02''''''''''''''''''''''1'''''">
              <a:rPr lang="nl-NL" altLang="en-US" sz="1000" smtClean="0">
                <a:solidFill>
                  <a:schemeClr val="tx1"/>
                </a:solidFill>
              </a:rPr>
              <a:pPr/>
              <a:t>2021</a:t>
            </a:fld>
            <a:endParaRPr lang="nl-NL" sz="1000" noProof="0" dirty="0">
              <a:solidFill>
                <a:schemeClr val="tx1"/>
              </a:solidFill>
              <a:latin typeface="+mn-lt"/>
            </a:endParaRPr>
          </a:p>
        </p:txBody>
      </p:sp>
      <p:sp>
        <p:nvSpPr>
          <p:cNvPr id="268" name="Text Placeholder 5">
            <a:extLst>
              <a:ext uri="{FF2B5EF4-FFF2-40B4-BE49-F238E27FC236}">
                <a16:creationId xmlns:a16="http://schemas.microsoft.com/office/drawing/2014/main" id="{24EA8C61-A818-4A82-9412-FE631FD5C56B}"/>
              </a:ext>
            </a:extLst>
          </p:cNvPr>
          <p:cNvSpPr>
            <a:spLocks noGrp="1"/>
          </p:cNvSpPr>
          <p:nvPr>
            <p:custDataLst>
              <p:tags r:id="rId46"/>
            </p:custDataLst>
          </p:nvPr>
        </p:nvSpPr>
        <p:spPr bwMode="auto">
          <a:xfrm>
            <a:off x="8078787" y="4976813"/>
            <a:ext cx="4524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spcBef>
                <a:spcPct val="0"/>
              </a:spcBef>
            </a:pPr>
            <a:fld id="{BBA564C3-8AAE-4D61-B52B-A13737D5D17C}" type="datetime'''''''''''''''A''c''''''''''''''''c''''e''''n''''''t 5'''">
              <a:rPr lang="nl-NL" altLang="en-US" sz="1000" smtClean="0">
                <a:solidFill>
                  <a:schemeClr val="tx1"/>
                </a:solidFill>
              </a:rPr>
              <a:pPr/>
              <a:t>Accent 5</a:t>
            </a:fld>
            <a:endParaRPr lang="nl-NL" sz="1000" noProof="0" dirty="0">
              <a:solidFill>
                <a:schemeClr val="tx1"/>
              </a:solidFill>
              <a:latin typeface="+mn-lt"/>
            </a:endParaRPr>
          </a:p>
        </p:txBody>
      </p:sp>
      <p:sp>
        <p:nvSpPr>
          <p:cNvPr id="182" name="Text Placeholder 5">
            <a:extLst>
              <a:ext uri="{FF2B5EF4-FFF2-40B4-BE49-F238E27FC236}">
                <a16:creationId xmlns:a16="http://schemas.microsoft.com/office/drawing/2014/main" id="{8E72C9CC-10EE-47AD-A726-86BD7CBE36AF}"/>
              </a:ext>
            </a:extLst>
          </p:cNvPr>
          <p:cNvSpPr>
            <a:spLocks noGrp="1"/>
          </p:cNvSpPr>
          <p:nvPr>
            <p:custDataLst>
              <p:tags r:id="rId47"/>
            </p:custDataLst>
          </p:nvPr>
        </p:nvSpPr>
        <p:spPr bwMode="auto">
          <a:xfrm>
            <a:off x="8078787" y="5164138"/>
            <a:ext cx="4572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spcBef>
                <a:spcPct val="0"/>
              </a:spcBef>
            </a:pPr>
            <a:fld id="{41AA80AA-0045-42E3-A370-B12FC44F31D4}" type="datetime'''''''''''''''Ac''''''''''c''e''n''t'' 4'''''''''''''''''">
              <a:rPr lang="nl-NL" altLang="en-US" sz="1000" smtClean="0">
                <a:solidFill>
                  <a:schemeClr val="tx1"/>
                </a:solidFill>
              </a:rPr>
              <a:pPr/>
              <a:t>Accent 4</a:t>
            </a:fld>
            <a:endParaRPr lang="nl-NL" sz="1000" noProof="0" dirty="0">
              <a:solidFill>
                <a:schemeClr val="tx1"/>
              </a:solidFill>
              <a:latin typeface="+mn-lt"/>
            </a:endParaRPr>
          </a:p>
        </p:txBody>
      </p:sp>
      <p:sp>
        <p:nvSpPr>
          <p:cNvPr id="269" name="Text Placeholder 5">
            <a:extLst>
              <a:ext uri="{FF2B5EF4-FFF2-40B4-BE49-F238E27FC236}">
                <a16:creationId xmlns:a16="http://schemas.microsoft.com/office/drawing/2014/main" id="{152D264B-C90B-4196-90E7-3AF5EEFF2A60}"/>
              </a:ext>
            </a:extLst>
          </p:cNvPr>
          <p:cNvSpPr>
            <a:spLocks noGrp="1"/>
          </p:cNvSpPr>
          <p:nvPr>
            <p:custDataLst>
              <p:tags r:id="rId48"/>
            </p:custDataLst>
          </p:nvPr>
        </p:nvSpPr>
        <p:spPr bwMode="auto">
          <a:xfrm>
            <a:off x="8078788" y="5351463"/>
            <a:ext cx="4492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spcBef>
                <a:spcPct val="0"/>
              </a:spcBef>
            </a:pPr>
            <a:fld id="{9EB4AE7C-6299-4720-A3DC-2F45DA44BF72}" type="datetime'''''''''''''''A''c''c''''''''''''e''''''''''''n''t 3'''''''">
              <a:rPr lang="nl-NL" altLang="en-US" sz="1000" smtClean="0">
                <a:solidFill>
                  <a:schemeClr val="tx1"/>
                </a:solidFill>
              </a:rPr>
              <a:pPr/>
              <a:t>Accent 3</a:t>
            </a:fld>
            <a:endParaRPr lang="nl-NL" sz="1000" noProof="0" dirty="0">
              <a:solidFill>
                <a:schemeClr val="tx1"/>
              </a:solidFill>
              <a:latin typeface="+mn-lt"/>
            </a:endParaRPr>
          </a:p>
        </p:txBody>
      </p:sp>
      <p:sp>
        <p:nvSpPr>
          <p:cNvPr id="277" name="Text Placeholder 5">
            <a:extLst>
              <a:ext uri="{FF2B5EF4-FFF2-40B4-BE49-F238E27FC236}">
                <a16:creationId xmlns:a16="http://schemas.microsoft.com/office/drawing/2014/main" id="{4B9982FA-94CE-476E-98B9-AED20350F85D}"/>
              </a:ext>
            </a:extLst>
          </p:cNvPr>
          <p:cNvSpPr>
            <a:spLocks noGrp="1"/>
          </p:cNvSpPr>
          <p:nvPr>
            <p:custDataLst>
              <p:tags r:id="rId49"/>
            </p:custDataLst>
          </p:nvPr>
        </p:nvSpPr>
        <p:spPr bwMode="gray">
          <a:xfrm>
            <a:off x="6770687" y="5299075"/>
            <a:ext cx="165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4E22E206-F57A-41E9-A0C5-C9516133A69A}" type="datetime'''''''''''2''''4'''''''">
              <a:rPr lang="nl-NL" altLang="en-US" sz="1000" b="1" smtClean="0">
                <a:solidFill>
                  <a:schemeClr val="tx1"/>
                </a:solidFill>
              </a:rPr>
              <a:pPr/>
              <a:t>24</a:t>
            </a:fld>
            <a:endParaRPr lang="nl-NL" sz="1000" b="1" noProof="0" dirty="0">
              <a:solidFill>
                <a:schemeClr val="tx1"/>
              </a:solidFill>
              <a:latin typeface="+mn-lt"/>
            </a:endParaRPr>
          </a:p>
        </p:txBody>
      </p:sp>
      <p:sp>
        <p:nvSpPr>
          <p:cNvPr id="280" name="Text Placeholder 5">
            <a:extLst>
              <a:ext uri="{FF2B5EF4-FFF2-40B4-BE49-F238E27FC236}">
                <a16:creationId xmlns:a16="http://schemas.microsoft.com/office/drawing/2014/main" id="{4B9982FA-94CE-476E-98B9-AED20350F85D}"/>
              </a:ext>
            </a:extLst>
          </p:cNvPr>
          <p:cNvSpPr>
            <a:spLocks noGrp="1"/>
          </p:cNvSpPr>
          <p:nvPr>
            <p:custDataLst>
              <p:tags r:id="rId50"/>
            </p:custDataLst>
          </p:nvPr>
        </p:nvSpPr>
        <p:spPr bwMode="gray">
          <a:xfrm>
            <a:off x="7262813" y="5200650"/>
            <a:ext cx="1682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A23824D3-BF9F-4CD9-B417-1B094B1FADB3}" type="datetime'''''''''''''''2''''''9'''''''">
              <a:rPr lang="nl-NL" altLang="en-US" sz="1000" b="1" smtClean="0">
                <a:solidFill>
                  <a:schemeClr val="tx1"/>
                </a:solidFill>
              </a:rPr>
              <a:pPr/>
              <a:t>29</a:t>
            </a:fld>
            <a:endParaRPr lang="nl-NL" sz="1000" b="1" noProof="0" dirty="0">
              <a:solidFill>
                <a:schemeClr val="tx1"/>
              </a:solidFill>
              <a:latin typeface="+mn-lt"/>
            </a:endParaRPr>
          </a:p>
        </p:txBody>
      </p:sp>
      <p:sp>
        <p:nvSpPr>
          <p:cNvPr id="282" name="Text Placeholder 5">
            <a:extLst>
              <a:ext uri="{FF2B5EF4-FFF2-40B4-BE49-F238E27FC236}">
                <a16:creationId xmlns:a16="http://schemas.microsoft.com/office/drawing/2014/main" id="{4B9982FA-94CE-476E-98B9-AED20350F85D}"/>
              </a:ext>
            </a:extLst>
          </p:cNvPr>
          <p:cNvSpPr>
            <a:spLocks noGrp="1"/>
          </p:cNvSpPr>
          <p:nvPr>
            <p:custDataLst>
              <p:tags r:id="rId51"/>
            </p:custDataLst>
          </p:nvPr>
        </p:nvSpPr>
        <p:spPr bwMode="gray">
          <a:xfrm>
            <a:off x="7758113" y="4859338"/>
            <a:ext cx="1635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64282B52-8B58-4500-8470-1B125670156B}" type="datetime'''''''''''''''4''''''''''''''''''''''''''''3'''''''">
              <a:rPr lang="nl-NL" altLang="en-US" sz="1000" b="1" smtClean="0">
                <a:solidFill>
                  <a:schemeClr val="tx1"/>
                </a:solidFill>
              </a:rPr>
              <a:pPr/>
              <a:t>43</a:t>
            </a:fld>
            <a:endParaRPr lang="nl-NL" sz="1000" b="1" noProof="0" dirty="0">
              <a:solidFill>
                <a:schemeClr val="tx1"/>
              </a:solidFill>
              <a:latin typeface="+mn-lt"/>
            </a:endParaRPr>
          </a:p>
        </p:txBody>
      </p:sp>
      <p:graphicFrame>
        <p:nvGraphicFramePr>
          <p:cNvPr id="150" name="Chart 149">
            <a:extLst>
              <a:ext uri="{FF2B5EF4-FFF2-40B4-BE49-F238E27FC236}">
                <a16:creationId xmlns:a16="http://schemas.microsoft.com/office/drawing/2014/main" id="{6268E69C-681D-4820-921D-644FFC612BF1}"/>
              </a:ext>
            </a:extLst>
          </p:cNvPr>
          <p:cNvGraphicFramePr/>
          <p:nvPr>
            <p:custDataLst>
              <p:tags r:id="rId52"/>
            </p:custDataLst>
          </p:nvPr>
        </p:nvGraphicFramePr>
        <p:xfrm>
          <a:off x="6911975" y="2305050"/>
          <a:ext cx="2441575" cy="1549400"/>
        </p:xfrm>
        <a:graphic>
          <a:graphicData uri="http://schemas.openxmlformats.org/drawingml/2006/chart">
            <c:chart xmlns:c="http://schemas.openxmlformats.org/drawingml/2006/chart" xmlns:r="http://schemas.openxmlformats.org/officeDocument/2006/relationships" r:id="rId108"/>
          </a:graphicData>
        </a:graphic>
      </p:graphicFrame>
      <p:sp>
        <p:nvSpPr>
          <p:cNvPr id="230" name="Text Placeholder 5">
            <a:extLst>
              <a:ext uri="{FF2B5EF4-FFF2-40B4-BE49-F238E27FC236}">
                <a16:creationId xmlns:a16="http://schemas.microsoft.com/office/drawing/2014/main" id="{43C8C534-F5F9-4D68-A459-271276557857}"/>
              </a:ext>
            </a:extLst>
          </p:cNvPr>
          <p:cNvSpPr>
            <a:spLocks noGrp="1"/>
          </p:cNvSpPr>
          <p:nvPr>
            <p:custDataLst>
              <p:tags r:id="rId53"/>
            </p:custDataLst>
          </p:nvPr>
        </p:nvSpPr>
        <p:spPr bwMode="auto">
          <a:xfrm>
            <a:off x="8737600" y="3822700"/>
            <a:ext cx="3079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854A9FB-CC23-433F-9163-91FB3239F215}" type="datetime'''''''2''''''0''2''''''''''''''''''''''''''''''''''''''''1'">
              <a:rPr lang="nl-NL" altLang="en-US" sz="1200" smtClean="0">
                <a:solidFill>
                  <a:schemeClr val="tx1"/>
                </a:solidFill>
              </a:rPr>
              <a:pPr/>
              <a:t>2021</a:t>
            </a:fld>
            <a:endParaRPr lang="nl-NL" sz="1200" noProof="0" dirty="0">
              <a:solidFill>
                <a:schemeClr val="tx1"/>
              </a:solidFill>
              <a:latin typeface="+mn-lt"/>
            </a:endParaRPr>
          </a:p>
        </p:txBody>
      </p:sp>
      <p:sp>
        <p:nvSpPr>
          <p:cNvPr id="232" name="Text Placeholder 5">
            <a:extLst>
              <a:ext uri="{FF2B5EF4-FFF2-40B4-BE49-F238E27FC236}">
                <a16:creationId xmlns:a16="http://schemas.microsoft.com/office/drawing/2014/main" id="{E3EC5BE9-2AAB-4BFD-9EF8-8D0D411DAD9D}"/>
              </a:ext>
            </a:extLst>
          </p:cNvPr>
          <p:cNvSpPr>
            <a:spLocks noGrp="1"/>
          </p:cNvSpPr>
          <p:nvPr>
            <p:custDataLst>
              <p:tags r:id="rId54"/>
            </p:custDataLst>
          </p:nvPr>
        </p:nvSpPr>
        <p:spPr bwMode="auto">
          <a:xfrm>
            <a:off x="9224963" y="3165475"/>
            <a:ext cx="22066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spcBef>
                <a:spcPct val="0"/>
              </a:spcBef>
            </a:pPr>
            <a:fld id="{6659A852-6AEA-4579-9E98-CBDB273708BB}" type="datetime'''A''''ccen''''t 2'' (ac''cent 1 zou o''ok'' kunn''''en)'">
              <a:rPr lang="nl-NL" altLang="en-US" sz="1200" smtClean="0">
                <a:solidFill>
                  <a:schemeClr val="tx1"/>
                </a:solidFill>
              </a:rPr>
              <a:pPr/>
              <a:t>Accent 2 (accent 1 zou ook kunnen)</a:t>
            </a:fld>
            <a:endParaRPr lang="nl-NL" sz="1200" noProof="0" dirty="0">
              <a:solidFill>
                <a:schemeClr val="tx1"/>
              </a:solidFill>
              <a:latin typeface="+mn-lt"/>
            </a:endParaRPr>
          </a:p>
        </p:txBody>
      </p:sp>
      <p:sp>
        <p:nvSpPr>
          <p:cNvPr id="226" name="Text Placeholder 5">
            <a:extLst>
              <a:ext uri="{FF2B5EF4-FFF2-40B4-BE49-F238E27FC236}">
                <a16:creationId xmlns:a16="http://schemas.microsoft.com/office/drawing/2014/main" id="{E48028D7-2F34-4AFD-BA3C-0AA8B3421C49}"/>
              </a:ext>
            </a:extLst>
          </p:cNvPr>
          <p:cNvSpPr>
            <a:spLocks noGrp="1"/>
          </p:cNvSpPr>
          <p:nvPr>
            <p:custDataLst>
              <p:tags r:id="rId55"/>
            </p:custDataLst>
          </p:nvPr>
        </p:nvSpPr>
        <p:spPr bwMode="auto">
          <a:xfrm>
            <a:off x="7975600" y="3822700"/>
            <a:ext cx="3143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D71DB68A-C77A-41C7-9534-FF9F136E6BDC}" type="datetime'''2''''''''''''''''''''''''0''20'''''''''''''''''''''''''''''">
              <a:rPr lang="nl-NL" altLang="en-US" sz="1200" smtClean="0">
                <a:solidFill>
                  <a:schemeClr val="tx1"/>
                </a:solidFill>
              </a:rPr>
              <a:pPr/>
              <a:t>2020</a:t>
            </a:fld>
            <a:endParaRPr lang="nl-NL" sz="1200" noProof="0" dirty="0">
              <a:solidFill>
                <a:schemeClr val="tx1"/>
              </a:solidFill>
              <a:latin typeface="+mn-lt"/>
            </a:endParaRPr>
          </a:p>
        </p:txBody>
      </p:sp>
      <p:sp>
        <p:nvSpPr>
          <p:cNvPr id="227" name="Text Placeholder 5">
            <a:extLst>
              <a:ext uri="{FF2B5EF4-FFF2-40B4-BE49-F238E27FC236}">
                <a16:creationId xmlns:a16="http://schemas.microsoft.com/office/drawing/2014/main" id="{F5D3E8F3-EA7A-40B6-9FEF-2F20E559650E}"/>
              </a:ext>
            </a:extLst>
          </p:cNvPr>
          <p:cNvSpPr>
            <a:spLocks noGrp="1"/>
          </p:cNvSpPr>
          <p:nvPr>
            <p:custDataLst>
              <p:tags r:id="rId56"/>
            </p:custDataLst>
          </p:nvPr>
        </p:nvSpPr>
        <p:spPr bwMode="gray">
          <a:xfrm>
            <a:off x="7418388" y="3100388"/>
            <a:ext cx="123825" cy="165100"/>
          </a:xfrm>
          <a:prstGeom prst="rect">
            <a:avLst/>
          </a:prstGeom>
          <a:solidFill>
            <a:schemeClr val="accent5"/>
          </a:solidFill>
          <a:ln>
            <a:noFill/>
          </a:ln>
        </p:spPr>
        <p:txBody>
          <a:bodyPr vert="horz" wrap="none" lIns="22225" tIns="0" rIns="22225"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D9FCA0B8-1A78-42EA-ACD8-452223FF2FB5}" type="datetime'''''''''''''''''''''''''''''''''4'''''''''''''''''''''''">
              <a:rPr lang="nl-NL" altLang="en-US" sz="1200" smtClean="0">
                <a:solidFill>
                  <a:schemeClr val="tx1"/>
                </a:solidFill>
                <a:effectLst/>
              </a:rPr>
              <a:pPr/>
              <a:t>4</a:t>
            </a:fld>
            <a:endParaRPr lang="nl-NL" sz="1200" noProof="0" dirty="0">
              <a:solidFill>
                <a:schemeClr val="tx1"/>
              </a:solidFill>
              <a:latin typeface="+mn-lt"/>
            </a:endParaRPr>
          </a:p>
        </p:txBody>
      </p:sp>
      <p:sp>
        <p:nvSpPr>
          <p:cNvPr id="228" name="Text Placeholder 5">
            <a:extLst>
              <a:ext uri="{FF2B5EF4-FFF2-40B4-BE49-F238E27FC236}">
                <a16:creationId xmlns:a16="http://schemas.microsoft.com/office/drawing/2014/main" id="{B0B658C8-6C28-4D2C-BA69-52A80491D575}"/>
              </a:ext>
            </a:extLst>
          </p:cNvPr>
          <p:cNvSpPr>
            <a:spLocks noGrp="1"/>
          </p:cNvSpPr>
          <p:nvPr>
            <p:custDataLst>
              <p:tags r:id="rId57"/>
            </p:custDataLst>
          </p:nvPr>
        </p:nvSpPr>
        <p:spPr bwMode="auto">
          <a:xfrm>
            <a:off x="9224962" y="2387600"/>
            <a:ext cx="5413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spcBef>
                <a:spcPct val="0"/>
              </a:spcBef>
            </a:pPr>
            <a:fld id="{8BD8551A-81CD-4D1A-9149-3C03C7814F05}" type="datetime'''A''''c''c''''''''''''''en''''''t ''''''''5'''''''''">
              <a:rPr lang="nl-NL" altLang="en-US" sz="1200" smtClean="0">
                <a:solidFill>
                  <a:schemeClr val="tx1"/>
                </a:solidFill>
              </a:rPr>
              <a:pPr/>
              <a:t>Accent 5</a:t>
            </a:fld>
            <a:endParaRPr lang="nl-NL" sz="1200" noProof="0" dirty="0">
              <a:solidFill>
                <a:schemeClr val="tx1"/>
              </a:solidFill>
              <a:latin typeface="+mn-lt"/>
            </a:endParaRPr>
          </a:p>
        </p:txBody>
      </p:sp>
      <p:sp>
        <p:nvSpPr>
          <p:cNvPr id="236" name="Text Placeholder 5">
            <a:extLst>
              <a:ext uri="{FF2B5EF4-FFF2-40B4-BE49-F238E27FC236}">
                <a16:creationId xmlns:a16="http://schemas.microsoft.com/office/drawing/2014/main" id="{BE5CE00F-BAB4-4935-B1AD-024D14E0E7C7}"/>
              </a:ext>
            </a:extLst>
          </p:cNvPr>
          <p:cNvSpPr>
            <a:spLocks noGrp="1"/>
          </p:cNvSpPr>
          <p:nvPr>
            <p:custDataLst>
              <p:tags r:id="rId58"/>
            </p:custDataLst>
          </p:nvPr>
        </p:nvSpPr>
        <p:spPr bwMode="gray">
          <a:xfrm>
            <a:off x="7966075" y="2979738"/>
            <a:ext cx="123825" cy="165100"/>
          </a:xfrm>
          <a:prstGeom prst="rect">
            <a:avLst/>
          </a:prstGeom>
          <a:solidFill>
            <a:schemeClr val="accent5"/>
          </a:solidFill>
          <a:ln>
            <a:noFill/>
          </a:ln>
        </p:spPr>
        <p:txBody>
          <a:bodyPr vert="horz" wrap="none" lIns="22225" tIns="0" rIns="22225"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D639CC5-97CD-466D-9D16-5C032B34FD5A}" type="datetime'''4'''''''''''''''''''''''''''''''''">
              <a:rPr lang="nl-NL" altLang="en-US" sz="1200" smtClean="0">
                <a:solidFill>
                  <a:schemeClr val="tx1"/>
                </a:solidFill>
                <a:effectLst/>
              </a:rPr>
              <a:pPr/>
              <a:t>4</a:t>
            </a:fld>
            <a:endParaRPr lang="nl-NL" sz="1200" noProof="0" dirty="0">
              <a:solidFill>
                <a:schemeClr val="tx1"/>
              </a:solidFill>
              <a:latin typeface="+mn-lt"/>
            </a:endParaRPr>
          </a:p>
        </p:txBody>
      </p:sp>
      <p:sp>
        <p:nvSpPr>
          <p:cNvPr id="229" name="Text Placeholder 5">
            <a:extLst>
              <a:ext uri="{FF2B5EF4-FFF2-40B4-BE49-F238E27FC236}">
                <a16:creationId xmlns:a16="http://schemas.microsoft.com/office/drawing/2014/main" id="{F5915E6F-DA29-41B5-9932-FE7C01EB008D}"/>
              </a:ext>
            </a:extLst>
          </p:cNvPr>
          <p:cNvSpPr>
            <a:spLocks noGrp="1"/>
          </p:cNvSpPr>
          <p:nvPr>
            <p:custDataLst>
              <p:tags r:id="rId59"/>
            </p:custDataLst>
          </p:nvPr>
        </p:nvSpPr>
        <p:spPr bwMode="auto">
          <a:xfrm>
            <a:off x="7218363" y="3822700"/>
            <a:ext cx="3127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B44D2DEC-BEDC-404A-8C3D-B1DE6BC90F3E}" type="datetime'''''''''''''''2''0''''1''''''''''''''9'''''''">
              <a:rPr lang="nl-NL" altLang="en-US" sz="1200" smtClean="0">
                <a:solidFill>
                  <a:schemeClr val="tx1"/>
                </a:solidFill>
              </a:rPr>
              <a:pPr/>
              <a:t>2019</a:t>
            </a:fld>
            <a:endParaRPr lang="nl-NL" sz="1200" noProof="0" dirty="0">
              <a:solidFill>
                <a:schemeClr val="tx1"/>
              </a:solidFill>
              <a:latin typeface="+mn-lt"/>
            </a:endParaRPr>
          </a:p>
        </p:txBody>
      </p:sp>
      <p:sp>
        <p:nvSpPr>
          <p:cNvPr id="231" name="Text Placeholder 5">
            <a:extLst>
              <a:ext uri="{FF2B5EF4-FFF2-40B4-BE49-F238E27FC236}">
                <a16:creationId xmlns:a16="http://schemas.microsoft.com/office/drawing/2014/main" id="{261EB569-8BFE-4310-899E-60B74869C07F}"/>
              </a:ext>
            </a:extLst>
          </p:cNvPr>
          <p:cNvSpPr>
            <a:spLocks noGrp="1"/>
          </p:cNvSpPr>
          <p:nvPr>
            <p:custDataLst>
              <p:tags r:id="rId60"/>
            </p:custDataLst>
          </p:nvPr>
        </p:nvSpPr>
        <p:spPr bwMode="auto">
          <a:xfrm>
            <a:off x="9224962" y="2603500"/>
            <a:ext cx="5413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spcBef>
                <a:spcPct val="0"/>
              </a:spcBef>
            </a:pPr>
            <a:fld id="{3D58D9CF-24F1-4B61-9EB2-B94D78173DD7}" type="datetime'''''A''''c''''''''''''''''''''''''c''''''e''''nt'' ''''''5'">
              <a:rPr lang="nl-NL" altLang="en-US" sz="1200" smtClean="0">
                <a:solidFill>
                  <a:schemeClr val="tx1"/>
                </a:solidFill>
              </a:rPr>
              <a:pPr/>
              <a:t>Accent 5</a:t>
            </a:fld>
            <a:endParaRPr lang="nl-NL" sz="1200" noProof="0" dirty="0">
              <a:solidFill>
                <a:schemeClr val="tx1"/>
              </a:solidFill>
              <a:latin typeface="+mn-lt"/>
            </a:endParaRPr>
          </a:p>
        </p:txBody>
      </p:sp>
      <p:sp>
        <p:nvSpPr>
          <p:cNvPr id="237" name="Text Placeholder 5">
            <a:extLst>
              <a:ext uri="{FF2B5EF4-FFF2-40B4-BE49-F238E27FC236}">
                <a16:creationId xmlns:a16="http://schemas.microsoft.com/office/drawing/2014/main" id="{AC6A0676-4FF1-4EA1-8324-E61FD628B462}"/>
              </a:ext>
            </a:extLst>
          </p:cNvPr>
          <p:cNvSpPr>
            <a:spLocks noGrp="1"/>
          </p:cNvSpPr>
          <p:nvPr>
            <p:custDataLst>
              <p:tags r:id="rId61"/>
            </p:custDataLst>
          </p:nvPr>
        </p:nvSpPr>
        <p:spPr bwMode="gray">
          <a:xfrm>
            <a:off x="8829675" y="2365375"/>
            <a:ext cx="123825" cy="165100"/>
          </a:xfrm>
          <a:prstGeom prst="rect">
            <a:avLst/>
          </a:prstGeom>
          <a:solidFill>
            <a:schemeClr val="accent5"/>
          </a:solidFill>
          <a:ln>
            <a:noFill/>
          </a:ln>
        </p:spPr>
        <p:txBody>
          <a:bodyPr vert="horz" wrap="none" lIns="22225" tIns="0" rIns="22225"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D7FCBA1E-B66A-49C7-83C0-07414D4F8899}" type="datetime'''''''''''''''''''''''4'''''''''''''''''">
              <a:rPr lang="nl-NL" altLang="en-US" sz="1200" smtClean="0">
                <a:solidFill>
                  <a:schemeClr val="tx1"/>
                </a:solidFill>
                <a:effectLst/>
              </a:rPr>
              <a:pPr/>
              <a:t>4</a:t>
            </a:fld>
            <a:endParaRPr lang="nl-NL" sz="1200" noProof="0" dirty="0">
              <a:solidFill>
                <a:schemeClr val="tx1"/>
              </a:solidFill>
              <a:latin typeface="+mn-lt"/>
            </a:endParaRPr>
          </a:p>
        </p:txBody>
      </p:sp>
      <p:sp>
        <p:nvSpPr>
          <p:cNvPr id="233" name="Text Placeholder 5">
            <a:extLst>
              <a:ext uri="{FF2B5EF4-FFF2-40B4-BE49-F238E27FC236}">
                <a16:creationId xmlns:a16="http://schemas.microsoft.com/office/drawing/2014/main" id="{A7EA462C-A90F-4146-BBA3-B439958DA990}"/>
              </a:ext>
            </a:extLst>
          </p:cNvPr>
          <p:cNvSpPr>
            <a:spLocks noGrp="1"/>
          </p:cNvSpPr>
          <p:nvPr>
            <p:custDataLst>
              <p:tags r:id="rId62"/>
            </p:custDataLst>
          </p:nvPr>
        </p:nvSpPr>
        <p:spPr bwMode="gray">
          <a:xfrm>
            <a:off x="7277100" y="2935288"/>
            <a:ext cx="1936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80C642AB-9815-4FC4-865F-EC1675A29C69}" type="datetime'''''''''''''''2''''2'''''''''''''">
              <a:rPr lang="nl-NL" altLang="en-US" sz="1200" b="1" smtClean="0">
                <a:solidFill>
                  <a:schemeClr val="tx1"/>
                </a:solidFill>
              </a:rPr>
              <a:pPr/>
              <a:t>22</a:t>
            </a:fld>
            <a:endParaRPr lang="nl-NL" sz="1200" b="1" noProof="0" dirty="0">
              <a:solidFill>
                <a:schemeClr val="tx1"/>
              </a:solidFill>
              <a:latin typeface="+mn-lt"/>
            </a:endParaRPr>
          </a:p>
        </p:txBody>
      </p:sp>
      <p:sp>
        <p:nvSpPr>
          <p:cNvPr id="234" name="Text Placeholder 5">
            <a:extLst>
              <a:ext uri="{FF2B5EF4-FFF2-40B4-BE49-F238E27FC236}">
                <a16:creationId xmlns:a16="http://schemas.microsoft.com/office/drawing/2014/main" id="{62075FCC-6378-42AC-A0C3-850460823257}"/>
              </a:ext>
            </a:extLst>
          </p:cNvPr>
          <p:cNvSpPr>
            <a:spLocks noGrp="1"/>
          </p:cNvSpPr>
          <p:nvPr>
            <p:custDataLst>
              <p:tags r:id="rId63"/>
            </p:custDataLst>
          </p:nvPr>
        </p:nvSpPr>
        <p:spPr bwMode="gray">
          <a:xfrm>
            <a:off x="8035925" y="2655888"/>
            <a:ext cx="1936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25916B8B-4FB8-484D-AF90-881D5CE252CA}" type="datetime'''''''''''''''''''''31'''''''''''">
              <a:rPr lang="nl-NL" altLang="en-US" sz="1200" b="1" smtClean="0">
                <a:solidFill>
                  <a:schemeClr val="tx1"/>
                </a:solidFill>
              </a:rPr>
              <a:pPr/>
              <a:t>31</a:t>
            </a:fld>
            <a:endParaRPr lang="nl-NL" sz="1200" b="1" noProof="0" dirty="0">
              <a:solidFill>
                <a:schemeClr val="tx1"/>
              </a:solidFill>
              <a:latin typeface="+mn-lt"/>
            </a:endParaRPr>
          </a:p>
        </p:txBody>
      </p:sp>
      <p:sp>
        <p:nvSpPr>
          <p:cNvPr id="235" name="Text Placeholder 5">
            <a:extLst>
              <a:ext uri="{FF2B5EF4-FFF2-40B4-BE49-F238E27FC236}">
                <a16:creationId xmlns:a16="http://schemas.microsoft.com/office/drawing/2014/main" id="{5EE9BCF6-620D-4B97-8278-82FF92F22172}"/>
              </a:ext>
            </a:extLst>
          </p:cNvPr>
          <p:cNvSpPr>
            <a:spLocks noGrp="1"/>
          </p:cNvSpPr>
          <p:nvPr>
            <p:custDataLst>
              <p:tags r:id="rId64"/>
            </p:custDataLst>
          </p:nvPr>
        </p:nvSpPr>
        <p:spPr bwMode="gray">
          <a:xfrm>
            <a:off x="8786813" y="2197100"/>
            <a:ext cx="2095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4C742473-D30A-462E-9A37-A71F6F960000}" type="datetime'''''''4''''''''''''''''''''''''''''''''''''''''''6'''''">
              <a:rPr lang="nl-NL" altLang="en-US" sz="1200" b="1" smtClean="0">
                <a:solidFill>
                  <a:schemeClr val="tx1"/>
                </a:solidFill>
              </a:rPr>
              <a:pPr/>
              <a:t>46</a:t>
            </a:fld>
            <a:endParaRPr lang="nl-NL" sz="1200" b="1" noProof="0" dirty="0">
              <a:solidFill>
                <a:schemeClr val="tx1"/>
              </a:solidFill>
              <a:latin typeface="+mn-lt"/>
            </a:endParaRPr>
          </a:p>
        </p:txBody>
      </p:sp>
      <p:sp>
        <p:nvSpPr>
          <p:cNvPr id="425" name="TextBox 424">
            <a:extLst>
              <a:ext uri="{FF2B5EF4-FFF2-40B4-BE49-F238E27FC236}">
                <a16:creationId xmlns:a16="http://schemas.microsoft.com/office/drawing/2014/main" id="{8E15950A-EE93-4109-B57F-93B55FE52E19}"/>
              </a:ext>
            </a:extLst>
          </p:cNvPr>
          <p:cNvSpPr txBox="1"/>
          <p:nvPr/>
        </p:nvSpPr>
        <p:spPr>
          <a:xfrm>
            <a:off x="10600136" y="4603771"/>
            <a:ext cx="914400" cy="225425"/>
          </a:xfrm>
          <a:prstGeom prst="rect">
            <a:avLst/>
          </a:prstGeom>
        </p:spPr>
        <p:txBody>
          <a:bodyPr vert="horz" wrap="none" lIns="91440" tIns="45720" rIns="91440" bIns="45720" rtlCol="0" anchor="ctr">
            <a:noAutofit/>
          </a:bodyPr>
          <a:lstStyle/>
          <a:p>
            <a:pPr marL="0" indent="0" algn="l">
              <a:buNone/>
            </a:pPr>
            <a:r>
              <a:rPr lang="nl-NL" sz="1000" dirty="0" err="1">
                <a:latin typeface="+mj-lt"/>
              </a:rPr>
              <a:t>Grey</a:t>
            </a:r>
            <a:r>
              <a:rPr lang="nl-NL" sz="1000" dirty="0">
                <a:latin typeface="+mj-lt"/>
              </a:rPr>
              <a:t> 5</a:t>
            </a:r>
            <a:endParaRPr lang="nl-NL" sz="1000" noProof="0" dirty="0">
              <a:latin typeface="+mj-lt"/>
            </a:endParaRPr>
          </a:p>
        </p:txBody>
      </p:sp>
      <p:sp>
        <p:nvSpPr>
          <p:cNvPr id="426" name="TextBox 425">
            <a:extLst>
              <a:ext uri="{FF2B5EF4-FFF2-40B4-BE49-F238E27FC236}">
                <a16:creationId xmlns:a16="http://schemas.microsoft.com/office/drawing/2014/main" id="{0365B5D3-AD95-4615-A741-5E3BC12CF824}"/>
              </a:ext>
            </a:extLst>
          </p:cNvPr>
          <p:cNvSpPr txBox="1"/>
          <p:nvPr/>
        </p:nvSpPr>
        <p:spPr>
          <a:xfrm>
            <a:off x="10600136" y="4706937"/>
            <a:ext cx="914400" cy="225425"/>
          </a:xfrm>
          <a:prstGeom prst="rect">
            <a:avLst/>
          </a:prstGeom>
        </p:spPr>
        <p:txBody>
          <a:bodyPr vert="horz" wrap="none" lIns="91440" tIns="45720" rIns="91440" bIns="45720" rtlCol="0" anchor="ctr">
            <a:noAutofit/>
          </a:bodyPr>
          <a:lstStyle/>
          <a:p>
            <a:pPr marL="0" indent="0" algn="l">
              <a:buNone/>
            </a:pPr>
            <a:r>
              <a:rPr lang="nl-NL" sz="1000" dirty="0" err="1">
                <a:latin typeface="+mj-lt"/>
              </a:rPr>
              <a:t>Grey</a:t>
            </a:r>
            <a:r>
              <a:rPr lang="nl-NL" sz="1000" dirty="0">
                <a:latin typeface="+mj-lt"/>
              </a:rPr>
              <a:t> 4</a:t>
            </a:r>
            <a:endParaRPr lang="nl-NL" sz="1000" noProof="0" dirty="0">
              <a:latin typeface="+mj-lt"/>
            </a:endParaRPr>
          </a:p>
        </p:txBody>
      </p:sp>
      <p:sp>
        <p:nvSpPr>
          <p:cNvPr id="427" name="TextBox 426">
            <a:extLst>
              <a:ext uri="{FF2B5EF4-FFF2-40B4-BE49-F238E27FC236}">
                <a16:creationId xmlns:a16="http://schemas.microsoft.com/office/drawing/2014/main" id="{62902D09-B723-421D-9881-1B6F9D31A38A}"/>
              </a:ext>
            </a:extLst>
          </p:cNvPr>
          <p:cNvSpPr txBox="1"/>
          <p:nvPr/>
        </p:nvSpPr>
        <p:spPr>
          <a:xfrm>
            <a:off x="10600136" y="4806951"/>
            <a:ext cx="914400" cy="225425"/>
          </a:xfrm>
          <a:prstGeom prst="rect">
            <a:avLst/>
          </a:prstGeom>
        </p:spPr>
        <p:txBody>
          <a:bodyPr vert="horz" wrap="none" lIns="91440" tIns="45720" rIns="91440" bIns="45720" rtlCol="0" anchor="ctr">
            <a:noAutofit/>
          </a:bodyPr>
          <a:lstStyle/>
          <a:p>
            <a:pPr marL="0" indent="0" algn="l">
              <a:buNone/>
            </a:pPr>
            <a:r>
              <a:rPr lang="nl-NL" sz="1000" dirty="0" err="1">
                <a:latin typeface="+mj-lt"/>
              </a:rPr>
              <a:t>Grey</a:t>
            </a:r>
            <a:r>
              <a:rPr lang="nl-NL" sz="1000" dirty="0">
                <a:latin typeface="+mj-lt"/>
              </a:rPr>
              <a:t> 3</a:t>
            </a:r>
            <a:endParaRPr lang="nl-NL" sz="1000" noProof="0" dirty="0">
              <a:latin typeface="+mj-lt"/>
            </a:endParaRPr>
          </a:p>
        </p:txBody>
      </p:sp>
      <p:sp>
        <p:nvSpPr>
          <p:cNvPr id="428" name="TextBox 427">
            <a:extLst>
              <a:ext uri="{FF2B5EF4-FFF2-40B4-BE49-F238E27FC236}">
                <a16:creationId xmlns:a16="http://schemas.microsoft.com/office/drawing/2014/main" id="{C798DA41-6B02-4634-B10C-2D06BDF43FE3}"/>
              </a:ext>
            </a:extLst>
          </p:cNvPr>
          <p:cNvSpPr txBox="1"/>
          <p:nvPr/>
        </p:nvSpPr>
        <p:spPr>
          <a:xfrm>
            <a:off x="10600136" y="4945062"/>
            <a:ext cx="914400" cy="225425"/>
          </a:xfrm>
          <a:prstGeom prst="rect">
            <a:avLst/>
          </a:prstGeom>
        </p:spPr>
        <p:txBody>
          <a:bodyPr vert="horz" wrap="none" lIns="91440" tIns="45720" rIns="91440" bIns="45720" rtlCol="0" anchor="ctr">
            <a:noAutofit/>
          </a:bodyPr>
          <a:lstStyle/>
          <a:p>
            <a:pPr marL="0" indent="0" algn="l">
              <a:buNone/>
            </a:pPr>
            <a:r>
              <a:rPr lang="nl-NL" sz="1000" dirty="0">
                <a:latin typeface="+mj-lt"/>
              </a:rPr>
              <a:t>Accent 5</a:t>
            </a:r>
            <a:endParaRPr lang="nl-NL" sz="1000" noProof="0" dirty="0">
              <a:latin typeface="+mj-lt"/>
            </a:endParaRPr>
          </a:p>
        </p:txBody>
      </p:sp>
      <p:sp>
        <p:nvSpPr>
          <p:cNvPr id="429" name="TextBox 428">
            <a:extLst>
              <a:ext uri="{FF2B5EF4-FFF2-40B4-BE49-F238E27FC236}">
                <a16:creationId xmlns:a16="http://schemas.microsoft.com/office/drawing/2014/main" id="{747574A1-CAE2-4808-BF7D-76884A768EEF}"/>
              </a:ext>
            </a:extLst>
          </p:cNvPr>
          <p:cNvSpPr txBox="1"/>
          <p:nvPr/>
        </p:nvSpPr>
        <p:spPr>
          <a:xfrm>
            <a:off x="10600136" y="5094289"/>
            <a:ext cx="914400" cy="225425"/>
          </a:xfrm>
          <a:prstGeom prst="rect">
            <a:avLst/>
          </a:prstGeom>
        </p:spPr>
        <p:txBody>
          <a:bodyPr vert="horz" wrap="none" lIns="91440" tIns="45720" rIns="91440" bIns="45720" rtlCol="0" anchor="ctr">
            <a:noAutofit/>
          </a:bodyPr>
          <a:lstStyle/>
          <a:p>
            <a:pPr marL="0" indent="0" algn="l">
              <a:buNone/>
            </a:pPr>
            <a:r>
              <a:rPr lang="nl-NL" sz="1000" dirty="0">
                <a:latin typeface="+mj-lt"/>
              </a:rPr>
              <a:t>Accent 4</a:t>
            </a:r>
            <a:endParaRPr lang="nl-NL" sz="1000" noProof="0" dirty="0">
              <a:latin typeface="+mj-lt"/>
            </a:endParaRPr>
          </a:p>
        </p:txBody>
      </p:sp>
      <p:sp>
        <p:nvSpPr>
          <p:cNvPr id="430" name="TextBox 429">
            <a:extLst>
              <a:ext uri="{FF2B5EF4-FFF2-40B4-BE49-F238E27FC236}">
                <a16:creationId xmlns:a16="http://schemas.microsoft.com/office/drawing/2014/main" id="{A180A52A-51F6-42B5-92FE-DAC6ABAE7212}"/>
              </a:ext>
            </a:extLst>
          </p:cNvPr>
          <p:cNvSpPr txBox="1"/>
          <p:nvPr/>
        </p:nvSpPr>
        <p:spPr>
          <a:xfrm>
            <a:off x="10600136" y="5256611"/>
            <a:ext cx="914400" cy="225425"/>
          </a:xfrm>
          <a:prstGeom prst="rect">
            <a:avLst/>
          </a:prstGeom>
        </p:spPr>
        <p:txBody>
          <a:bodyPr vert="horz" wrap="none" lIns="91440" tIns="45720" rIns="91440" bIns="45720" rtlCol="0" anchor="ctr">
            <a:noAutofit/>
          </a:bodyPr>
          <a:lstStyle/>
          <a:p>
            <a:pPr marL="0" indent="0" algn="l">
              <a:buNone/>
            </a:pPr>
            <a:r>
              <a:rPr lang="nl-NL" sz="1000" dirty="0">
                <a:latin typeface="+mj-lt"/>
              </a:rPr>
              <a:t>Accent 3</a:t>
            </a:r>
            <a:endParaRPr lang="nl-NL" sz="1000" noProof="0" dirty="0">
              <a:latin typeface="+mj-lt"/>
            </a:endParaRPr>
          </a:p>
        </p:txBody>
      </p:sp>
      <p:sp>
        <p:nvSpPr>
          <p:cNvPr id="431" name="TextBox 430">
            <a:extLst>
              <a:ext uri="{FF2B5EF4-FFF2-40B4-BE49-F238E27FC236}">
                <a16:creationId xmlns:a16="http://schemas.microsoft.com/office/drawing/2014/main" id="{CC0AC247-0FF5-4E23-AE40-D7C0E98527C6}"/>
              </a:ext>
            </a:extLst>
          </p:cNvPr>
          <p:cNvSpPr txBox="1"/>
          <p:nvPr/>
        </p:nvSpPr>
        <p:spPr>
          <a:xfrm>
            <a:off x="10600136" y="5477868"/>
            <a:ext cx="914400" cy="225425"/>
          </a:xfrm>
          <a:prstGeom prst="rect">
            <a:avLst/>
          </a:prstGeom>
        </p:spPr>
        <p:txBody>
          <a:bodyPr vert="horz" wrap="none" lIns="91440" tIns="45720" rIns="91440" bIns="45720" rtlCol="0" anchor="ctr">
            <a:noAutofit/>
          </a:bodyPr>
          <a:lstStyle/>
          <a:p>
            <a:pPr marL="0" indent="0" algn="l">
              <a:buNone/>
            </a:pPr>
            <a:r>
              <a:rPr lang="nl-NL" sz="1000" dirty="0">
                <a:latin typeface="+mj-lt"/>
              </a:rPr>
              <a:t>Accent 2</a:t>
            </a:r>
            <a:endParaRPr lang="nl-NL" sz="1000" noProof="0" dirty="0">
              <a:latin typeface="+mj-lt"/>
            </a:endParaRPr>
          </a:p>
        </p:txBody>
      </p:sp>
      <p:sp>
        <p:nvSpPr>
          <p:cNvPr id="432" name="TextBox 431">
            <a:extLst>
              <a:ext uri="{FF2B5EF4-FFF2-40B4-BE49-F238E27FC236}">
                <a16:creationId xmlns:a16="http://schemas.microsoft.com/office/drawing/2014/main" id="{5EACADA0-6139-4399-BAD5-B089C0A02C90}"/>
              </a:ext>
            </a:extLst>
          </p:cNvPr>
          <p:cNvSpPr txBox="1"/>
          <p:nvPr/>
        </p:nvSpPr>
        <p:spPr>
          <a:xfrm>
            <a:off x="10600136" y="5791896"/>
            <a:ext cx="914400" cy="225425"/>
          </a:xfrm>
          <a:prstGeom prst="rect">
            <a:avLst/>
          </a:prstGeom>
        </p:spPr>
        <p:txBody>
          <a:bodyPr vert="horz" wrap="none" lIns="91440" tIns="45720" rIns="91440" bIns="45720" rtlCol="0" anchor="ctr">
            <a:noAutofit/>
          </a:bodyPr>
          <a:lstStyle/>
          <a:p>
            <a:pPr marL="0" indent="0" algn="l">
              <a:buNone/>
            </a:pPr>
            <a:r>
              <a:rPr lang="nl-NL" sz="1000" dirty="0">
                <a:latin typeface="+mj-lt"/>
              </a:rPr>
              <a:t>Accent 1</a:t>
            </a:r>
            <a:endParaRPr lang="nl-NL" sz="1000" noProof="0" dirty="0">
              <a:latin typeface="+mj-lt"/>
            </a:endParaRPr>
          </a:p>
        </p:txBody>
      </p:sp>
      <p:sp>
        <p:nvSpPr>
          <p:cNvPr id="437" name="Rectangle 436">
            <a:extLst>
              <a:ext uri="{FF2B5EF4-FFF2-40B4-BE49-F238E27FC236}">
                <a16:creationId xmlns:a16="http://schemas.microsoft.com/office/drawing/2014/main" id="{751A505A-010A-4DA2-B1AC-CE187D1ECDB1}"/>
              </a:ext>
            </a:extLst>
          </p:cNvPr>
          <p:cNvSpPr/>
          <p:nvPr/>
        </p:nvSpPr>
        <p:spPr>
          <a:xfrm>
            <a:off x="658814" y="0"/>
            <a:ext cx="277500" cy="257175"/>
          </a:xfrm>
          <a:prstGeom prst="rect">
            <a:avLst/>
          </a:prstGeom>
          <a:solidFill>
            <a:srgbClr val="22777B"/>
          </a:solidFill>
        </p:spPr>
        <p:txBody>
          <a:bodyPr lIns="72000" rIns="72000" rtlCol="0" anchor="t">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38" name="Rectangle 437">
            <a:extLst>
              <a:ext uri="{FF2B5EF4-FFF2-40B4-BE49-F238E27FC236}">
                <a16:creationId xmlns:a16="http://schemas.microsoft.com/office/drawing/2014/main" id="{2089D2AC-5EF5-4136-8885-18F50AC9A8FC}"/>
              </a:ext>
            </a:extLst>
          </p:cNvPr>
          <p:cNvSpPr/>
          <p:nvPr/>
        </p:nvSpPr>
        <p:spPr>
          <a:xfrm>
            <a:off x="936314" y="0"/>
            <a:ext cx="3401346" cy="266699"/>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lIns="72000" rIns="72000" rtlCol="0" anchor="ctr">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Kleurgebruik</a:t>
            </a:r>
          </a:p>
        </p:txBody>
      </p:sp>
      <p:sp>
        <p:nvSpPr>
          <p:cNvPr id="3" name="Rectangle 2" hidden="1">
            <a:extLst>
              <a:ext uri="{FF2B5EF4-FFF2-40B4-BE49-F238E27FC236}">
                <a16:creationId xmlns:a16="http://schemas.microsoft.com/office/drawing/2014/main" id="{C62C25FD-BA23-4965-9D8D-D6C9030EF23E}"/>
              </a:ext>
            </a:extLst>
          </p:cNvPr>
          <p:cNvSpPr/>
          <p:nvPr/>
        </p:nvSpPr>
        <p:spPr>
          <a:xfrm>
            <a:off x="0" y="0"/>
            <a:ext cx="158750" cy="158750"/>
          </a:xfrm>
          <a:prstGeom prst="rect">
            <a:avLst/>
          </a:prstGeom>
          <a:solidFill>
            <a:srgbClr val="FF5C3E"/>
          </a:solidFill>
          <a:ln w="9525">
            <a:noFill/>
          </a:ln>
          <a:extLst>
            <a:ext uri="{91240B29-F687-4F45-9708-019B960494DF}">
              <a14:hiddenLine xmlns:a14="http://schemas.microsoft.com/office/drawing/2010/main" w="9525">
                <a:solidFill>
                  <a:schemeClr val="bg1">
                    <a:lumMod val="85000"/>
                  </a:schemeClr>
                </a:solidFill>
              </a14:hiddenLine>
            </a:ex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indent="0">
              <a:spcBef>
                <a:spcPts val="750"/>
              </a:spcBef>
              <a:buClr>
                <a:schemeClr val="tx2"/>
              </a:buClr>
              <a:buNone/>
            </a:pPr>
            <a:endParaRPr lang="nl-NL" sz="1200" strike="noStrike" normalizeH="0" noProof="0" dirty="0">
              <a:ln>
                <a:noFill/>
              </a:ln>
              <a:solidFill>
                <a:srgbClr val="FFFFFF"/>
              </a:solidFill>
              <a:effectLst/>
              <a:uLnTx/>
              <a:uFillTx/>
            </a:endParaRPr>
          </a:p>
        </p:txBody>
      </p:sp>
      <p:graphicFrame>
        <p:nvGraphicFramePr>
          <p:cNvPr id="153" name="Chart 152">
            <a:extLst>
              <a:ext uri="{FF2B5EF4-FFF2-40B4-BE49-F238E27FC236}">
                <a16:creationId xmlns:a16="http://schemas.microsoft.com/office/drawing/2014/main" id="{CF32D57E-4915-43D4-B51E-57AE6CC56B04}"/>
              </a:ext>
            </a:extLst>
          </p:cNvPr>
          <p:cNvGraphicFramePr/>
          <p:nvPr>
            <p:custDataLst>
              <p:tags r:id="rId65"/>
            </p:custDataLst>
          </p:nvPr>
        </p:nvGraphicFramePr>
        <p:xfrm>
          <a:off x="3632200" y="4594225"/>
          <a:ext cx="1643063" cy="1555750"/>
        </p:xfrm>
        <a:graphic>
          <a:graphicData uri="http://schemas.openxmlformats.org/drawingml/2006/chart">
            <c:chart xmlns:c="http://schemas.openxmlformats.org/drawingml/2006/chart" xmlns:r="http://schemas.openxmlformats.org/officeDocument/2006/relationships" r:id="rId109"/>
          </a:graphicData>
        </a:graphic>
      </p:graphicFrame>
      <p:cxnSp>
        <p:nvCxnSpPr>
          <p:cNvPr id="108" name="Straight Connector 107">
            <a:extLst>
              <a:ext uri="{FF2B5EF4-FFF2-40B4-BE49-F238E27FC236}">
                <a16:creationId xmlns:a16="http://schemas.microsoft.com/office/drawing/2014/main" id="{1FBE99D8-39F8-49AC-9A88-535EBC151D55}"/>
              </a:ext>
            </a:extLst>
          </p:cNvPr>
          <p:cNvCxnSpPr/>
          <p:nvPr>
            <p:custDataLst>
              <p:tags r:id="rId66"/>
            </p:custDataLst>
          </p:nvPr>
        </p:nvCxnSpPr>
        <p:spPr bwMode="auto">
          <a:xfrm flipH="1">
            <a:off x="4062413" y="5383213"/>
            <a:ext cx="50800" cy="0"/>
          </a:xfrm>
          <a:prstGeom prst="line">
            <a:avLst/>
          </a:prstGeom>
          <a:ln w="635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10" name="Text Placeholder 5">
            <a:extLst>
              <a:ext uri="{FF2B5EF4-FFF2-40B4-BE49-F238E27FC236}">
                <a16:creationId xmlns:a16="http://schemas.microsoft.com/office/drawing/2014/main" id="{F861EDBD-6F54-4ACD-9017-E2EA266D73DE}"/>
              </a:ext>
            </a:extLst>
          </p:cNvPr>
          <p:cNvSpPr>
            <a:spLocks noGrp="1"/>
          </p:cNvSpPr>
          <p:nvPr>
            <p:custDataLst>
              <p:tags r:id="rId67"/>
            </p:custDataLst>
          </p:nvPr>
        </p:nvSpPr>
        <p:spPr bwMode="gray">
          <a:xfrm>
            <a:off x="3841750" y="5265738"/>
            <a:ext cx="100013" cy="136525"/>
          </a:xfrm>
          <a:prstGeom prst="rect">
            <a:avLst/>
          </a:prstGeom>
          <a:solidFill>
            <a:srgbClr val="DBDBDB"/>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7F534B67-D6B7-4F8C-AB60-6EA177DE159E}" type="datetime'''''''''''''''2'''''''''''''''''''''''''''''''''''''''''''">
              <a:rPr lang="nl-NL" altLang="en-US" sz="1000" smtClean="0">
                <a:solidFill>
                  <a:schemeClr val="tx1"/>
                </a:solidFill>
                <a:effectLst/>
                <a:latin typeface="+mn-lt"/>
              </a:rPr>
              <a:pPr/>
              <a:t>2</a:t>
            </a:fld>
            <a:endParaRPr lang="nl-NL" sz="1000" noProof="0" dirty="0">
              <a:solidFill>
                <a:schemeClr val="tx1"/>
              </a:solidFill>
              <a:latin typeface="+mn-lt"/>
            </a:endParaRPr>
          </a:p>
        </p:txBody>
      </p:sp>
      <p:sp>
        <p:nvSpPr>
          <p:cNvPr id="117" name="Text Placeholder 5">
            <a:extLst>
              <a:ext uri="{FF2B5EF4-FFF2-40B4-BE49-F238E27FC236}">
                <a16:creationId xmlns:a16="http://schemas.microsoft.com/office/drawing/2014/main" id="{552B5F6B-C678-4815-B3F5-63A18C664C83}"/>
              </a:ext>
            </a:extLst>
          </p:cNvPr>
          <p:cNvSpPr>
            <a:spLocks noGrp="1"/>
          </p:cNvSpPr>
          <p:nvPr>
            <p:custDataLst>
              <p:tags r:id="rId68"/>
            </p:custDataLst>
          </p:nvPr>
        </p:nvSpPr>
        <p:spPr bwMode="auto">
          <a:xfrm>
            <a:off x="3825875" y="6110288"/>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E19F8CF-BDB7-4A51-97DA-A54FABD58DB6}" type="datetime'''''''''''''''''''''2''''''''''''''''0''1''''''''''''''''''9'">
              <a:rPr lang="nl-NL" altLang="en-US" sz="1000" smtClean="0">
                <a:solidFill>
                  <a:schemeClr val="tx1"/>
                </a:solidFill>
                <a:latin typeface="+mn-lt"/>
              </a:rPr>
              <a:pPr/>
              <a:t>2019</a:t>
            </a:fld>
            <a:endParaRPr lang="nl-NL" sz="1000" noProof="0" dirty="0">
              <a:solidFill>
                <a:schemeClr val="tx1"/>
              </a:solidFill>
              <a:latin typeface="+mn-lt"/>
            </a:endParaRPr>
          </a:p>
        </p:txBody>
      </p:sp>
      <p:sp>
        <p:nvSpPr>
          <p:cNvPr id="113" name="Text Placeholder 5">
            <a:extLst>
              <a:ext uri="{FF2B5EF4-FFF2-40B4-BE49-F238E27FC236}">
                <a16:creationId xmlns:a16="http://schemas.microsoft.com/office/drawing/2014/main" id="{FB117CA6-CC74-4438-BEEF-A474D2781A7D}"/>
              </a:ext>
            </a:extLst>
          </p:cNvPr>
          <p:cNvSpPr>
            <a:spLocks noGrp="1"/>
          </p:cNvSpPr>
          <p:nvPr>
            <p:custDataLst>
              <p:tags r:id="rId69"/>
            </p:custDataLst>
          </p:nvPr>
        </p:nvSpPr>
        <p:spPr bwMode="gray">
          <a:xfrm>
            <a:off x="3983038" y="5375275"/>
            <a:ext cx="92075" cy="136525"/>
          </a:xfrm>
          <a:prstGeom prst="rect">
            <a:avLst/>
          </a:prstGeom>
          <a:solidFill>
            <a:srgbClr val="8C8C8C"/>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4F31749C-E5EA-4FA2-BEF9-09DF9C4B2787}" type="datetime'''''''''3'''''''''''''''''''''''''''''''''''''''''''''''''''''">
              <a:rPr lang="nl-NL" altLang="en-US" sz="1000" smtClean="0">
                <a:solidFill>
                  <a:schemeClr val="bg1"/>
                </a:solidFill>
                <a:effectLst/>
                <a:latin typeface="+mn-lt"/>
              </a:rPr>
              <a:pPr/>
              <a:t>3</a:t>
            </a:fld>
            <a:endParaRPr lang="nl-NL" sz="1000" noProof="0" dirty="0">
              <a:solidFill>
                <a:schemeClr val="bg1"/>
              </a:solidFill>
              <a:latin typeface="+mn-lt"/>
            </a:endParaRPr>
          </a:p>
        </p:txBody>
      </p:sp>
      <p:sp>
        <p:nvSpPr>
          <p:cNvPr id="118" name="Text Placeholder 5">
            <a:extLst>
              <a:ext uri="{FF2B5EF4-FFF2-40B4-BE49-F238E27FC236}">
                <a16:creationId xmlns:a16="http://schemas.microsoft.com/office/drawing/2014/main" id="{9FDA79F6-19BD-4834-8EF9-3D448522158E}"/>
              </a:ext>
            </a:extLst>
          </p:cNvPr>
          <p:cNvSpPr>
            <a:spLocks noGrp="1"/>
          </p:cNvSpPr>
          <p:nvPr>
            <p:custDataLst>
              <p:tags r:id="rId70"/>
            </p:custDataLst>
          </p:nvPr>
        </p:nvSpPr>
        <p:spPr bwMode="gray">
          <a:xfrm>
            <a:off x="3841750" y="5435600"/>
            <a:ext cx="100013" cy="136525"/>
          </a:xfrm>
          <a:prstGeom prst="rect">
            <a:avLst/>
          </a:prstGeom>
          <a:solidFill>
            <a:schemeClr val="accent5"/>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D73BD78D-C065-45CF-969C-0C191C982E98}" type="datetime'''''''''2'''''''''''''''''''''''''''''''''''''">
              <a:rPr lang="nl-NL" altLang="en-US" sz="1000" smtClean="0">
                <a:solidFill>
                  <a:schemeClr val="tx1"/>
                </a:solidFill>
                <a:effectLst/>
                <a:latin typeface="+mn-lt"/>
              </a:rPr>
              <a:pPr/>
              <a:t>2</a:t>
            </a:fld>
            <a:endParaRPr lang="nl-NL" sz="1000" noProof="0" dirty="0">
              <a:solidFill>
                <a:schemeClr val="tx1"/>
              </a:solidFill>
              <a:latin typeface="+mn-lt"/>
            </a:endParaRPr>
          </a:p>
        </p:txBody>
      </p:sp>
      <p:sp>
        <p:nvSpPr>
          <p:cNvPr id="109" name="Text Placeholder 5">
            <a:extLst>
              <a:ext uri="{FF2B5EF4-FFF2-40B4-BE49-F238E27FC236}">
                <a16:creationId xmlns:a16="http://schemas.microsoft.com/office/drawing/2014/main" id="{AE6B1C8E-0D0A-47A4-B9C3-275B91A62409}"/>
              </a:ext>
            </a:extLst>
          </p:cNvPr>
          <p:cNvSpPr>
            <a:spLocks noGrp="1"/>
          </p:cNvSpPr>
          <p:nvPr>
            <p:custDataLst>
              <p:tags r:id="rId71"/>
            </p:custDataLst>
          </p:nvPr>
        </p:nvSpPr>
        <p:spPr bwMode="gray">
          <a:xfrm>
            <a:off x="4476750" y="5154613"/>
            <a:ext cx="92075" cy="136525"/>
          </a:xfrm>
          <a:prstGeom prst="rect">
            <a:avLst/>
          </a:prstGeom>
          <a:solidFill>
            <a:srgbClr val="AFAFAF"/>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8B37C9CB-A202-4CF3-870C-DBF78889027A}" type="datetime'''''''''''3'''''''''">
              <a:rPr lang="nl-NL" altLang="en-US" sz="1000" smtClean="0">
                <a:solidFill>
                  <a:schemeClr val="tx1"/>
                </a:solidFill>
                <a:effectLst/>
                <a:latin typeface="+mn-lt"/>
              </a:rPr>
              <a:pPr/>
              <a:t>3</a:t>
            </a:fld>
            <a:endParaRPr lang="nl-NL" sz="1000" noProof="0" dirty="0">
              <a:solidFill>
                <a:schemeClr val="tx1"/>
              </a:solidFill>
              <a:latin typeface="+mn-lt"/>
            </a:endParaRPr>
          </a:p>
        </p:txBody>
      </p:sp>
      <p:sp>
        <p:nvSpPr>
          <p:cNvPr id="119" name="Text Placeholder 5">
            <a:extLst>
              <a:ext uri="{FF2B5EF4-FFF2-40B4-BE49-F238E27FC236}">
                <a16:creationId xmlns:a16="http://schemas.microsoft.com/office/drawing/2014/main" id="{F7325F2D-CEC5-4858-A62C-63E361E2BDE6}"/>
              </a:ext>
            </a:extLst>
          </p:cNvPr>
          <p:cNvSpPr>
            <a:spLocks noGrp="1"/>
          </p:cNvSpPr>
          <p:nvPr>
            <p:custDataLst>
              <p:tags r:id="rId72"/>
            </p:custDataLst>
          </p:nvPr>
        </p:nvSpPr>
        <p:spPr bwMode="gray">
          <a:xfrm>
            <a:off x="3841750" y="5632450"/>
            <a:ext cx="100013" cy="136525"/>
          </a:xfrm>
          <a:prstGeom prst="rect">
            <a:avLst/>
          </a:prstGeom>
          <a:solidFill>
            <a:schemeClr val="accent3"/>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622C29F-588D-4A66-94F1-4B4A785DB079}" type="datetime'''''''''''''4'''''''">
              <a:rPr lang="nl-NL" altLang="en-US" sz="1000" smtClean="0">
                <a:solidFill>
                  <a:schemeClr val="tx1"/>
                </a:solidFill>
                <a:effectLst/>
                <a:latin typeface="+mn-lt"/>
              </a:rPr>
              <a:pPr/>
              <a:t>4</a:t>
            </a:fld>
            <a:endParaRPr lang="nl-NL" sz="1000" noProof="0" dirty="0">
              <a:solidFill>
                <a:schemeClr val="tx1"/>
              </a:solidFill>
              <a:latin typeface="+mn-lt"/>
            </a:endParaRPr>
          </a:p>
        </p:txBody>
      </p:sp>
      <p:sp>
        <p:nvSpPr>
          <p:cNvPr id="114" name="Text Placeholder 5">
            <a:extLst>
              <a:ext uri="{FF2B5EF4-FFF2-40B4-BE49-F238E27FC236}">
                <a16:creationId xmlns:a16="http://schemas.microsoft.com/office/drawing/2014/main" id="{1A059DE5-5D52-4007-8F1F-3B4D63C1B9D4}"/>
              </a:ext>
            </a:extLst>
          </p:cNvPr>
          <p:cNvSpPr>
            <a:spLocks noGrp="1"/>
          </p:cNvSpPr>
          <p:nvPr>
            <p:custDataLst>
              <p:tags r:id="rId73"/>
            </p:custDataLst>
          </p:nvPr>
        </p:nvSpPr>
        <p:spPr bwMode="gray">
          <a:xfrm>
            <a:off x="4338638" y="5081588"/>
            <a:ext cx="92075" cy="136525"/>
          </a:xfrm>
          <a:prstGeom prst="rect">
            <a:avLst/>
          </a:prstGeom>
          <a:solidFill>
            <a:srgbClr val="DBDBDB"/>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8C730C7C-3593-4DD6-ABDE-E25E41F56908}" type="datetime'''''''''''3'''''''''''''''">
              <a:rPr lang="nl-NL" altLang="en-US" sz="1000" smtClean="0">
                <a:solidFill>
                  <a:schemeClr val="tx1"/>
                </a:solidFill>
                <a:effectLst/>
                <a:latin typeface="+mn-lt"/>
              </a:rPr>
              <a:pPr/>
              <a:t>3</a:t>
            </a:fld>
            <a:endParaRPr lang="nl-NL" sz="1000" noProof="0" dirty="0">
              <a:solidFill>
                <a:schemeClr val="tx1"/>
              </a:solidFill>
              <a:latin typeface="+mn-lt"/>
            </a:endParaRPr>
          </a:p>
        </p:txBody>
      </p:sp>
      <p:sp>
        <p:nvSpPr>
          <p:cNvPr id="121" name="Text Placeholder 5">
            <a:extLst>
              <a:ext uri="{FF2B5EF4-FFF2-40B4-BE49-F238E27FC236}">
                <a16:creationId xmlns:a16="http://schemas.microsoft.com/office/drawing/2014/main" id="{5534521F-0A6D-4839-9B80-861C2D5A71C2}"/>
              </a:ext>
            </a:extLst>
          </p:cNvPr>
          <p:cNvSpPr>
            <a:spLocks noGrp="1"/>
          </p:cNvSpPr>
          <p:nvPr>
            <p:custDataLst>
              <p:tags r:id="rId74"/>
            </p:custDataLst>
          </p:nvPr>
        </p:nvSpPr>
        <p:spPr bwMode="gray">
          <a:xfrm>
            <a:off x="4337050" y="5245100"/>
            <a:ext cx="95250" cy="136525"/>
          </a:xfrm>
          <a:prstGeom prst="rect">
            <a:avLst/>
          </a:prstGeom>
          <a:solidFill>
            <a:srgbClr val="8C8C8C"/>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8942316C-7E08-4C53-A754-C4C9439BE8F3}" type="datetime'''5'''''''''''''''''''''''''''''''">
              <a:rPr lang="nl-NL" altLang="en-US" sz="1000" smtClean="0">
                <a:solidFill>
                  <a:schemeClr val="bg1"/>
                </a:solidFill>
                <a:effectLst/>
                <a:latin typeface="+mn-lt"/>
              </a:rPr>
              <a:pPr/>
              <a:t>5</a:t>
            </a:fld>
            <a:endParaRPr lang="nl-NL" sz="1000" noProof="0" dirty="0">
              <a:solidFill>
                <a:schemeClr val="bg1"/>
              </a:solidFill>
              <a:latin typeface="+mn-lt"/>
            </a:endParaRPr>
          </a:p>
        </p:txBody>
      </p:sp>
      <p:sp>
        <p:nvSpPr>
          <p:cNvPr id="122" name="Text Placeholder 5">
            <a:extLst>
              <a:ext uri="{FF2B5EF4-FFF2-40B4-BE49-F238E27FC236}">
                <a16:creationId xmlns:a16="http://schemas.microsoft.com/office/drawing/2014/main" id="{6CE6D07E-3029-485C-B665-C3444046C43A}"/>
              </a:ext>
            </a:extLst>
          </p:cNvPr>
          <p:cNvSpPr>
            <a:spLocks noGrp="1"/>
          </p:cNvSpPr>
          <p:nvPr>
            <p:custDataLst>
              <p:tags r:id="rId75"/>
            </p:custDataLst>
          </p:nvPr>
        </p:nvSpPr>
        <p:spPr bwMode="gray">
          <a:xfrm>
            <a:off x="4476750" y="5337175"/>
            <a:ext cx="92075" cy="136525"/>
          </a:xfrm>
          <a:prstGeom prst="rect">
            <a:avLst/>
          </a:prstGeom>
          <a:solidFill>
            <a:schemeClr val="accent5"/>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51EE02C-A070-4EFA-9D3F-2ACE1D9D0E68}" type="datetime'''''''''''''''''''''''3'''''''''''''''''''''">
              <a:rPr lang="nl-NL" altLang="en-US" sz="1000" smtClean="0">
                <a:solidFill>
                  <a:schemeClr val="tx1"/>
                </a:solidFill>
                <a:effectLst/>
                <a:latin typeface="+mn-lt"/>
              </a:rPr>
              <a:pPr/>
              <a:t>3</a:t>
            </a:fld>
            <a:endParaRPr lang="nl-NL" sz="1000" noProof="0" dirty="0">
              <a:solidFill>
                <a:schemeClr val="tx1"/>
              </a:solidFill>
              <a:latin typeface="+mn-lt"/>
            </a:endParaRPr>
          </a:p>
        </p:txBody>
      </p:sp>
      <p:sp>
        <p:nvSpPr>
          <p:cNvPr id="112" name="Text Placeholder 5">
            <a:extLst>
              <a:ext uri="{FF2B5EF4-FFF2-40B4-BE49-F238E27FC236}">
                <a16:creationId xmlns:a16="http://schemas.microsoft.com/office/drawing/2014/main" id="{54F3F2C4-7DA8-4B3D-BDFD-00444A04B2F3}"/>
              </a:ext>
            </a:extLst>
          </p:cNvPr>
          <p:cNvSpPr>
            <a:spLocks noGrp="1"/>
          </p:cNvSpPr>
          <p:nvPr>
            <p:custDataLst>
              <p:tags r:id="rId76"/>
            </p:custDataLst>
          </p:nvPr>
        </p:nvSpPr>
        <p:spPr bwMode="gray">
          <a:xfrm>
            <a:off x="4335463" y="5419725"/>
            <a:ext cx="100013" cy="136525"/>
          </a:xfrm>
          <a:prstGeom prst="rect">
            <a:avLst/>
          </a:prstGeom>
          <a:solidFill>
            <a:schemeClr val="accent4"/>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447B8477-8DCF-48EA-9352-088C5C59456B}" type="datetime'''4'''''''''''''''''''''''''''''''''''''''''''">
              <a:rPr lang="nl-NL" altLang="en-US" sz="1000" smtClean="0">
                <a:solidFill>
                  <a:schemeClr val="tx1"/>
                </a:solidFill>
                <a:effectLst/>
                <a:latin typeface="+mn-lt"/>
              </a:rPr>
              <a:pPr/>
              <a:t>4</a:t>
            </a:fld>
            <a:endParaRPr lang="nl-NL" sz="1000" noProof="0" dirty="0">
              <a:solidFill>
                <a:schemeClr val="tx1"/>
              </a:solidFill>
              <a:latin typeface="+mn-lt"/>
            </a:endParaRPr>
          </a:p>
        </p:txBody>
      </p:sp>
      <p:sp>
        <p:nvSpPr>
          <p:cNvPr id="111" name="Text Placeholder 5">
            <a:extLst>
              <a:ext uri="{FF2B5EF4-FFF2-40B4-BE49-F238E27FC236}">
                <a16:creationId xmlns:a16="http://schemas.microsoft.com/office/drawing/2014/main" id="{43956E3B-1765-49F4-979F-6976FF1D4E2F}"/>
              </a:ext>
            </a:extLst>
          </p:cNvPr>
          <p:cNvSpPr>
            <a:spLocks noGrp="1"/>
          </p:cNvSpPr>
          <p:nvPr>
            <p:custDataLst>
              <p:tags r:id="rId77"/>
            </p:custDataLst>
          </p:nvPr>
        </p:nvSpPr>
        <p:spPr bwMode="auto">
          <a:xfrm>
            <a:off x="4316413" y="6110288"/>
            <a:ext cx="2730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04B809AC-669F-450B-B0AE-575139061504}" type="datetime'20''''''''''''''''''''''''2''''0'''''''''''">
              <a:rPr lang="nl-NL" altLang="en-US" sz="1000" smtClean="0">
                <a:solidFill>
                  <a:schemeClr val="tx1"/>
                </a:solidFill>
                <a:latin typeface="+mn-lt"/>
              </a:rPr>
              <a:pPr/>
              <a:t>2020</a:t>
            </a:fld>
            <a:endParaRPr lang="nl-NL" sz="1000" noProof="0" dirty="0">
              <a:solidFill>
                <a:schemeClr val="tx1"/>
              </a:solidFill>
              <a:latin typeface="+mn-lt"/>
            </a:endParaRPr>
          </a:p>
        </p:txBody>
      </p:sp>
      <p:sp>
        <p:nvSpPr>
          <p:cNvPr id="116" name="Text Placeholder 5">
            <a:extLst>
              <a:ext uri="{FF2B5EF4-FFF2-40B4-BE49-F238E27FC236}">
                <a16:creationId xmlns:a16="http://schemas.microsoft.com/office/drawing/2014/main" id="{E23DD5D5-6656-4EB7-9E94-00EBF7CB60CB}"/>
              </a:ext>
            </a:extLst>
          </p:cNvPr>
          <p:cNvSpPr>
            <a:spLocks noGrp="1"/>
          </p:cNvSpPr>
          <p:nvPr>
            <p:custDataLst>
              <p:tags r:id="rId78"/>
            </p:custDataLst>
          </p:nvPr>
        </p:nvSpPr>
        <p:spPr bwMode="gray">
          <a:xfrm>
            <a:off x="4965700" y="4657725"/>
            <a:ext cx="100013" cy="136525"/>
          </a:xfrm>
          <a:prstGeom prst="rect">
            <a:avLst/>
          </a:prstGeom>
          <a:solidFill>
            <a:srgbClr val="DBDBDB"/>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7619B677-640F-41BD-A17B-B03B94E29C05}" type="datetime'''''''''''''''''''''''''''''4'''''">
              <a:rPr lang="nl-NL" altLang="en-US" sz="1000" smtClean="0">
                <a:solidFill>
                  <a:schemeClr val="tx1"/>
                </a:solidFill>
                <a:effectLst/>
                <a:latin typeface="+mn-lt"/>
              </a:rPr>
              <a:pPr/>
              <a:t>4</a:t>
            </a:fld>
            <a:endParaRPr lang="nl-NL" sz="1000" noProof="0" dirty="0">
              <a:solidFill>
                <a:schemeClr val="tx1"/>
              </a:solidFill>
              <a:latin typeface="+mn-lt"/>
            </a:endParaRPr>
          </a:p>
        </p:txBody>
      </p:sp>
      <p:sp>
        <p:nvSpPr>
          <p:cNvPr id="115" name="Text Placeholder 5">
            <a:extLst>
              <a:ext uri="{FF2B5EF4-FFF2-40B4-BE49-F238E27FC236}">
                <a16:creationId xmlns:a16="http://schemas.microsoft.com/office/drawing/2014/main" id="{A48EECBF-5DA2-4772-93D4-55A5477A0C3F}"/>
              </a:ext>
            </a:extLst>
          </p:cNvPr>
          <p:cNvSpPr>
            <a:spLocks noGrp="1"/>
          </p:cNvSpPr>
          <p:nvPr>
            <p:custDataLst>
              <p:tags r:id="rId79"/>
            </p:custDataLst>
          </p:nvPr>
        </p:nvSpPr>
        <p:spPr bwMode="gray">
          <a:xfrm>
            <a:off x="4827588" y="4757738"/>
            <a:ext cx="100013" cy="136525"/>
          </a:xfrm>
          <a:prstGeom prst="rect">
            <a:avLst/>
          </a:prstGeom>
          <a:solidFill>
            <a:srgbClr val="AFAFAF"/>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A02EA59B-FEC9-41F7-96BA-F3A77003D257}" type="datetime'''''''''''''''''''''4'''''''''''''''''">
              <a:rPr lang="nl-NL" altLang="en-US" sz="1000" smtClean="0">
                <a:solidFill>
                  <a:schemeClr val="tx1"/>
                </a:solidFill>
                <a:effectLst/>
                <a:latin typeface="+mn-lt"/>
              </a:rPr>
              <a:pPr/>
              <a:t>4</a:t>
            </a:fld>
            <a:endParaRPr lang="nl-NL" sz="1000" noProof="0" dirty="0">
              <a:solidFill>
                <a:schemeClr val="tx1"/>
              </a:solidFill>
              <a:latin typeface="+mn-lt"/>
            </a:endParaRPr>
          </a:p>
        </p:txBody>
      </p:sp>
      <p:sp>
        <p:nvSpPr>
          <p:cNvPr id="126" name="Text Placeholder 5">
            <a:extLst>
              <a:ext uri="{FF2B5EF4-FFF2-40B4-BE49-F238E27FC236}">
                <a16:creationId xmlns:a16="http://schemas.microsoft.com/office/drawing/2014/main" id="{F348D9B4-903A-4122-BA2D-92A30D62A302}"/>
              </a:ext>
            </a:extLst>
          </p:cNvPr>
          <p:cNvSpPr>
            <a:spLocks noGrp="1"/>
          </p:cNvSpPr>
          <p:nvPr>
            <p:custDataLst>
              <p:tags r:id="rId80"/>
            </p:custDataLst>
          </p:nvPr>
        </p:nvSpPr>
        <p:spPr bwMode="gray">
          <a:xfrm>
            <a:off x="4895850" y="5002213"/>
            <a:ext cx="100013" cy="136525"/>
          </a:xfrm>
          <a:prstGeom prst="rect">
            <a:avLst/>
          </a:prstGeom>
          <a:solidFill>
            <a:schemeClr val="accent5"/>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EED8B029-1C12-4729-809E-606FB7937472}" type="datetime'4'''''''''''''''''''''">
              <a:rPr lang="nl-NL" altLang="en-US" sz="1000" smtClean="0">
                <a:solidFill>
                  <a:schemeClr val="tx1"/>
                </a:solidFill>
                <a:effectLst/>
                <a:latin typeface="+mn-lt"/>
              </a:rPr>
              <a:pPr/>
              <a:t>4</a:t>
            </a:fld>
            <a:endParaRPr lang="nl-NL" sz="1000" noProof="0" dirty="0">
              <a:solidFill>
                <a:schemeClr val="tx1"/>
              </a:solidFill>
              <a:latin typeface="+mn-lt"/>
            </a:endParaRPr>
          </a:p>
        </p:txBody>
      </p:sp>
      <p:sp>
        <p:nvSpPr>
          <p:cNvPr id="123" name="Text Placeholder 5">
            <a:extLst>
              <a:ext uri="{FF2B5EF4-FFF2-40B4-BE49-F238E27FC236}">
                <a16:creationId xmlns:a16="http://schemas.microsoft.com/office/drawing/2014/main" id="{0FCB1E4E-1999-4745-8E02-BA31FDFDF7F0}"/>
              </a:ext>
            </a:extLst>
          </p:cNvPr>
          <p:cNvSpPr>
            <a:spLocks noGrp="1"/>
          </p:cNvSpPr>
          <p:nvPr>
            <p:custDataLst>
              <p:tags r:id="rId81"/>
            </p:custDataLst>
          </p:nvPr>
        </p:nvSpPr>
        <p:spPr bwMode="auto">
          <a:xfrm>
            <a:off x="4813300" y="6110288"/>
            <a:ext cx="2651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CE9E5BF8-D08A-4CF3-93F4-6EA3CC9960B9}" type="datetime'2''''''''''''''0''''''''''''''''''''''2''1'''''''''''''''''">
              <a:rPr lang="nl-NL" altLang="en-US" sz="1000" smtClean="0">
                <a:solidFill>
                  <a:schemeClr val="tx1"/>
                </a:solidFill>
                <a:latin typeface="+mn-lt"/>
              </a:rPr>
              <a:pPr/>
              <a:t>2021</a:t>
            </a:fld>
            <a:endParaRPr lang="nl-NL" sz="1000" noProof="0" dirty="0">
              <a:solidFill>
                <a:schemeClr val="tx1"/>
              </a:solidFill>
              <a:latin typeface="+mn-lt"/>
            </a:endParaRPr>
          </a:p>
        </p:txBody>
      </p:sp>
      <p:sp>
        <p:nvSpPr>
          <p:cNvPr id="124" name="Text Placeholder 5">
            <a:extLst>
              <a:ext uri="{FF2B5EF4-FFF2-40B4-BE49-F238E27FC236}">
                <a16:creationId xmlns:a16="http://schemas.microsoft.com/office/drawing/2014/main" id="{91F6BE68-6821-47A6-8033-FD80C3BE04D9}"/>
              </a:ext>
            </a:extLst>
          </p:cNvPr>
          <p:cNvSpPr>
            <a:spLocks noGrp="1"/>
          </p:cNvSpPr>
          <p:nvPr>
            <p:custDataLst>
              <p:tags r:id="rId82"/>
            </p:custDataLst>
          </p:nvPr>
        </p:nvSpPr>
        <p:spPr bwMode="gray">
          <a:xfrm>
            <a:off x="3879850" y="5129213"/>
            <a:ext cx="1603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CE9CE2C0-2992-413B-A612-DB28595AA13C}" type="datetime'''''''''''''''''''''''''''31'''''''">
              <a:rPr lang="nl-NL" altLang="en-US" sz="1000" b="1" smtClean="0">
                <a:solidFill>
                  <a:schemeClr val="tx1"/>
                </a:solidFill>
                <a:latin typeface="+mn-lt"/>
              </a:rPr>
              <a:pPr/>
              <a:t>31</a:t>
            </a:fld>
            <a:endParaRPr lang="nl-NL" sz="1000" b="1" noProof="0" dirty="0">
              <a:solidFill>
                <a:schemeClr val="tx1"/>
              </a:solidFill>
              <a:latin typeface="+mn-lt"/>
            </a:endParaRPr>
          </a:p>
        </p:txBody>
      </p:sp>
      <p:sp>
        <p:nvSpPr>
          <p:cNvPr id="120" name="Text Placeholder 5">
            <a:extLst>
              <a:ext uri="{FF2B5EF4-FFF2-40B4-BE49-F238E27FC236}">
                <a16:creationId xmlns:a16="http://schemas.microsoft.com/office/drawing/2014/main" id="{BBF46103-AF92-41FF-A3BA-409C8E63409D}"/>
              </a:ext>
            </a:extLst>
          </p:cNvPr>
          <p:cNvSpPr>
            <a:spLocks noGrp="1"/>
          </p:cNvSpPr>
          <p:nvPr>
            <p:custDataLst>
              <p:tags r:id="rId83"/>
            </p:custDataLst>
          </p:nvPr>
        </p:nvSpPr>
        <p:spPr bwMode="gray">
          <a:xfrm>
            <a:off x="4370388" y="4945063"/>
            <a:ext cx="166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D8302FD2-EA9B-4FAD-9E39-C271B7FE2385}" type="datetime'''''''''''''''''''''''''''''''''''39'''''''''''''">
              <a:rPr lang="nl-NL" altLang="en-US" sz="1000" b="1" smtClean="0">
                <a:solidFill>
                  <a:schemeClr val="tx1"/>
                </a:solidFill>
                <a:latin typeface="+mn-lt"/>
              </a:rPr>
              <a:pPr/>
              <a:t>39</a:t>
            </a:fld>
            <a:endParaRPr lang="nl-NL" sz="1000" b="1" noProof="0" dirty="0">
              <a:solidFill>
                <a:schemeClr val="tx1"/>
              </a:solidFill>
              <a:latin typeface="+mn-lt"/>
            </a:endParaRPr>
          </a:p>
        </p:txBody>
      </p:sp>
      <p:sp>
        <p:nvSpPr>
          <p:cNvPr id="125" name="Text Placeholder 5">
            <a:extLst>
              <a:ext uri="{FF2B5EF4-FFF2-40B4-BE49-F238E27FC236}">
                <a16:creationId xmlns:a16="http://schemas.microsoft.com/office/drawing/2014/main" id="{E31BB038-94D8-4E92-BAF0-E115EF03FE0F}"/>
              </a:ext>
            </a:extLst>
          </p:cNvPr>
          <p:cNvSpPr>
            <a:spLocks noGrp="1"/>
          </p:cNvSpPr>
          <p:nvPr>
            <p:custDataLst>
              <p:tags r:id="rId84"/>
            </p:custDataLst>
          </p:nvPr>
        </p:nvSpPr>
        <p:spPr bwMode="gray">
          <a:xfrm>
            <a:off x="4865688" y="4514850"/>
            <a:ext cx="1587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0980B440-EB17-4F6C-819B-AADE2F53D9FB}" type="datetime'''''''''''''''5''''7'''''''''''''''''">
              <a:rPr lang="nl-NL" altLang="en-US" sz="1000" b="1" smtClean="0">
                <a:solidFill>
                  <a:schemeClr val="tx1"/>
                </a:solidFill>
                <a:latin typeface="+mn-lt"/>
              </a:rPr>
              <a:pPr/>
              <a:t>57</a:t>
            </a:fld>
            <a:endParaRPr lang="nl-NL" sz="1000" b="1" noProof="0" dirty="0">
              <a:solidFill>
                <a:schemeClr val="tx1"/>
              </a:solidFill>
              <a:latin typeface="+mn-lt"/>
            </a:endParaRPr>
          </a:p>
        </p:txBody>
      </p:sp>
      <p:graphicFrame>
        <p:nvGraphicFramePr>
          <p:cNvPr id="154" name="Chart 153">
            <a:extLst>
              <a:ext uri="{FF2B5EF4-FFF2-40B4-BE49-F238E27FC236}">
                <a16:creationId xmlns:a16="http://schemas.microsoft.com/office/drawing/2014/main" id="{4D73E39B-B7A0-498F-9212-DC8E3EAFA880}"/>
              </a:ext>
            </a:extLst>
          </p:cNvPr>
          <p:cNvGraphicFramePr/>
          <p:nvPr>
            <p:custDataLst>
              <p:tags r:id="rId85"/>
            </p:custDataLst>
          </p:nvPr>
        </p:nvGraphicFramePr>
        <p:xfrm>
          <a:off x="969963" y="4594225"/>
          <a:ext cx="1643062" cy="1555750"/>
        </p:xfrm>
        <a:graphic>
          <a:graphicData uri="http://schemas.openxmlformats.org/drawingml/2006/chart">
            <c:chart xmlns:c="http://schemas.openxmlformats.org/drawingml/2006/chart" xmlns:r="http://schemas.openxmlformats.org/officeDocument/2006/relationships" r:id="rId110"/>
          </a:graphicData>
        </a:graphic>
      </p:graphicFrame>
      <p:sp>
        <p:nvSpPr>
          <p:cNvPr id="128" name="Text Placeholder 5">
            <a:extLst>
              <a:ext uri="{FF2B5EF4-FFF2-40B4-BE49-F238E27FC236}">
                <a16:creationId xmlns:a16="http://schemas.microsoft.com/office/drawing/2014/main" id="{B1E54DDC-334A-42B7-ADF3-BC24D8B8BB02}"/>
              </a:ext>
            </a:extLst>
          </p:cNvPr>
          <p:cNvSpPr>
            <a:spLocks noGrp="1"/>
          </p:cNvSpPr>
          <p:nvPr>
            <p:custDataLst>
              <p:tags r:id="rId86"/>
            </p:custDataLst>
          </p:nvPr>
        </p:nvSpPr>
        <p:spPr bwMode="gray">
          <a:xfrm>
            <a:off x="1814513" y="5337175"/>
            <a:ext cx="92075" cy="136525"/>
          </a:xfrm>
          <a:prstGeom prst="rect">
            <a:avLst/>
          </a:prstGeom>
          <a:solidFill>
            <a:schemeClr val="accent5"/>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828ECE5A-E3BD-4E0C-A6A7-CC425C8C5AE2}" type="datetime'''''3'''''''''''''''''''">
              <a:rPr lang="nl-NL" altLang="en-US" sz="1000" smtClean="0">
                <a:solidFill>
                  <a:schemeClr val="tx1"/>
                </a:solidFill>
                <a:effectLst/>
                <a:latin typeface="+mn-lt"/>
              </a:rPr>
              <a:pPr/>
              <a:t>3</a:t>
            </a:fld>
            <a:endParaRPr lang="nl-NL" sz="1000" noProof="0" dirty="0">
              <a:solidFill>
                <a:schemeClr val="tx1"/>
              </a:solidFill>
              <a:latin typeface="+mn-lt"/>
            </a:endParaRPr>
          </a:p>
        </p:txBody>
      </p:sp>
      <p:sp>
        <p:nvSpPr>
          <p:cNvPr id="130" name="Text Placeholder 5">
            <a:extLst>
              <a:ext uri="{FF2B5EF4-FFF2-40B4-BE49-F238E27FC236}">
                <a16:creationId xmlns:a16="http://schemas.microsoft.com/office/drawing/2014/main" id="{6FD074B7-84DB-4B05-A19D-774F4401355E}"/>
              </a:ext>
            </a:extLst>
          </p:cNvPr>
          <p:cNvSpPr>
            <a:spLocks noGrp="1"/>
          </p:cNvSpPr>
          <p:nvPr>
            <p:custDataLst>
              <p:tags r:id="rId87"/>
            </p:custDataLst>
          </p:nvPr>
        </p:nvSpPr>
        <p:spPr bwMode="gray">
          <a:xfrm>
            <a:off x="1179513" y="5435600"/>
            <a:ext cx="100013" cy="136525"/>
          </a:xfrm>
          <a:prstGeom prst="rect">
            <a:avLst/>
          </a:prstGeom>
          <a:solidFill>
            <a:schemeClr val="accent5"/>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AF729170-B802-4D45-AE6F-0F33DEF7979F}" type="datetime'''''''''''''''''''''''''''''''2'''''''''''''''''">
              <a:rPr lang="nl-NL" altLang="en-US" sz="1000" smtClean="0">
                <a:solidFill>
                  <a:schemeClr val="tx1"/>
                </a:solidFill>
                <a:effectLst/>
                <a:latin typeface="+mn-lt"/>
              </a:rPr>
              <a:pPr/>
              <a:t>2</a:t>
            </a:fld>
            <a:endParaRPr lang="nl-NL" sz="1000" noProof="0" dirty="0">
              <a:solidFill>
                <a:schemeClr val="tx1"/>
              </a:solidFill>
              <a:latin typeface="+mn-lt"/>
            </a:endParaRPr>
          </a:p>
        </p:txBody>
      </p:sp>
      <p:sp>
        <p:nvSpPr>
          <p:cNvPr id="132" name="Text Placeholder 5">
            <a:extLst>
              <a:ext uri="{FF2B5EF4-FFF2-40B4-BE49-F238E27FC236}">
                <a16:creationId xmlns:a16="http://schemas.microsoft.com/office/drawing/2014/main" id="{83D37B78-6C05-4809-946E-521BF13F8FEB}"/>
              </a:ext>
            </a:extLst>
          </p:cNvPr>
          <p:cNvSpPr>
            <a:spLocks noGrp="1"/>
          </p:cNvSpPr>
          <p:nvPr>
            <p:custDataLst>
              <p:tags r:id="rId88"/>
            </p:custDataLst>
          </p:nvPr>
        </p:nvSpPr>
        <p:spPr bwMode="auto">
          <a:xfrm>
            <a:off x="1163638" y="6110288"/>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A4B6EC75-6801-46B0-9518-7D182170AEC8}" type="datetime'''''''''''''''''''2''''''''''0''''''1''''9'''''">
              <a:rPr lang="nl-NL" altLang="en-US" sz="1000" smtClean="0">
                <a:solidFill>
                  <a:schemeClr val="tx1"/>
                </a:solidFill>
                <a:latin typeface="+mn-lt"/>
              </a:rPr>
              <a:pPr/>
              <a:t>2019</a:t>
            </a:fld>
            <a:endParaRPr lang="nl-NL" sz="1000" noProof="0" dirty="0">
              <a:solidFill>
                <a:schemeClr val="tx1"/>
              </a:solidFill>
              <a:latin typeface="+mn-lt"/>
            </a:endParaRPr>
          </a:p>
        </p:txBody>
      </p:sp>
      <p:sp>
        <p:nvSpPr>
          <p:cNvPr id="134" name="Text Placeholder 5">
            <a:extLst>
              <a:ext uri="{FF2B5EF4-FFF2-40B4-BE49-F238E27FC236}">
                <a16:creationId xmlns:a16="http://schemas.microsoft.com/office/drawing/2014/main" id="{9DBFC225-DD7B-4244-B671-F1225A84B697}"/>
              </a:ext>
            </a:extLst>
          </p:cNvPr>
          <p:cNvSpPr>
            <a:spLocks noGrp="1"/>
          </p:cNvSpPr>
          <p:nvPr>
            <p:custDataLst>
              <p:tags r:id="rId89"/>
            </p:custDataLst>
          </p:nvPr>
        </p:nvSpPr>
        <p:spPr bwMode="auto">
          <a:xfrm>
            <a:off x="2522538" y="5164138"/>
            <a:ext cx="4572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spcBef>
                <a:spcPct val="0"/>
              </a:spcBef>
            </a:pPr>
            <a:fld id="{514EDE57-21C6-4D6D-B9A0-0B870DC6CCA2}" type="datetime'A''''c''''''''''''''c''''''e''''''''''''nt'' ''4'''''''''''''">
              <a:rPr lang="nl-NL" altLang="en-US" sz="1000" smtClean="0">
                <a:solidFill>
                  <a:schemeClr val="tx1"/>
                </a:solidFill>
                <a:latin typeface="+mn-lt"/>
              </a:rPr>
              <a:pPr/>
              <a:t>Accent 4</a:t>
            </a:fld>
            <a:endParaRPr lang="nl-NL" sz="1000" noProof="0" dirty="0">
              <a:solidFill>
                <a:schemeClr val="tx1"/>
              </a:solidFill>
              <a:latin typeface="+mn-lt"/>
            </a:endParaRPr>
          </a:p>
        </p:txBody>
      </p:sp>
      <p:sp>
        <p:nvSpPr>
          <p:cNvPr id="141" name="Text Placeholder 5">
            <a:extLst>
              <a:ext uri="{FF2B5EF4-FFF2-40B4-BE49-F238E27FC236}">
                <a16:creationId xmlns:a16="http://schemas.microsoft.com/office/drawing/2014/main" id="{217E7F83-512B-49BB-8D53-0E2240941398}"/>
              </a:ext>
            </a:extLst>
          </p:cNvPr>
          <p:cNvSpPr>
            <a:spLocks noGrp="1"/>
          </p:cNvSpPr>
          <p:nvPr>
            <p:custDataLst>
              <p:tags r:id="rId90"/>
            </p:custDataLst>
          </p:nvPr>
        </p:nvSpPr>
        <p:spPr bwMode="gray">
          <a:xfrm>
            <a:off x="1179513" y="5632450"/>
            <a:ext cx="100013" cy="136525"/>
          </a:xfrm>
          <a:prstGeom prst="rect">
            <a:avLst/>
          </a:prstGeom>
          <a:solidFill>
            <a:schemeClr val="accent3"/>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E3670290-97F5-47AC-93C1-DB1F8304D6F8}" type="datetime'''''4'''''''''''''''''''''''''''''''''''''''''''">
              <a:rPr lang="nl-NL" altLang="en-US" sz="1000" smtClean="0">
                <a:solidFill>
                  <a:schemeClr val="tx1"/>
                </a:solidFill>
                <a:effectLst/>
                <a:latin typeface="+mn-lt"/>
              </a:rPr>
              <a:pPr/>
              <a:t>4</a:t>
            </a:fld>
            <a:endParaRPr lang="nl-NL" sz="1000" noProof="0" dirty="0">
              <a:solidFill>
                <a:schemeClr val="tx1"/>
              </a:solidFill>
              <a:latin typeface="+mn-lt"/>
            </a:endParaRPr>
          </a:p>
        </p:txBody>
      </p:sp>
      <p:sp>
        <p:nvSpPr>
          <p:cNvPr id="140" name="Text Placeholder 5">
            <a:extLst>
              <a:ext uri="{FF2B5EF4-FFF2-40B4-BE49-F238E27FC236}">
                <a16:creationId xmlns:a16="http://schemas.microsoft.com/office/drawing/2014/main" id="{B46CA722-C1F1-41B6-B5E8-88B8102B5931}"/>
              </a:ext>
            </a:extLst>
          </p:cNvPr>
          <p:cNvSpPr>
            <a:spLocks noGrp="1"/>
          </p:cNvSpPr>
          <p:nvPr>
            <p:custDataLst>
              <p:tags r:id="rId91"/>
            </p:custDataLst>
          </p:nvPr>
        </p:nvSpPr>
        <p:spPr bwMode="gray">
          <a:xfrm>
            <a:off x="2201863" y="4859338"/>
            <a:ext cx="1635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CEEFCB9-617A-4E85-9936-A7E4CF91C2B6}" type="datetime'''''4''''''''''''''''''''''''''''''3'''''''">
              <a:rPr lang="nl-NL" altLang="en-US" sz="1000" b="1" smtClean="0">
                <a:solidFill>
                  <a:schemeClr val="tx1"/>
                </a:solidFill>
                <a:latin typeface="+mn-lt"/>
              </a:rPr>
              <a:pPr/>
              <a:t>43</a:t>
            </a:fld>
            <a:endParaRPr lang="nl-NL" sz="1000" b="1" noProof="0" dirty="0">
              <a:solidFill>
                <a:schemeClr val="tx1"/>
              </a:solidFill>
              <a:latin typeface="+mn-lt"/>
            </a:endParaRPr>
          </a:p>
        </p:txBody>
      </p:sp>
      <p:sp>
        <p:nvSpPr>
          <p:cNvPr id="131" name="Text Placeholder 5">
            <a:extLst>
              <a:ext uri="{FF2B5EF4-FFF2-40B4-BE49-F238E27FC236}">
                <a16:creationId xmlns:a16="http://schemas.microsoft.com/office/drawing/2014/main" id="{38439744-17C7-4C43-8CE7-081FEC9431DF}"/>
              </a:ext>
            </a:extLst>
          </p:cNvPr>
          <p:cNvSpPr>
            <a:spLocks noGrp="1"/>
          </p:cNvSpPr>
          <p:nvPr>
            <p:custDataLst>
              <p:tags r:id="rId92"/>
            </p:custDataLst>
          </p:nvPr>
        </p:nvSpPr>
        <p:spPr bwMode="auto">
          <a:xfrm>
            <a:off x="1654175" y="6110288"/>
            <a:ext cx="2730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9B6AA653-A6DA-40F6-BDAD-65CD2BF8A018}" type="datetime'''''''''''''202''''''''''''''''''''''0'''''''''''''''''''''''">
              <a:rPr lang="nl-NL" altLang="en-US" sz="1000" smtClean="0">
                <a:solidFill>
                  <a:schemeClr val="tx1"/>
                </a:solidFill>
                <a:latin typeface="+mn-lt"/>
              </a:rPr>
              <a:pPr/>
              <a:t>2020</a:t>
            </a:fld>
            <a:endParaRPr lang="nl-NL" sz="1000" noProof="0" dirty="0">
              <a:solidFill>
                <a:schemeClr val="tx1"/>
              </a:solidFill>
              <a:latin typeface="+mn-lt"/>
            </a:endParaRPr>
          </a:p>
        </p:txBody>
      </p:sp>
      <p:sp>
        <p:nvSpPr>
          <p:cNvPr id="143" name="Text Placeholder 5">
            <a:extLst>
              <a:ext uri="{FF2B5EF4-FFF2-40B4-BE49-F238E27FC236}">
                <a16:creationId xmlns:a16="http://schemas.microsoft.com/office/drawing/2014/main" id="{112BB292-2F6C-4233-907D-F5EECD99D11C}"/>
              </a:ext>
            </a:extLst>
          </p:cNvPr>
          <p:cNvSpPr>
            <a:spLocks noGrp="1"/>
          </p:cNvSpPr>
          <p:nvPr>
            <p:custDataLst>
              <p:tags r:id="rId93"/>
            </p:custDataLst>
          </p:nvPr>
        </p:nvSpPr>
        <p:spPr bwMode="gray">
          <a:xfrm>
            <a:off x="2233613" y="5002213"/>
            <a:ext cx="100013" cy="136525"/>
          </a:xfrm>
          <a:prstGeom prst="rect">
            <a:avLst/>
          </a:prstGeom>
          <a:solidFill>
            <a:schemeClr val="accent5"/>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10CE8488-B15B-4EE0-9C88-717F84F03205}" type="datetime'''''''''''''''''''''''''''''''''4'">
              <a:rPr lang="nl-NL" altLang="en-US" sz="1000" smtClean="0">
                <a:solidFill>
                  <a:schemeClr val="tx1"/>
                </a:solidFill>
                <a:effectLst/>
                <a:latin typeface="+mn-lt"/>
              </a:rPr>
              <a:pPr/>
              <a:t>4</a:t>
            </a:fld>
            <a:endParaRPr lang="nl-NL" sz="1000" noProof="0" dirty="0">
              <a:solidFill>
                <a:schemeClr val="tx1"/>
              </a:solidFill>
              <a:latin typeface="+mn-lt"/>
            </a:endParaRPr>
          </a:p>
        </p:txBody>
      </p:sp>
      <p:sp>
        <p:nvSpPr>
          <p:cNvPr id="142" name="Text Placeholder 5">
            <a:extLst>
              <a:ext uri="{FF2B5EF4-FFF2-40B4-BE49-F238E27FC236}">
                <a16:creationId xmlns:a16="http://schemas.microsoft.com/office/drawing/2014/main" id="{D35B6385-0717-44DC-8026-18578159D9D0}"/>
              </a:ext>
            </a:extLst>
          </p:cNvPr>
          <p:cNvSpPr>
            <a:spLocks noGrp="1"/>
          </p:cNvSpPr>
          <p:nvPr>
            <p:custDataLst>
              <p:tags r:id="rId94"/>
            </p:custDataLst>
          </p:nvPr>
        </p:nvSpPr>
        <p:spPr bwMode="gray">
          <a:xfrm>
            <a:off x="1673225" y="5419725"/>
            <a:ext cx="100013" cy="136525"/>
          </a:xfrm>
          <a:prstGeom prst="rect">
            <a:avLst/>
          </a:prstGeom>
          <a:solidFill>
            <a:schemeClr val="accent4"/>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43631640-FEBE-4A97-AB73-3E4825E07818}" type="datetime'''''''''4'''''''''''''''''''''''''''''''''''''''''''''''">
              <a:rPr lang="nl-NL" altLang="en-US" sz="1000" smtClean="0">
                <a:solidFill>
                  <a:schemeClr val="tx1"/>
                </a:solidFill>
                <a:effectLst/>
                <a:latin typeface="+mn-lt"/>
              </a:rPr>
              <a:pPr/>
              <a:t>4</a:t>
            </a:fld>
            <a:endParaRPr lang="nl-NL" sz="1000" noProof="0" dirty="0">
              <a:solidFill>
                <a:schemeClr val="tx1"/>
              </a:solidFill>
              <a:latin typeface="+mn-lt"/>
            </a:endParaRPr>
          </a:p>
        </p:txBody>
      </p:sp>
      <p:sp>
        <p:nvSpPr>
          <p:cNvPr id="133" name="Text Placeholder 5">
            <a:extLst>
              <a:ext uri="{FF2B5EF4-FFF2-40B4-BE49-F238E27FC236}">
                <a16:creationId xmlns:a16="http://schemas.microsoft.com/office/drawing/2014/main" id="{346042B8-80B4-451F-BF23-1259CC6E7A8B}"/>
              </a:ext>
            </a:extLst>
          </p:cNvPr>
          <p:cNvSpPr>
            <a:spLocks noGrp="1"/>
          </p:cNvSpPr>
          <p:nvPr>
            <p:custDataLst>
              <p:tags r:id="rId95"/>
            </p:custDataLst>
          </p:nvPr>
        </p:nvSpPr>
        <p:spPr bwMode="auto">
          <a:xfrm>
            <a:off x="2151063" y="6110288"/>
            <a:ext cx="2651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479E5716-2093-4F49-8221-16ADAF812153}" type="datetime'''''''''''2''''''''02''''''''''1'">
              <a:rPr lang="nl-NL" altLang="en-US" sz="1000" smtClean="0">
                <a:solidFill>
                  <a:schemeClr val="tx1"/>
                </a:solidFill>
                <a:latin typeface="+mn-lt"/>
              </a:rPr>
              <a:pPr/>
              <a:t>2021</a:t>
            </a:fld>
            <a:endParaRPr lang="nl-NL" sz="1000" noProof="0" dirty="0">
              <a:solidFill>
                <a:schemeClr val="tx1"/>
              </a:solidFill>
              <a:latin typeface="+mn-lt"/>
            </a:endParaRPr>
          </a:p>
        </p:txBody>
      </p:sp>
      <p:sp>
        <p:nvSpPr>
          <p:cNvPr id="129" name="Text Placeholder 5">
            <a:extLst>
              <a:ext uri="{FF2B5EF4-FFF2-40B4-BE49-F238E27FC236}">
                <a16:creationId xmlns:a16="http://schemas.microsoft.com/office/drawing/2014/main" id="{FF611EEE-3DB8-467B-9D50-8AEA3FFC6434}"/>
              </a:ext>
            </a:extLst>
          </p:cNvPr>
          <p:cNvSpPr>
            <a:spLocks noGrp="1"/>
          </p:cNvSpPr>
          <p:nvPr>
            <p:custDataLst>
              <p:tags r:id="rId96"/>
            </p:custDataLst>
          </p:nvPr>
        </p:nvSpPr>
        <p:spPr bwMode="auto">
          <a:xfrm>
            <a:off x="2522538" y="4976813"/>
            <a:ext cx="4524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spcBef>
                <a:spcPct val="0"/>
              </a:spcBef>
            </a:pPr>
            <a:fld id="{E0718813-97A3-4F06-94C4-51F8A2439150}" type="datetime'''''''''''''A''c''c''''''e''''n''''''t'''''''''''''''''' 5'''">
              <a:rPr lang="nl-NL" altLang="en-US" sz="1000" smtClean="0">
                <a:solidFill>
                  <a:schemeClr val="tx1"/>
                </a:solidFill>
                <a:latin typeface="+mn-lt"/>
              </a:rPr>
              <a:pPr/>
              <a:t>Accent 5</a:t>
            </a:fld>
            <a:endParaRPr lang="nl-NL" sz="1000" noProof="0" dirty="0">
              <a:solidFill>
                <a:schemeClr val="tx1"/>
              </a:solidFill>
              <a:latin typeface="+mn-lt"/>
            </a:endParaRPr>
          </a:p>
        </p:txBody>
      </p:sp>
      <p:sp>
        <p:nvSpPr>
          <p:cNvPr id="135" name="Text Placeholder 5">
            <a:extLst>
              <a:ext uri="{FF2B5EF4-FFF2-40B4-BE49-F238E27FC236}">
                <a16:creationId xmlns:a16="http://schemas.microsoft.com/office/drawing/2014/main" id="{56D01BF7-7A7F-4B9C-A869-0ACFA1578EC2}"/>
              </a:ext>
            </a:extLst>
          </p:cNvPr>
          <p:cNvSpPr>
            <a:spLocks noGrp="1"/>
          </p:cNvSpPr>
          <p:nvPr>
            <p:custDataLst>
              <p:tags r:id="rId97"/>
            </p:custDataLst>
          </p:nvPr>
        </p:nvSpPr>
        <p:spPr bwMode="auto">
          <a:xfrm>
            <a:off x="2522538" y="5351463"/>
            <a:ext cx="4492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spcBef>
                <a:spcPct val="0"/>
              </a:spcBef>
            </a:pPr>
            <a:fld id="{A0AA5554-D9F9-4FE8-B6CC-43074DEEE025}" type="datetime'''''''''''''''A''''''''''c''''''''''''ce''''''''n''''''t ''3'">
              <a:rPr lang="nl-NL" altLang="en-US" sz="1000" smtClean="0">
                <a:solidFill>
                  <a:schemeClr val="tx1"/>
                </a:solidFill>
                <a:latin typeface="+mn-lt"/>
              </a:rPr>
              <a:pPr/>
              <a:t>Accent 3</a:t>
            </a:fld>
            <a:endParaRPr lang="nl-NL" sz="1000" noProof="0" dirty="0">
              <a:solidFill>
                <a:schemeClr val="tx1"/>
              </a:solidFill>
              <a:latin typeface="+mn-lt"/>
            </a:endParaRPr>
          </a:p>
        </p:txBody>
      </p:sp>
      <p:sp>
        <p:nvSpPr>
          <p:cNvPr id="136" name="Text Placeholder 5">
            <a:extLst>
              <a:ext uri="{FF2B5EF4-FFF2-40B4-BE49-F238E27FC236}">
                <a16:creationId xmlns:a16="http://schemas.microsoft.com/office/drawing/2014/main" id="{F688C4B0-19F5-4AF6-9323-E9EB9DDF66B0}"/>
              </a:ext>
            </a:extLst>
          </p:cNvPr>
          <p:cNvSpPr>
            <a:spLocks noGrp="1"/>
          </p:cNvSpPr>
          <p:nvPr>
            <p:custDataLst>
              <p:tags r:id="rId98"/>
            </p:custDataLst>
          </p:nvPr>
        </p:nvSpPr>
        <p:spPr bwMode="auto">
          <a:xfrm>
            <a:off x="2522538" y="5562600"/>
            <a:ext cx="4572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spcBef>
                <a:spcPct val="0"/>
              </a:spcBef>
            </a:pPr>
            <a:fld id="{F4A8D0C0-83FF-48A9-A553-D7B6A0D7117C}" type="datetime'''''''''''''''''''Ac''''ce''''''''''''n''t'''''''''' ''2'''">
              <a:rPr lang="nl-NL" altLang="en-US" sz="1000" smtClean="0">
                <a:solidFill>
                  <a:schemeClr val="tx1"/>
                </a:solidFill>
                <a:latin typeface="+mn-lt"/>
              </a:rPr>
              <a:pPr/>
              <a:t>Accent 2</a:t>
            </a:fld>
            <a:endParaRPr lang="nl-NL" sz="1000" noProof="0" dirty="0">
              <a:solidFill>
                <a:schemeClr val="tx1"/>
              </a:solidFill>
              <a:latin typeface="+mn-lt"/>
            </a:endParaRPr>
          </a:p>
        </p:txBody>
      </p:sp>
      <p:sp>
        <p:nvSpPr>
          <p:cNvPr id="137" name="Text Placeholder 5">
            <a:extLst>
              <a:ext uri="{FF2B5EF4-FFF2-40B4-BE49-F238E27FC236}">
                <a16:creationId xmlns:a16="http://schemas.microsoft.com/office/drawing/2014/main" id="{C599D132-4D2B-441C-8572-D1BFEA54A159}"/>
              </a:ext>
            </a:extLst>
          </p:cNvPr>
          <p:cNvSpPr>
            <a:spLocks noGrp="1"/>
          </p:cNvSpPr>
          <p:nvPr>
            <p:custDataLst>
              <p:tags r:id="rId99"/>
            </p:custDataLst>
          </p:nvPr>
        </p:nvSpPr>
        <p:spPr bwMode="auto">
          <a:xfrm>
            <a:off x="2522538" y="5849938"/>
            <a:ext cx="4492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spcBef>
                <a:spcPct val="0"/>
              </a:spcBef>
            </a:pPr>
            <a:fld id="{750F887E-44EE-473D-85EF-EBECEEDAE713}" type="datetime'''''''Ac''''c''en''''''t'''''''''''' ''1'''''''">
              <a:rPr lang="nl-NL" altLang="en-US" sz="1000" smtClean="0">
                <a:solidFill>
                  <a:schemeClr val="tx1"/>
                </a:solidFill>
                <a:latin typeface="+mn-lt"/>
              </a:rPr>
              <a:pPr/>
              <a:t>Accent 1</a:t>
            </a:fld>
            <a:endParaRPr lang="nl-NL" sz="1000" noProof="0" dirty="0">
              <a:solidFill>
                <a:schemeClr val="tx1"/>
              </a:solidFill>
              <a:latin typeface="+mn-lt"/>
            </a:endParaRPr>
          </a:p>
        </p:txBody>
      </p:sp>
      <p:sp>
        <p:nvSpPr>
          <p:cNvPr id="138" name="Text Placeholder 5">
            <a:extLst>
              <a:ext uri="{FF2B5EF4-FFF2-40B4-BE49-F238E27FC236}">
                <a16:creationId xmlns:a16="http://schemas.microsoft.com/office/drawing/2014/main" id="{1B603F87-09A9-4E52-AB0D-342DE4C23604}"/>
              </a:ext>
            </a:extLst>
          </p:cNvPr>
          <p:cNvSpPr>
            <a:spLocks noGrp="1"/>
          </p:cNvSpPr>
          <p:nvPr>
            <p:custDataLst>
              <p:tags r:id="rId100"/>
            </p:custDataLst>
          </p:nvPr>
        </p:nvSpPr>
        <p:spPr bwMode="gray">
          <a:xfrm>
            <a:off x="1214438" y="5299075"/>
            <a:ext cx="1651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D64D9FC1-1C8A-4513-8F45-F0A41970E854}" type="datetime'''2''''''''''4'''''''''''''''''''''''''''''''''''">
              <a:rPr lang="nl-NL" altLang="en-US" sz="1000" b="1" smtClean="0">
                <a:solidFill>
                  <a:schemeClr val="tx1"/>
                </a:solidFill>
                <a:latin typeface="+mn-lt"/>
              </a:rPr>
              <a:pPr/>
              <a:t>24</a:t>
            </a:fld>
            <a:endParaRPr lang="nl-NL" sz="1000" b="1" noProof="0" dirty="0">
              <a:solidFill>
                <a:schemeClr val="tx1"/>
              </a:solidFill>
              <a:latin typeface="+mn-lt"/>
            </a:endParaRPr>
          </a:p>
        </p:txBody>
      </p:sp>
      <p:sp>
        <p:nvSpPr>
          <p:cNvPr id="139" name="Text Placeholder 5">
            <a:extLst>
              <a:ext uri="{FF2B5EF4-FFF2-40B4-BE49-F238E27FC236}">
                <a16:creationId xmlns:a16="http://schemas.microsoft.com/office/drawing/2014/main" id="{7112017C-FEA5-422C-BFB2-8F0C78DA51AC}"/>
              </a:ext>
            </a:extLst>
          </p:cNvPr>
          <p:cNvSpPr>
            <a:spLocks noGrp="1"/>
          </p:cNvSpPr>
          <p:nvPr>
            <p:custDataLst>
              <p:tags r:id="rId101"/>
            </p:custDataLst>
          </p:nvPr>
        </p:nvSpPr>
        <p:spPr bwMode="gray">
          <a:xfrm>
            <a:off x="1706563" y="5200650"/>
            <a:ext cx="1682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05F23A70-1AB8-4545-9D1B-08E728A9AF1C}" type="datetime'''''''''''''''''''''''''''''''''''2''''''''''9'''''''''''''''">
              <a:rPr lang="nl-NL" altLang="en-US" sz="1000" b="1" smtClean="0">
                <a:solidFill>
                  <a:schemeClr val="tx1"/>
                </a:solidFill>
                <a:latin typeface="+mn-lt"/>
              </a:rPr>
              <a:pPr/>
              <a:t>29</a:t>
            </a:fld>
            <a:endParaRPr lang="nl-NL" sz="1000" b="1" noProof="0" dirty="0">
              <a:solidFill>
                <a:schemeClr val="tx1"/>
              </a:solidFill>
              <a:latin typeface="+mn-lt"/>
            </a:endParaRPr>
          </a:p>
        </p:txBody>
      </p:sp>
      <p:sp>
        <p:nvSpPr>
          <p:cNvPr id="151" name="Rectangle 150">
            <a:extLst>
              <a:ext uri="{FF2B5EF4-FFF2-40B4-BE49-F238E27FC236}">
                <a16:creationId xmlns:a16="http://schemas.microsoft.com/office/drawing/2014/main" id="{428FE685-B498-42DE-A439-B3C83DA3E8F8}"/>
              </a:ext>
            </a:extLst>
          </p:cNvPr>
          <p:cNvSpPr/>
          <p:nvPr/>
        </p:nvSpPr>
        <p:spPr>
          <a:xfrm>
            <a:off x="7707311" y="5488639"/>
            <a:ext cx="265113" cy="578786"/>
          </a:xfrm>
          <a:prstGeom prst="rect">
            <a:avLst/>
          </a:prstGeom>
          <a:noFill/>
          <a:ln w="28575">
            <a:solidFill>
              <a:srgbClr val="FFBD42"/>
            </a:solidFill>
            <a:prstDash val="dash"/>
          </a:ln>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7" name="Speech Bubble: Rectangle 146">
            <a:extLst>
              <a:ext uri="{FF2B5EF4-FFF2-40B4-BE49-F238E27FC236}">
                <a16:creationId xmlns:a16="http://schemas.microsoft.com/office/drawing/2014/main" id="{ACDEC4C7-B98F-4600-9361-252B7AEC34E3}"/>
              </a:ext>
            </a:extLst>
          </p:cNvPr>
          <p:cNvSpPr/>
          <p:nvPr/>
        </p:nvSpPr>
        <p:spPr>
          <a:xfrm>
            <a:off x="4066420" y="2676483"/>
            <a:ext cx="1522336" cy="571499"/>
          </a:xfrm>
          <a:prstGeom prst="wedgeRectCallout">
            <a:avLst>
              <a:gd name="adj1" fmla="val -58924"/>
              <a:gd name="adj2" fmla="val -41357"/>
            </a:avLst>
          </a:prstGeom>
          <a:solidFill>
            <a:schemeClr val="bg1">
              <a:lumMod val="95000"/>
            </a:schemeClr>
          </a:solidFill>
          <a:ln w="9525">
            <a:solidFill>
              <a:schemeClr val="bg1">
                <a:lumMod val="85000"/>
              </a:schemeClr>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marL="0" indent="0">
              <a:spcBef>
                <a:spcPts val="750"/>
              </a:spcBef>
              <a:buClr>
                <a:schemeClr val="tx2"/>
              </a:buClr>
              <a:buNone/>
            </a:pPr>
            <a:r>
              <a:rPr lang="nl-NL" sz="1000" dirty="0"/>
              <a:t>Labels van grafieken meestal rechts (want daar is meer ruimte).</a:t>
            </a:r>
          </a:p>
        </p:txBody>
      </p:sp>
    </p:spTree>
    <p:extLst>
      <p:ext uri="{BB962C8B-B14F-4D97-AF65-F5344CB8AC3E}">
        <p14:creationId xmlns:p14="http://schemas.microsoft.com/office/powerpoint/2010/main" val="14113766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658894-2BE6-418B-A4BE-D38A3FF5DA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C1658894-2BE6-418B-A4BE-D38A3FF5DA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3" name="Text Placeholder 32">
            <a:extLst>
              <a:ext uri="{FF2B5EF4-FFF2-40B4-BE49-F238E27FC236}">
                <a16:creationId xmlns:a16="http://schemas.microsoft.com/office/drawing/2014/main" id="{F2592734-60D2-4398-9A05-C77B07D9656E}"/>
              </a:ext>
            </a:extLst>
          </p:cNvPr>
          <p:cNvSpPr>
            <a:spLocks noGrp="1"/>
          </p:cNvSpPr>
          <p:nvPr>
            <p:ph type="body" sz="quarter" idx="38"/>
          </p:nvPr>
        </p:nvSpPr>
        <p:spPr/>
        <p:txBody>
          <a:bodyPr/>
          <a:lstStyle/>
          <a:p>
            <a:pPr marL="0" indent="0">
              <a:buNone/>
            </a:pPr>
            <a:r>
              <a:rPr lang="nl-NL" dirty="0"/>
              <a:t>Alternatieve standaard kleurenschaal is soms beter dan groen/rood</a:t>
            </a:r>
          </a:p>
        </p:txBody>
      </p:sp>
      <p:sp>
        <p:nvSpPr>
          <p:cNvPr id="31" name="Text Placeholder 30">
            <a:extLst>
              <a:ext uri="{FF2B5EF4-FFF2-40B4-BE49-F238E27FC236}">
                <a16:creationId xmlns:a16="http://schemas.microsoft.com/office/drawing/2014/main" id="{5831681D-A925-4DA4-BC62-5210CD8D50C0}"/>
              </a:ext>
            </a:extLst>
          </p:cNvPr>
          <p:cNvSpPr>
            <a:spLocks noGrp="1"/>
          </p:cNvSpPr>
          <p:nvPr>
            <p:ph type="body" sz="quarter" idx="34"/>
          </p:nvPr>
        </p:nvSpPr>
        <p:spPr/>
        <p:txBody>
          <a:bodyPr/>
          <a:lstStyle/>
          <a:p>
            <a:pPr marL="0" indent="0">
              <a:buNone/>
            </a:pPr>
            <a:r>
              <a:rPr lang="nl-NL" dirty="0"/>
              <a:t>Groen/rood kan in sommige situaties passend zijn, maar niet altijd</a:t>
            </a:r>
          </a:p>
        </p:txBody>
      </p:sp>
      <p:sp>
        <p:nvSpPr>
          <p:cNvPr id="29" name="Text Placeholder 28">
            <a:extLst>
              <a:ext uri="{FF2B5EF4-FFF2-40B4-BE49-F238E27FC236}">
                <a16:creationId xmlns:a16="http://schemas.microsoft.com/office/drawing/2014/main" id="{5B5D8B32-4370-4A60-BCD8-46EE5C904C0B}"/>
              </a:ext>
            </a:extLst>
          </p:cNvPr>
          <p:cNvSpPr>
            <a:spLocks noGrp="1"/>
          </p:cNvSpPr>
          <p:nvPr>
            <p:ph type="body" sz="quarter" idx="30"/>
          </p:nvPr>
        </p:nvSpPr>
        <p:spPr/>
        <p:txBody>
          <a:bodyPr/>
          <a:lstStyle/>
          <a:p>
            <a:pPr marL="0" indent="0">
              <a:buNone/>
            </a:pPr>
            <a:r>
              <a:rPr lang="nl-NL" dirty="0"/>
              <a:t>Standaard kleuren geven soms te weinig onderscheid</a:t>
            </a:r>
          </a:p>
        </p:txBody>
      </p:sp>
      <p:sp>
        <p:nvSpPr>
          <p:cNvPr id="28" name="Text Placeholder 27">
            <a:extLst>
              <a:ext uri="{FF2B5EF4-FFF2-40B4-BE49-F238E27FC236}">
                <a16:creationId xmlns:a16="http://schemas.microsoft.com/office/drawing/2014/main" id="{9C1112AC-0935-49AD-BA58-22F51121753A}"/>
              </a:ext>
            </a:extLst>
          </p:cNvPr>
          <p:cNvSpPr>
            <a:spLocks noGrp="1"/>
          </p:cNvSpPr>
          <p:nvPr>
            <p:ph type="body" sz="quarter" idx="20"/>
          </p:nvPr>
        </p:nvSpPr>
        <p:spPr/>
        <p:txBody>
          <a:bodyPr/>
          <a:lstStyle/>
          <a:p>
            <a:endParaRPr lang="nl-NL"/>
          </a:p>
        </p:txBody>
      </p:sp>
      <p:sp>
        <p:nvSpPr>
          <p:cNvPr id="5" name="Footer Placeholder 4">
            <a:extLst>
              <a:ext uri="{FF2B5EF4-FFF2-40B4-BE49-F238E27FC236}">
                <a16:creationId xmlns:a16="http://schemas.microsoft.com/office/drawing/2014/main" id="{10DB0172-2E18-4C62-B56D-809F293AA74F}"/>
              </a:ext>
            </a:extLst>
          </p:cNvPr>
          <p:cNvSpPr>
            <a:spLocks noGrp="1"/>
          </p:cNvSpPr>
          <p:nvPr>
            <p:ph type="ftr" sz="quarter" idx="3"/>
          </p:nvPr>
        </p:nvSpPr>
        <p:spPr/>
        <p:txBody>
          <a:bodyPr/>
          <a:lstStyle/>
          <a:p>
            <a:r>
              <a:rPr lang="nl-NL"/>
              <a:t>Bron: </a:t>
            </a:r>
            <a:endParaRPr lang="nl-NL" dirty="0"/>
          </a:p>
        </p:txBody>
      </p:sp>
      <p:sp>
        <p:nvSpPr>
          <p:cNvPr id="4" name="Slide Number Placeholder 3">
            <a:extLst>
              <a:ext uri="{FF2B5EF4-FFF2-40B4-BE49-F238E27FC236}">
                <a16:creationId xmlns:a16="http://schemas.microsoft.com/office/drawing/2014/main" id="{B97C2155-6206-4264-A563-5DA772EAD18B}"/>
              </a:ext>
            </a:extLst>
          </p:cNvPr>
          <p:cNvSpPr>
            <a:spLocks noGrp="1"/>
          </p:cNvSpPr>
          <p:nvPr>
            <p:ph type="sldNum" sz="quarter" idx="12"/>
          </p:nvPr>
        </p:nvSpPr>
        <p:spPr/>
        <p:txBody>
          <a:bodyPr/>
          <a:lstStyle/>
          <a:p>
            <a:fld id="{992CD0B2-8AB2-4C6C-8876-E15753662C9B}" type="slidenum">
              <a:rPr lang="nl-NL" noProof="0" smtClean="0"/>
              <a:pPr/>
              <a:t>12</a:t>
            </a:fld>
            <a:endParaRPr lang="nl-NL" noProof="0" dirty="0"/>
          </a:p>
        </p:txBody>
      </p:sp>
      <p:sp>
        <p:nvSpPr>
          <p:cNvPr id="27" name="Text Placeholder 26">
            <a:extLst>
              <a:ext uri="{FF2B5EF4-FFF2-40B4-BE49-F238E27FC236}">
                <a16:creationId xmlns:a16="http://schemas.microsoft.com/office/drawing/2014/main" id="{9EBF227B-B25D-49AB-AD3C-BE35B26026B2}"/>
              </a:ext>
            </a:extLst>
          </p:cNvPr>
          <p:cNvSpPr>
            <a:spLocks noGrp="1"/>
          </p:cNvSpPr>
          <p:nvPr>
            <p:ph type="body" sz="quarter" idx="14"/>
          </p:nvPr>
        </p:nvSpPr>
        <p:spPr/>
        <p:txBody>
          <a:bodyPr/>
          <a:lstStyle/>
          <a:p>
            <a:r>
              <a:rPr lang="nl-NL" dirty="0"/>
              <a:t>Effect van kleur in kleurschalen</a:t>
            </a:r>
          </a:p>
        </p:txBody>
      </p:sp>
      <p:sp>
        <p:nvSpPr>
          <p:cNvPr id="3" name="Title 2">
            <a:extLst>
              <a:ext uri="{FF2B5EF4-FFF2-40B4-BE49-F238E27FC236}">
                <a16:creationId xmlns:a16="http://schemas.microsoft.com/office/drawing/2014/main" id="{83579807-41B8-4AF3-9763-7AE9F50CB467}"/>
              </a:ext>
            </a:extLst>
          </p:cNvPr>
          <p:cNvSpPr>
            <a:spLocks noGrp="1"/>
          </p:cNvSpPr>
          <p:nvPr>
            <p:ph type="title"/>
          </p:nvPr>
        </p:nvSpPr>
        <p:spPr/>
        <p:txBody>
          <a:bodyPr vert="horz" lIns="0" tIns="0" rIns="0" bIns="0" rtlCol="0" anchor="b">
            <a:noAutofit/>
          </a:bodyPr>
          <a:lstStyle/>
          <a:p>
            <a:r>
              <a:rPr lang="nl-NL" dirty="0"/>
              <a:t>Bij het gebruik van kleurschalen is belangrijk om stil te staan bij connotaties van kleuren </a:t>
            </a:r>
          </a:p>
        </p:txBody>
      </p:sp>
      <p:sp>
        <p:nvSpPr>
          <p:cNvPr id="11" name="Rectangle 10">
            <a:extLst>
              <a:ext uri="{FF2B5EF4-FFF2-40B4-BE49-F238E27FC236}">
                <a16:creationId xmlns:a16="http://schemas.microsoft.com/office/drawing/2014/main" id="{BA555E3D-E5E7-45F7-9280-5E94EFC6EB43}"/>
              </a:ext>
            </a:extLst>
          </p:cNvPr>
          <p:cNvSpPr/>
          <p:nvPr/>
        </p:nvSpPr>
        <p:spPr>
          <a:xfrm>
            <a:off x="658814" y="0"/>
            <a:ext cx="277500" cy="257175"/>
          </a:xfrm>
          <a:prstGeom prst="rect">
            <a:avLst/>
          </a:prstGeom>
          <a:solidFill>
            <a:srgbClr val="22777B"/>
          </a:solidFill>
        </p:spPr>
        <p:txBody>
          <a:bodyPr lIns="72000" rIns="72000" rtlCol="0" anchor="t">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93D74B66-BC87-405D-812D-C3D9026F3CE9}"/>
              </a:ext>
            </a:extLst>
          </p:cNvPr>
          <p:cNvSpPr/>
          <p:nvPr/>
        </p:nvSpPr>
        <p:spPr>
          <a:xfrm>
            <a:off x="936314" y="0"/>
            <a:ext cx="3026086" cy="266699"/>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lIns="72000" rIns="72000" rtlCol="0" anchor="ctr">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Kleurgebruik</a:t>
            </a:r>
          </a:p>
        </p:txBody>
      </p:sp>
      <p:grpSp>
        <p:nvGrpSpPr>
          <p:cNvPr id="38" name="Group 37">
            <a:extLst>
              <a:ext uri="{FF2B5EF4-FFF2-40B4-BE49-F238E27FC236}">
                <a16:creationId xmlns:a16="http://schemas.microsoft.com/office/drawing/2014/main" id="{C5111E80-CD02-40E4-86C5-7D2198401080}"/>
              </a:ext>
            </a:extLst>
          </p:cNvPr>
          <p:cNvGrpSpPr/>
          <p:nvPr/>
        </p:nvGrpSpPr>
        <p:grpSpPr>
          <a:xfrm>
            <a:off x="797564" y="2413315"/>
            <a:ext cx="3068866" cy="3609270"/>
            <a:chOff x="797564" y="2413315"/>
            <a:chExt cx="3068866" cy="3609270"/>
          </a:xfrm>
        </p:grpSpPr>
        <p:sp>
          <p:nvSpPr>
            <p:cNvPr id="110" name="Freeform: Shape 109">
              <a:extLst>
                <a:ext uri="{FF2B5EF4-FFF2-40B4-BE49-F238E27FC236}">
                  <a16:creationId xmlns:a16="http://schemas.microsoft.com/office/drawing/2014/main" id="{67F57DAE-78BB-4642-A446-2E41445D564C}"/>
                </a:ext>
              </a:extLst>
            </p:cNvPr>
            <p:cNvSpPr/>
            <p:nvPr/>
          </p:nvSpPr>
          <p:spPr>
            <a:xfrm>
              <a:off x="2387300" y="2597958"/>
              <a:ext cx="860870" cy="799379"/>
            </a:xfrm>
            <a:custGeom>
              <a:avLst/>
              <a:gdLst>
                <a:gd name="connsiteX0" fmla="*/ 407938 w 533400"/>
                <a:gd name="connsiteY0" fmla="*/ 5812 h 495300"/>
                <a:gd name="connsiteX1" fmla="*/ 389488 w 533400"/>
                <a:gd name="connsiteY1" fmla="*/ 13192 h 495300"/>
                <a:gd name="connsiteX2" fmla="*/ 385802 w 533400"/>
                <a:gd name="connsiteY2" fmla="*/ 13192 h 495300"/>
                <a:gd name="connsiteX3" fmla="*/ 378420 w 533400"/>
                <a:gd name="connsiteY3" fmla="*/ 9502 h 495300"/>
                <a:gd name="connsiteX4" fmla="*/ 367352 w 533400"/>
                <a:gd name="connsiteY4" fmla="*/ 9502 h 495300"/>
                <a:gd name="connsiteX5" fmla="*/ 367352 w 533400"/>
                <a:gd name="connsiteY5" fmla="*/ 13192 h 495300"/>
                <a:gd name="connsiteX6" fmla="*/ 363666 w 533400"/>
                <a:gd name="connsiteY6" fmla="*/ 13192 h 495300"/>
                <a:gd name="connsiteX7" fmla="*/ 359970 w 533400"/>
                <a:gd name="connsiteY7" fmla="*/ 13192 h 495300"/>
                <a:gd name="connsiteX8" fmla="*/ 356284 w 533400"/>
                <a:gd name="connsiteY8" fmla="*/ 9502 h 495300"/>
                <a:gd name="connsiteX9" fmla="*/ 341530 w 533400"/>
                <a:gd name="connsiteY9" fmla="*/ 13192 h 495300"/>
                <a:gd name="connsiteX10" fmla="*/ 334148 w 533400"/>
                <a:gd name="connsiteY10" fmla="*/ 13192 h 495300"/>
                <a:gd name="connsiteX11" fmla="*/ 330462 w 533400"/>
                <a:gd name="connsiteY11" fmla="*/ 13192 h 495300"/>
                <a:gd name="connsiteX12" fmla="*/ 326775 w 533400"/>
                <a:gd name="connsiteY12" fmla="*/ 16883 h 495300"/>
                <a:gd name="connsiteX13" fmla="*/ 312012 w 533400"/>
                <a:gd name="connsiteY13" fmla="*/ 20573 h 495300"/>
                <a:gd name="connsiteX14" fmla="*/ 308326 w 533400"/>
                <a:gd name="connsiteY14" fmla="*/ 20573 h 495300"/>
                <a:gd name="connsiteX15" fmla="*/ 304639 w 533400"/>
                <a:gd name="connsiteY15" fmla="*/ 20573 h 495300"/>
                <a:gd name="connsiteX16" fmla="*/ 289876 w 533400"/>
                <a:gd name="connsiteY16" fmla="*/ 27955 h 495300"/>
                <a:gd name="connsiteX17" fmla="*/ 282503 w 533400"/>
                <a:gd name="connsiteY17" fmla="*/ 27955 h 495300"/>
                <a:gd name="connsiteX18" fmla="*/ 278808 w 533400"/>
                <a:gd name="connsiteY18" fmla="*/ 27955 h 495300"/>
                <a:gd name="connsiteX19" fmla="*/ 275121 w 533400"/>
                <a:gd name="connsiteY19" fmla="*/ 27955 h 495300"/>
                <a:gd name="connsiteX20" fmla="*/ 271435 w 533400"/>
                <a:gd name="connsiteY20" fmla="*/ 27955 h 495300"/>
                <a:gd name="connsiteX21" fmla="*/ 271435 w 533400"/>
                <a:gd name="connsiteY21" fmla="*/ 24264 h 495300"/>
                <a:gd name="connsiteX22" fmla="*/ 267749 w 533400"/>
                <a:gd name="connsiteY22" fmla="*/ 20573 h 495300"/>
                <a:gd name="connsiteX23" fmla="*/ 267749 w 533400"/>
                <a:gd name="connsiteY23" fmla="*/ 27955 h 495300"/>
                <a:gd name="connsiteX24" fmla="*/ 260367 w 533400"/>
                <a:gd name="connsiteY24" fmla="*/ 31645 h 495300"/>
                <a:gd name="connsiteX25" fmla="*/ 252985 w 533400"/>
                <a:gd name="connsiteY25" fmla="*/ 35336 h 495300"/>
                <a:gd name="connsiteX26" fmla="*/ 249299 w 533400"/>
                <a:gd name="connsiteY26" fmla="*/ 39027 h 495300"/>
                <a:gd name="connsiteX27" fmla="*/ 241917 w 533400"/>
                <a:gd name="connsiteY27" fmla="*/ 42717 h 495300"/>
                <a:gd name="connsiteX28" fmla="*/ 238231 w 533400"/>
                <a:gd name="connsiteY28" fmla="*/ 46408 h 495300"/>
                <a:gd name="connsiteX29" fmla="*/ 230849 w 533400"/>
                <a:gd name="connsiteY29" fmla="*/ 50098 h 495300"/>
                <a:gd name="connsiteX30" fmla="*/ 223477 w 533400"/>
                <a:gd name="connsiteY30" fmla="*/ 50098 h 495300"/>
                <a:gd name="connsiteX31" fmla="*/ 212409 w 533400"/>
                <a:gd name="connsiteY31" fmla="*/ 57480 h 495300"/>
                <a:gd name="connsiteX32" fmla="*/ 197655 w 533400"/>
                <a:gd name="connsiteY32" fmla="*/ 64861 h 495300"/>
                <a:gd name="connsiteX33" fmla="*/ 190273 w 533400"/>
                <a:gd name="connsiteY33" fmla="*/ 68551 h 495300"/>
                <a:gd name="connsiteX34" fmla="*/ 171823 w 533400"/>
                <a:gd name="connsiteY34" fmla="*/ 79623 h 495300"/>
                <a:gd name="connsiteX35" fmla="*/ 160755 w 533400"/>
                <a:gd name="connsiteY35" fmla="*/ 79623 h 495300"/>
                <a:gd name="connsiteX36" fmla="*/ 157069 w 533400"/>
                <a:gd name="connsiteY36" fmla="*/ 83314 h 495300"/>
                <a:gd name="connsiteX37" fmla="*/ 149687 w 533400"/>
                <a:gd name="connsiteY37" fmla="*/ 87004 h 495300"/>
                <a:gd name="connsiteX38" fmla="*/ 146000 w 533400"/>
                <a:gd name="connsiteY38" fmla="*/ 87004 h 495300"/>
                <a:gd name="connsiteX39" fmla="*/ 142314 w 533400"/>
                <a:gd name="connsiteY39" fmla="*/ 90695 h 495300"/>
                <a:gd name="connsiteX40" fmla="*/ 134932 w 533400"/>
                <a:gd name="connsiteY40" fmla="*/ 94385 h 495300"/>
                <a:gd name="connsiteX41" fmla="*/ 127560 w 533400"/>
                <a:gd name="connsiteY41" fmla="*/ 98075 h 495300"/>
                <a:gd name="connsiteX42" fmla="*/ 123864 w 533400"/>
                <a:gd name="connsiteY42" fmla="*/ 101766 h 495300"/>
                <a:gd name="connsiteX43" fmla="*/ 116492 w 533400"/>
                <a:gd name="connsiteY43" fmla="*/ 109147 h 495300"/>
                <a:gd name="connsiteX44" fmla="*/ 112796 w 533400"/>
                <a:gd name="connsiteY44" fmla="*/ 116528 h 495300"/>
                <a:gd name="connsiteX45" fmla="*/ 109110 w 533400"/>
                <a:gd name="connsiteY45" fmla="*/ 120219 h 495300"/>
                <a:gd name="connsiteX46" fmla="*/ 109110 w 533400"/>
                <a:gd name="connsiteY46" fmla="*/ 123910 h 495300"/>
                <a:gd name="connsiteX47" fmla="*/ 105424 w 533400"/>
                <a:gd name="connsiteY47" fmla="*/ 123910 h 495300"/>
                <a:gd name="connsiteX48" fmla="*/ 105424 w 533400"/>
                <a:gd name="connsiteY48" fmla="*/ 127600 h 495300"/>
                <a:gd name="connsiteX49" fmla="*/ 98042 w 533400"/>
                <a:gd name="connsiteY49" fmla="*/ 131291 h 495300"/>
                <a:gd name="connsiteX50" fmla="*/ 94356 w 533400"/>
                <a:gd name="connsiteY50" fmla="*/ 134981 h 495300"/>
                <a:gd name="connsiteX51" fmla="*/ 90660 w 533400"/>
                <a:gd name="connsiteY51" fmla="*/ 134981 h 495300"/>
                <a:gd name="connsiteX52" fmla="*/ 83288 w 533400"/>
                <a:gd name="connsiteY52" fmla="*/ 142363 h 495300"/>
                <a:gd name="connsiteX53" fmla="*/ 79592 w 533400"/>
                <a:gd name="connsiteY53" fmla="*/ 146053 h 495300"/>
                <a:gd name="connsiteX54" fmla="*/ 75906 w 533400"/>
                <a:gd name="connsiteY54" fmla="*/ 146053 h 495300"/>
                <a:gd name="connsiteX55" fmla="*/ 72220 w 533400"/>
                <a:gd name="connsiteY55" fmla="*/ 149744 h 495300"/>
                <a:gd name="connsiteX56" fmla="*/ 68524 w 533400"/>
                <a:gd name="connsiteY56" fmla="*/ 157125 h 495300"/>
                <a:gd name="connsiteX57" fmla="*/ 64838 w 533400"/>
                <a:gd name="connsiteY57" fmla="*/ 157125 h 495300"/>
                <a:gd name="connsiteX58" fmla="*/ 61152 w 533400"/>
                <a:gd name="connsiteY58" fmla="*/ 160816 h 495300"/>
                <a:gd name="connsiteX59" fmla="*/ 57466 w 533400"/>
                <a:gd name="connsiteY59" fmla="*/ 168197 h 495300"/>
                <a:gd name="connsiteX60" fmla="*/ 53770 w 533400"/>
                <a:gd name="connsiteY60" fmla="*/ 179268 h 495300"/>
                <a:gd name="connsiteX61" fmla="*/ 50084 w 533400"/>
                <a:gd name="connsiteY61" fmla="*/ 182958 h 495300"/>
                <a:gd name="connsiteX62" fmla="*/ 50084 w 533400"/>
                <a:gd name="connsiteY62" fmla="*/ 186649 h 495300"/>
                <a:gd name="connsiteX63" fmla="*/ 53770 w 533400"/>
                <a:gd name="connsiteY63" fmla="*/ 186649 h 495300"/>
                <a:gd name="connsiteX64" fmla="*/ 50084 w 533400"/>
                <a:gd name="connsiteY64" fmla="*/ 190340 h 495300"/>
                <a:gd name="connsiteX65" fmla="*/ 46398 w 533400"/>
                <a:gd name="connsiteY65" fmla="*/ 194030 h 495300"/>
                <a:gd name="connsiteX66" fmla="*/ 42702 w 533400"/>
                <a:gd name="connsiteY66" fmla="*/ 197721 h 495300"/>
                <a:gd name="connsiteX67" fmla="*/ 42702 w 533400"/>
                <a:gd name="connsiteY67" fmla="*/ 201411 h 495300"/>
                <a:gd name="connsiteX68" fmla="*/ 46398 w 533400"/>
                <a:gd name="connsiteY68" fmla="*/ 201411 h 495300"/>
                <a:gd name="connsiteX69" fmla="*/ 46398 w 533400"/>
                <a:gd name="connsiteY69" fmla="*/ 208793 h 495300"/>
                <a:gd name="connsiteX70" fmla="*/ 42702 w 533400"/>
                <a:gd name="connsiteY70" fmla="*/ 216174 h 495300"/>
                <a:gd name="connsiteX71" fmla="*/ 42702 w 533400"/>
                <a:gd name="connsiteY71" fmla="*/ 227246 h 495300"/>
                <a:gd name="connsiteX72" fmla="*/ 42702 w 533400"/>
                <a:gd name="connsiteY72" fmla="*/ 234627 h 495300"/>
                <a:gd name="connsiteX73" fmla="*/ 42702 w 533400"/>
                <a:gd name="connsiteY73" fmla="*/ 238318 h 495300"/>
                <a:gd name="connsiteX74" fmla="*/ 39016 w 533400"/>
                <a:gd name="connsiteY74" fmla="*/ 242008 h 495300"/>
                <a:gd name="connsiteX75" fmla="*/ 39016 w 533400"/>
                <a:gd name="connsiteY75" fmla="*/ 245699 h 495300"/>
                <a:gd name="connsiteX76" fmla="*/ 31634 w 533400"/>
                <a:gd name="connsiteY76" fmla="*/ 249389 h 495300"/>
                <a:gd name="connsiteX77" fmla="*/ 27948 w 533400"/>
                <a:gd name="connsiteY77" fmla="*/ 249389 h 495300"/>
                <a:gd name="connsiteX78" fmla="*/ 31634 w 533400"/>
                <a:gd name="connsiteY78" fmla="*/ 253080 h 495300"/>
                <a:gd name="connsiteX79" fmla="*/ 27948 w 533400"/>
                <a:gd name="connsiteY79" fmla="*/ 256771 h 495300"/>
                <a:gd name="connsiteX80" fmla="*/ 27948 w 533400"/>
                <a:gd name="connsiteY80" fmla="*/ 260461 h 495300"/>
                <a:gd name="connsiteX81" fmla="*/ 24261 w 533400"/>
                <a:gd name="connsiteY81" fmla="*/ 264151 h 495300"/>
                <a:gd name="connsiteX82" fmla="*/ 27948 w 533400"/>
                <a:gd name="connsiteY82" fmla="*/ 264151 h 495300"/>
                <a:gd name="connsiteX83" fmla="*/ 31634 w 533400"/>
                <a:gd name="connsiteY83" fmla="*/ 267841 h 495300"/>
                <a:gd name="connsiteX84" fmla="*/ 35330 w 533400"/>
                <a:gd name="connsiteY84" fmla="*/ 275223 h 495300"/>
                <a:gd name="connsiteX85" fmla="*/ 35330 w 533400"/>
                <a:gd name="connsiteY85" fmla="*/ 278913 h 495300"/>
                <a:gd name="connsiteX86" fmla="*/ 35330 w 533400"/>
                <a:gd name="connsiteY86" fmla="*/ 282604 h 495300"/>
                <a:gd name="connsiteX87" fmla="*/ 35330 w 533400"/>
                <a:gd name="connsiteY87" fmla="*/ 286295 h 495300"/>
                <a:gd name="connsiteX88" fmla="*/ 39016 w 533400"/>
                <a:gd name="connsiteY88" fmla="*/ 293676 h 495300"/>
                <a:gd name="connsiteX89" fmla="*/ 35330 w 533400"/>
                <a:gd name="connsiteY89" fmla="*/ 293676 h 495300"/>
                <a:gd name="connsiteX90" fmla="*/ 39016 w 533400"/>
                <a:gd name="connsiteY90" fmla="*/ 297366 h 495300"/>
                <a:gd name="connsiteX91" fmla="*/ 35330 w 533400"/>
                <a:gd name="connsiteY91" fmla="*/ 297366 h 495300"/>
                <a:gd name="connsiteX92" fmla="*/ 35330 w 533400"/>
                <a:gd name="connsiteY92" fmla="*/ 293676 h 495300"/>
                <a:gd name="connsiteX93" fmla="*/ 27948 w 533400"/>
                <a:gd name="connsiteY93" fmla="*/ 293676 h 495300"/>
                <a:gd name="connsiteX94" fmla="*/ 27948 w 533400"/>
                <a:gd name="connsiteY94" fmla="*/ 297366 h 495300"/>
                <a:gd name="connsiteX95" fmla="*/ 27948 w 533400"/>
                <a:gd name="connsiteY95" fmla="*/ 301057 h 495300"/>
                <a:gd name="connsiteX96" fmla="*/ 31634 w 533400"/>
                <a:gd name="connsiteY96" fmla="*/ 301057 h 495300"/>
                <a:gd name="connsiteX97" fmla="*/ 35330 w 533400"/>
                <a:gd name="connsiteY97" fmla="*/ 301057 h 495300"/>
                <a:gd name="connsiteX98" fmla="*/ 35330 w 533400"/>
                <a:gd name="connsiteY98" fmla="*/ 308438 h 495300"/>
                <a:gd name="connsiteX99" fmla="*/ 35330 w 533400"/>
                <a:gd name="connsiteY99" fmla="*/ 312129 h 495300"/>
                <a:gd name="connsiteX100" fmla="*/ 39016 w 533400"/>
                <a:gd name="connsiteY100" fmla="*/ 308438 h 495300"/>
                <a:gd name="connsiteX101" fmla="*/ 39016 w 533400"/>
                <a:gd name="connsiteY101" fmla="*/ 312129 h 495300"/>
                <a:gd name="connsiteX102" fmla="*/ 35330 w 533400"/>
                <a:gd name="connsiteY102" fmla="*/ 312129 h 495300"/>
                <a:gd name="connsiteX103" fmla="*/ 35330 w 533400"/>
                <a:gd name="connsiteY103" fmla="*/ 315819 h 495300"/>
                <a:gd name="connsiteX104" fmla="*/ 39016 w 533400"/>
                <a:gd name="connsiteY104" fmla="*/ 315819 h 495300"/>
                <a:gd name="connsiteX105" fmla="*/ 42702 w 533400"/>
                <a:gd name="connsiteY105" fmla="*/ 319510 h 495300"/>
                <a:gd name="connsiteX106" fmla="*/ 42702 w 533400"/>
                <a:gd name="connsiteY106" fmla="*/ 323201 h 495300"/>
                <a:gd name="connsiteX107" fmla="*/ 42702 w 533400"/>
                <a:gd name="connsiteY107" fmla="*/ 326891 h 495300"/>
                <a:gd name="connsiteX108" fmla="*/ 42702 w 533400"/>
                <a:gd name="connsiteY108" fmla="*/ 330582 h 495300"/>
                <a:gd name="connsiteX109" fmla="*/ 39016 w 533400"/>
                <a:gd name="connsiteY109" fmla="*/ 334272 h 495300"/>
                <a:gd name="connsiteX110" fmla="*/ 39016 w 533400"/>
                <a:gd name="connsiteY110" fmla="*/ 341654 h 495300"/>
                <a:gd name="connsiteX111" fmla="*/ 42702 w 533400"/>
                <a:gd name="connsiteY111" fmla="*/ 352725 h 495300"/>
                <a:gd name="connsiteX112" fmla="*/ 42702 w 533400"/>
                <a:gd name="connsiteY112" fmla="*/ 360106 h 495300"/>
                <a:gd name="connsiteX113" fmla="*/ 46398 w 533400"/>
                <a:gd name="connsiteY113" fmla="*/ 363796 h 495300"/>
                <a:gd name="connsiteX114" fmla="*/ 46398 w 533400"/>
                <a:gd name="connsiteY114" fmla="*/ 365065 h 495300"/>
                <a:gd name="connsiteX115" fmla="*/ 53770 w 533400"/>
                <a:gd name="connsiteY115" fmla="*/ 360106 h 495300"/>
                <a:gd name="connsiteX116" fmla="*/ 46398 w 533400"/>
                <a:gd name="connsiteY116" fmla="*/ 367487 h 495300"/>
                <a:gd name="connsiteX117" fmla="*/ 46398 w 533400"/>
                <a:gd name="connsiteY117" fmla="*/ 365065 h 495300"/>
                <a:gd name="connsiteX118" fmla="*/ 42702 w 533400"/>
                <a:gd name="connsiteY118" fmla="*/ 367487 h 495300"/>
                <a:gd name="connsiteX119" fmla="*/ 42702 w 533400"/>
                <a:gd name="connsiteY119" fmla="*/ 371178 h 495300"/>
                <a:gd name="connsiteX120" fmla="*/ 42702 w 533400"/>
                <a:gd name="connsiteY120" fmla="*/ 378559 h 495300"/>
                <a:gd name="connsiteX121" fmla="*/ 39016 w 533400"/>
                <a:gd name="connsiteY121" fmla="*/ 378559 h 495300"/>
                <a:gd name="connsiteX122" fmla="*/ 35330 w 533400"/>
                <a:gd name="connsiteY122" fmla="*/ 382249 h 495300"/>
                <a:gd name="connsiteX123" fmla="*/ 39016 w 533400"/>
                <a:gd name="connsiteY123" fmla="*/ 385940 h 495300"/>
                <a:gd name="connsiteX124" fmla="*/ 42702 w 533400"/>
                <a:gd name="connsiteY124" fmla="*/ 393321 h 495300"/>
                <a:gd name="connsiteX125" fmla="*/ 42702 w 533400"/>
                <a:gd name="connsiteY125" fmla="*/ 397012 h 495300"/>
                <a:gd name="connsiteX126" fmla="*/ 42702 w 533400"/>
                <a:gd name="connsiteY126" fmla="*/ 404393 h 495300"/>
                <a:gd name="connsiteX127" fmla="*/ 42702 w 533400"/>
                <a:gd name="connsiteY127" fmla="*/ 408084 h 495300"/>
                <a:gd name="connsiteX128" fmla="*/ 39016 w 533400"/>
                <a:gd name="connsiteY128" fmla="*/ 411774 h 495300"/>
                <a:gd name="connsiteX129" fmla="*/ 35330 w 533400"/>
                <a:gd name="connsiteY129" fmla="*/ 411774 h 495300"/>
                <a:gd name="connsiteX130" fmla="*/ 31634 w 533400"/>
                <a:gd name="connsiteY130" fmla="*/ 411774 h 495300"/>
                <a:gd name="connsiteX131" fmla="*/ 24261 w 533400"/>
                <a:gd name="connsiteY131" fmla="*/ 419156 h 495300"/>
                <a:gd name="connsiteX132" fmla="*/ 20566 w 533400"/>
                <a:gd name="connsiteY132" fmla="*/ 422846 h 495300"/>
                <a:gd name="connsiteX133" fmla="*/ 16880 w 533400"/>
                <a:gd name="connsiteY133" fmla="*/ 426537 h 495300"/>
                <a:gd name="connsiteX134" fmla="*/ 20566 w 533400"/>
                <a:gd name="connsiteY134" fmla="*/ 430227 h 495300"/>
                <a:gd name="connsiteX135" fmla="*/ 20566 w 533400"/>
                <a:gd name="connsiteY135" fmla="*/ 433917 h 495300"/>
                <a:gd name="connsiteX136" fmla="*/ 20566 w 533400"/>
                <a:gd name="connsiteY136" fmla="*/ 437608 h 495300"/>
                <a:gd name="connsiteX137" fmla="*/ 27948 w 533400"/>
                <a:gd name="connsiteY137" fmla="*/ 437608 h 495300"/>
                <a:gd name="connsiteX138" fmla="*/ 27948 w 533400"/>
                <a:gd name="connsiteY138" fmla="*/ 441298 h 495300"/>
                <a:gd name="connsiteX139" fmla="*/ 31634 w 533400"/>
                <a:gd name="connsiteY139" fmla="*/ 441298 h 495300"/>
                <a:gd name="connsiteX140" fmla="*/ 39016 w 533400"/>
                <a:gd name="connsiteY140" fmla="*/ 448679 h 495300"/>
                <a:gd name="connsiteX141" fmla="*/ 46398 w 533400"/>
                <a:gd name="connsiteY141" fmla="*/ 456061 h 495300"/>
                <a:gd name="connsiteX142" fmla="*/ 50084 w 533400"/>
                <a:gd name="connsiteY142" fmla="*/ 456061 h 495300"/>
                <a:gd name="connsiteX143" fmla="*/ 53770 w 533400"/>
                <a:gd name="connsiteY143" fmla="*/ 456061 h 495300"/>
                <a:gd name="connsiteX144" fmla="*/ 57466 w 533400"/>
                <a:gd name="connsiteY144" fmla="*/ 456061 h 495300"/>
                <a:gd name="connsiteX145" fmla="*/ 64838 w 533400"/>
                <a:gd name="connsiteY145" fmla="*/ 456061 h 495300"/>
                <a:gd name="connsiteX146" fmla="*/ 64838 w 533400"/>
                <a:gd name="connsiteY146" fmla="*/ 452370 h 495300"/>
                <a:gd name="connsiteX147" fmla="*/ 75906 w 533400"/>
                <a:gd name="connsiteY147" fmla="*/ 456061 h 495300"/>
                <a:gd name="connsiteX148" fmla="*/ 83288 w 533400"/>
                <a:gd name="connsiteY148" fmla="*/ 456061 h 495300"/>
                <a:gd name="connsiteX149" fmla="*/ 86974 w 533400"/>
                <a:gd name="connsiteY149" fmla="*/ 459751 h 495300"/>
                <a:gd name="connsiteX150" fmla="*/ 101728 w 533400"/>
                <a:gd name="connsiteY150" fmla="*/ 467133 h 495300"/>
                <a:gd name="connsiteX151" fmla="*/ 109110 w 533400"/>
                <a:gd name="connsiteY151" fmla="*/ 467133 h 495300"/>
                <a:gd name="connsiteX152" fmla="*/ 109110 w 533400"/>
                <a:gd name="connsiteY152" fmla="*/ 470823 h 495300"/>
                <a:gd name="connsiteX153" fmla="*/ 116492 w 533400"/>
                <a:gd name="connsiteY153" fmla="*/ 470823 h 495300"/>
                <a:gd name="connsiteX154" fmla="*/ 120178 w 533400"/>
                <a:gd name="connsiteY154" fmla="*/ 467133 h 495300"/>
                <a:gd name="connsiteX155" fmla="*/ 123864 w 533400"/>
                <a:gd name="connsiteY155" fmla="*/ 467133 h 495300"/>
                <a:gd name="connsiteX156" fmla="*/ 123864 w 533400"/>
                <a:gd name="connsiteY156" fmla="*/ 463442 h 495300"/>
                <a:gd name="connsiteX157" fmla="*/ 127560 w 533400"/>
                <a:gd name="connsiteY157" fmla="*/ 459751 h 495300"/>
                <a:gd name="connsiteX158" fmla="*/ 127560 w 533400"/>
                <a:gd name="connsiteY158" fmla="*/ 456061 h 495300"/>
                <a:gd name="connsiteX159" fmla="*/ 134932 w 533400"/>
                <a:gd name="connsiteY159" fmla="*/ 452370 h 495300"/>
                <a:gd name="connsiteX160" fmla="*/ 142314 w 533400"/>
                <a:gd name="connsiteY160" fmla="*/ 456061 h 495300"/>
                <a:gd name="connsiteX161" fmla="*/ 146000 w 533400"/>
                <a:gd name="connsiteY161" fmla="*/ 452370 h 495300"/>
                <a:gd name="connsiteX162" fmla="*/ 153382 w 533400"/>
                <a:gd name="connsiteY162" fmla="*/ 448679 h 495300"/>
                <a:gd name="connsiteX163" fmla="*/ 157069 w 533400"/>
                <a:gd name="connsiteY163" fmla="*/ 448679 h 495300"/>
                <a:gd name="connsiteX164" fmla="*/ 160755 w 533400"/>
                <a:gd name="connsiteY164" fmla="*/ 452370 h 495300"/>
                <a:gd name="connsiteX165" fmla="*/ 160755 w 533400"/>
                <a:gd name="connsiteY165" fmla="*/ 459751 h 495300"/>
                <a:gd name="connsiteX166" fmla="*/ 164450 w 533400"/>
                <a:gd name="connsiteY166" fmla="*/ 459751 h 495300"/>
                <a:gd name="connsiteX167" fmla="*/ 168137 w 533400"/>
                <a:gd name="connsiteY167" fmla="*/ 459751 h 495300"/>
                <a:gd name="connsiteX168" fmla="*/ 175518 w 533400"/>
                <a:gd name="connsiteY168" fmla="*/ 459751 h 495300"/>
                <a:gd name="connsiteX169" fmla="*/ 179205 w 533400"/>
                <a:gd name="connsiteY169" fmla="*/ 459751 h 495300"/>
                <a:gd name="connsiteX170" fmla="*/ 182891 w 533400"/>
                <a:gd name="connsiteY170" fmla="*/ 459751 h 495300"/>
                <a:gd name="connsiteX171" fmla="*/ 182891 w 533400"/>
                <a:gd name="connsiteY171" fmla="*/ 463442 h 495300"/>
                <a:gd name="connsiteX172" fmla="*/ 186587 w 533400"/>
                <a:gd name="connsiteY172" fmla="*/ 463442 h 495300"/>
                <a:gd name="connsiteX173" fmla="*/ 190273 w 533400"/>
                <a:gd name="connsiteY173" fmla="*/ 459751 h 495300"/>
                <a:gd name="connsiteX174" fmla="*/ 190273 w 533400"/>
                <a:gd name="connsiteY174" fmla="*/ 463442 h 495300"/>
                <a:gd name="connsiteX175" fmla="*/ 197655 w 533400"/>
                <a:gd name="connsiteY175" fmla="*/ 467133 h 495300"/>
                <a:gd name="connsiteX176" fmla="*/ 193959 w 533400"/>
                <a:gd name="connsiteY176" fmla="*/ 459751 h 495300"/>
                <a:gd name="connsiteX177" fmla="*/ 205027 w 533400"/>
                <a:gd name="connsiteY177" fmla="*/ 463442 h 495300"/>
                <a:gd name="connsiteX178" fmla="*/ 208713 w 533400"/>
                <a:gd name="connsiteY178" fmla="*/ 463442 h 495300"/>
                <a:gd name="connsiteX179" fmla="*/ 223477 w 533400"/>
                <a:gd name="connsiteY179" fmla="*/ 481895 h 495300"/>
                <a:gd name="connsiteX180" fmla="*/ 227163 w 533400"/>
                <a:gd name="connsiteY180" fmla="*/ 489276 h 495300"/>
                <a:gd name="connsiteX181" fmla="*/ 227163 w 533400"/>
                <a:gd name="connsiteY181" fmla="*/ 492967 h 495300"/>
                <a:gd name="connsiteX182" fmla="*/ 230849 w 533400"/>
                <a:gd name="connsiteY182" fmla="*/ 489276 h 495300"/>
                <a:gd name="connsiteX183" fmla="*/ 238231 w 533400"/>
                <a:gd name="connsiteY183" fmla="*/ 481895 h 495300"/>
                <a:gd name="connsiteX184" fmla="*/ 241917 w 533400"/>
                <a:gd name="connsiteY184" fmla="*/ 481895 h 495300"/>
                <a:gd name="connsiteX185" fmla="*/ 241917 w 533400"/>
                <a:gd name="connsiteY185" fmla="*/ 485586 h 495300"/>
                <a:gd name="connsiteX186" fmla="*/ 245613 w 533400"/>
                <a:gd name="connsiteY186" fmla="*/ 485586 h 495300"/>
                <a:gd name="connsiteX187" fmla="*/ 249299 w 533400"/>
                <a:gd name="connsiteY187" fmla="*/ 485586 h 495300"/>
                <a:gd name="connsiteX188" fmla="*/ 249299 w 533400"/>
                <a:gd name="connsiteY188" fmla="*/ 489276 h 495300"/>
                <a:gd name="connsiteX189" fmla="*/ 252985 w 533400"/>
                <a:gd name="connsiteY189" fmla="*/ 489276 h 495300"/>
                <a:gd name="connsiteX190" fmla="*/ 256681 w 533400"/>
                <a:gd name="connsiteY190" fmla="*/ 489276 h 495300"/>
                <a:gd name="connsiteX191" fmla="*/ 260367 w 533400"/>
                <a:gd name="connsiteY191" fmla="*/ 492967 h 495300"/>
                <a:gd name="connsiteX192" fmla="*/ 264053 w 533400"/>
                <a:gd name="connsiteY192" fmla="*/ 492967 h 495300"/>
                <a:gd name="connsiteX193" fmla="*/ 267749 w 533400"/>
                <a:gd name="connsiteY193" fmla="*/ 492967 h 495300"/>
                <a:gd name="connsiteX194" fmla="*/ 271435 w 533400"/>
                <a:gd name="connsiteY194" fmla="*/ 492967 h 495300"/>
                <a:gd name="connsiteX195" fmla="*/ 275121 w 533400"/>
                <a:gd name="connsiteY195" fmla="*/ 489276 h 495300"/>
                <a:gd name="connsiteX196" fmla="*/ 278808 w 533400"/>
                <a:gd name="connsiteY196" fmla="*/ 489276 h 495300"/>
                <a:gd name="connsiteX197" fmla="*/ 278808 w 533400"/>
                <a:gd name="connsiteY197" fmla="*/ 485586 h 495300"/>
                <a:gd name="connsiteX198" fmla="*/ 282503 w 533400"/>
                <a:gd name="connsiteY198" fmla="*/ 485586 h 495300"/>
                <a:gd name="connsiteX199" fmla="*/ 286189 w 533400"/>
                <a:gd name="connsiteY199" fmla="*/ 481895 h 495300"/>
                <a:gd name="connsiteX200" fmla="*/ 286189 w 533400"/>
                <a:gd name="connsiteY200" fmla="*/ 478204 h 495300"/>
                <a:gd name="connsiteX201" fmla="*/ 289876 w 533400"/>
                <a:gd name="connsiteY201" fmla="*/ 474514 h 495300"/>
                <a:gd name="connsiteX202" fmla="*/ 289876 w 533400"/>
                <a:gd name="connsiteY202" fmla="*/ 470823 h 495300"/>
                <a:gd name="connsiteX203" fmla="*/ 293571 w 533400"/>
                <a:gd name="connsiteY203" fmla="*/ 467133 h 495300"/>
                <a:gd name="connsiteX204" fmla="*/ 300944 w 533400"/>
                <a:gd name="connsiteY204" fmla="*/ 467133 h 495300"/>
                <a:gd name="connsiteX205" fmla="*/ 300944 w 533400"/>
                <a:gd name="connsiteY205" fmla="*/ 463442 h 495300"/>
                <a:gd name="connsiteX206" fmla="*/ 308326 w 533400"/>
                <a:gd name="connsiteY206" fmla="*/ 467133 h 495300"/>
                <a:gd name="connsiteX207" fmla="*/ 308326 w 533400"/>
                <a:gd name="connsiteY207" fmla="*/ 463442 h 495300"/>
                <a:gd name="connsiteX208" fmla="*/ 315707 w 533400"/>
                <a:gd name="connsiteY208" fmla="*/ 459751 h 495300"/>
                <a:gd name="connsiteX209" fmla="*/ 315707 w 533400"/>
                <a:gd name="connsiteY209" fmla="*/ 467133 h 495300"/>
                <a:gd name="connsiteX210" fmla="*/ 319394 w 533400"/>
                <a:gd name="connsiteY210" fmla="*/ 474514 h 495300"/>
                <a:gd name="connsiteX211" fmla="*/ 323080 w 533400"/>
                <a:gd name="connsiteY211" fmla="*/ 478204 h 495300"/>
                <a:gd name="connsiteX212" fmla="*/ 326775 w 533400"/>
                <a:gd name="connsiteY212" fmla="*/ 478204 h 495300"/>
                <a:gd name="connsiteX213" fmla="*/ 326775 w 533400"/>
                <a:gd name="connsiteY213" fmla="*/ 481895 h 495300"/>
                <a:gd name="connsiteX214" fmla="*/ 330462 w 533400"/>
                <a:gd name="connsiteY214" fmla="*/ 478204 h 495300"/>
                <a:gd name="connsiteX215" fmla="*/ 341530 w 533400"/>
                <a:gd name="connsiteY215" fmla="*/ 474514 h 495300"/>
                <a:gd name="connsiteX216" fmla="*/ 341530 w 533400"/>
                <a:gd name="connsiteY216" fmla="*/ 481895 h 495300"/>
                <a:gd name="connsiteX217" fmla="*/ 348912 w 533400"/>
                <a:gd name="connsiteY217" fmla="*/ 478204 h 495300"/>
                <a:gd name="connsiteX218" fmla="*/ 352598 w 533400"/>
                <a:gd name="connsiteY218" fmla="*/ 474514 h 495300"/>
                <a:gd name="connsiteX219" fmla="*/ 356284 w 533400"/>
                <a:gd name="connsiteY219" fmla="*/ 474514 h 495300"/>
                <a:gd name="connsiteX220" fmla="*/ 356284 w 533400"/>
                <a:gd name="connsiteY220" fmla="*/ 470823 h 495300"/>
                <a:gd name="connsiteX221" fmla="*/ 352598 w 533400"/>
                <a:gd name="connsiteY221" fmla="*/ 463442 h 495300"/>
                <a:gd name="connsiteX222" fmla="*/ 356284 w 533400"/>
                <a:gd name="connsiteY222" fmla="*/ 463442 h 495300"/>
                <a:gd name="connsiteX223" fmla="*/ 367352 w 533400"/>
                <a:gd name="connsiteY223" fmla="*/ 463442 h 495300"/>
                <a:gd name="connsiteX224" fmla="*/ 371038 w 533400"/>
                <a:gd name="connsiteY224" fmla="*/ 459751 h 495300"/>
                <a:gd name="connsiteX225" fmla="*/ 374734 w 533400"/>
                <a:gd name="connsiteY225" fmla="*/ 456061 h 495300"/>
                <a:gd name="connsiteX226" fmla="*/ 385802 w 533400"/>
                <a:gd name="connsiteY226" fmla="*/ 448679 h 495300"/>
                <a:gd name="connsiteX227" fmla="*/ 396870 w 533400"/>
                <a:gd name="connsiteY227" fmla="*/ 441298 h 495300"/>
                <a:gd name="connsiteX228" fmla="*/ 404242 w 533400"/>
                <a:gd name="connsiteY228" fmla="*/ 433917 h 495300"/>
                <a:gd name="connsiteX229" fmla="*/ 418996 w 533400"/>
                <a:gd name="connsiteY229" fmla="*/ 426537 h 495300"/>
                <a:gd name="connsiteX230" fmla="*/ 422692 w 533400"/>
                <a:gd name="connsiteY230" fmla="*/ 422846 h 495300"/>
                <a:gd name="connsiteX231" fmla="*/ 426378 w 533400"/>
                <a:gd name="connsiteY231" fmla="*/ 419156 h 495300"/>
                <a:gd name="connsiteX232" fmla="*/ 437446 w 533400"/>
                <a:gd name="connsiteY232" fmla="*/ 404393 h 495300"/>
                <a:gd name="connsiteX233" fmla="*/ 444828 w 533400"/>
                <a:gd name="connsiteY233" fmla="*/ 400703 h 495300"/>
                <a:gd name="connsiteX234" fmla="*/ 444828 w 533400"/>
                <a:gd name="connsiteY234" fmla="*/ 397012 h 495300"/>
                <a:gd name="connsiteX235" fmla="*/ 444828 w 533400"/>
                <a:gd name="connsiteY235" fmla="*/ 393321 h 495300"/>
                <a:gd name="connsiteX236" fmla="*/ 452201 w 533400"/>
                <a:gd name="connsiteY236" fmla="*/ 389631 h 495300"/>
                <a:gd name="connsiteX237" fmla="*/ 463269 w 533400"/>
                <a:gd name="connsiteY237" fmla="*/ 393321 h 495300"/>
                <a:gd name="connsiteX238" fmla="*/ 474337 w 533400"/>
                <a:gd name="connsiteY238" fmla="*/ 393321 h 495300"/>
                <a:gd name="connsiteX239" fmla="*/ 489100 w 533400"/>
                <a:gd name="connsiteY239" fmla="*/ 408084 h 495300"/>
                <a:gd name="connsiteX240" fmla="*/ 503855 w 533400"/>
                <a:gd name="connsiteY240" fmla="*/ 397012 h 495300"/>
                <a:gd name="connsiteX241" fmla="*/ 514923 w 533400"/>
                <a:gd name="connsiteY241" fmla="*/ 385940 h 495300"/>
                <a:gd name="connsiteX242" fmla="*/ 518609 w 533400"/>
                <a:gd name="connsiteY242" fmla="*/ 382249 h 495300"/>
                <a:gd name="connsiteX243" fmla="*/ 522295 w 533400"/>
                <a:gd name="connsiteY243" fmla="*/ 378559 h 495300"/>
                <a:gd name="connsiteX244" fmla="*/ 522295 w 533400"/>
                <a:gd name="connsiteY244" fmla="*/ 374868 h 495300"/>
                <a:gd name="connsiteX245" fmla="*/ 533363 w 533400"/>
                <a:gd name="connsiteY245" fmla="*/ 356415 h 495300"/>
                <a:gd name="connsiteX246" fmla="*/ 529677 w 533400"/>
                <a:gd name="connsiteY246" fmla="*/ 352725 h 495300"/>
                <a:gd name="connsiteX247" fmla="*/ 525991 w 533400"/>
                <a:gd name="connsiteY247" fmla="*/ 345344 h 495300"/>
                <a:gd name="connsiteX248" fmla="*/ 522295 w 533400"/>
                <a:gd name="connsiteY248" fmla="*/ 337963 h 495300"/>
                <a:gd name="connsiteX249" fmla="*/ 507541 w 533400"/>
                <a:gd name="connsiteY249" fmla="*/ 315819 h 495300"/>
                <a:gd name="connsiteX250" fmla="*/ 500159 w 533400"/>
                <a:gd name="connsiteY250" fmla="*/ 304748 h 495300"/>
                <a:gd name="connsiteX251" fmla="*/ 500159 w 533400"/>
                <a:gd name="connsiteY251" fmla="*/ 301057 h 495300"/>
                <a:gd name="connsiteX252" fmla="*/ 500159 w 533400"/>
                <a:gd name="connsiteY252" fmla="*/ 289985 h 495300"/>
                <a:gd name="connsiteX253" fmla="*/ 503855 w 533400"/>
                <a:gd name="connsiteY253" fmla="*/ 278913 h 495300"/>
                <a:gd name="connsiteX254" fmla="*/ 496473 w 533400"/>
                <a:gd name="connsiteY254" fmla="*/ 275223 h 495300"/>
                <a:gd name="connsiteX255" fmla="*/ 485405 w 533400"/>
                <a:gd name="connsiteY255" fmla="*/ 275223 h 495300"/>
                <a:gd name="connsiteX256" fmla="*/ 474337 w 533400"/>
                <a:gd name="connsiteY256" fmla="*/ 267841 h 495300"/>
                <a:gd name="connsiteX257" fmla="*/ 478033 w 533400"/>
                <a:gd name="connsiteY257" fmla="*/ 260461 h 495300"/>
                <a:gd name="connsiteX258" fmla="*/ 466964 w 533400"/>
                <a:gd name="connsiteY258" fmla="*/ 256771 h 495300"/>
                <a:gd name="connsiteX259" fmla="*/ 466964 w 533400"/>
                <a:gd name="connsiteY259" fmla="*/ 253080 h 495300"/>
                <a:gd name="connsiteX260" fmla="*/ 463269 w 533400"/>
                <a:gd name="connsiteY260" fmla="*/ 249389 h 495300"/>
                <a:gd name="connsiteX261" fmla="*/ 455896 w 533400"/>
                <a:gd name="connsiteY261" fmla="*/ 245699 h 495300"/>
                <a:gd name="connsiteX262" fmla="*/ 452201 w 533400"/>
                <a:gd name="connsiteY262" fmla="*/ 242008 h 495300"/>
                <a:gd name="connsiteX263" fmla="*/ 448515 w 533400"/>
                <a:gd name="connsiteY263" fmla="*/ 242008 h 495300"/>
                <a:gd name="connsiteX264" fmla="*/ 441133 w 533400"/>
                <a:gd name="connsiteY264" fmla="*/ 242008 h 495300"/>
                <a:gd name="connsiteX265" fmla="*/ 433760 w 533400"/>
                <a:gd name="connsiteY265" fmla="*/ 242008 h 495300"/>
                <a:gd name="connsiteX266" fmla="*/ 426378 w 533400"/>
                <a:gd name="connsiteY266" fmla="*/ 242008 h 495300"/>
                <a:gd name="connsiteX267" fmla="*/ 422692 w 533400"/>
                <a:gd name="connsiteY267" fmla="*/ 242008 h 495300"/>
                <a:gd name="connsiteX268" fmla="*/ 418996 w 533400"/>
                <a:gd name="connsiteY268" fmla="*/ 234627 h 495300"/>
                <a:gd name="connsiteX269" fmla="*/ 415310 w 533400"/>
                <a:gd name="connsiteY269" fmla="*/ 230936 h 495300"/>
                <a:gd name="connsiteX270" fmla="*/ 411624 w 533400"/>
                <a:gd name="connsiteY270" fmla="*/ 227246 h 495300"/>
                <a:gd name="connsiteX271" fmla="*/ 411624 w 533400"/>
                <a:gd name="connsiteY271" fmla="*/ 212483 h 495300"/>
                <a:gd name="connsiteX272" fmla="*/ 411624 w 533400"/>
                <a:gd name="connsiteY272" fmla="*/ 208793 h 495300"/>
                <a:gd name="connsiteX273" fmla="*/ 411624 w 533400"/>
                <a:gd name="connsiteY273" fmla="*/ 201411 h 495300"/>
                <a:gd name="connsiteX274" fmla="*/ 411624 w 533400"/>
                <a:gd name="connsiteY274" fmla="*/ 194030 h 495300"/>
                <a:gd name="connsiteX275" fmla="*/ 415310 w 533400"/>
                <a:gd name="connsiteY275" fmla="*/ 190340 h 495300"/>
                <a:gd name="connsiteX276" fmla="*/ 418996 w 533400"/>
                <a:gd name="connsiteY276" fmla="*/ 182958 h 495300"/>
                <a:gd name="connsiteX277" fmla="*/ 418996 w 533400"/>
                <a:gd name="connsiteY277" fmla="*/ 179268 h 495300"/>
                <a:gd name="connsiteX278" fmla="*/ 422692 w 533400"/>
                <a:gd name="connsiteY278" fmla="*/ 175578 h 495300"/>
                <a:gd name="connsiteX279" fmla="*/ 426378 w 533400"/>
                <a:gd name="connsiteY279" fmla="*/ 175578 h 495300"/>
                <a:gd name="connsiteX280" fmla="*/ 430065 w 533400"/>
                <a:gd name="connsiteY280" fmla="*/ 171888 h 495300"/>
                <a:gd name="connsiteX281" fmla="*/ 433760 w 533400"/>
                <a:gd name="connsiteY281" fmla="*/ 164506 h 495300"/>
                <a:gd name="connsiteX282" fmla="*/ 433760 w 533400"/>
                <a:gd name="connsiteY282" fmla="*/ 160816 h 495300"/>
                <a:gd name="connsiteX283" fmla="*/ 433760 w 533400"/>
                <a:gd name="connsiteY283" fmla="*/ 157125 h 495300"/>
                <a:gd name="connsiteX284" fmla="*/ 433760 w 533400"/>
                <a:gd name="connsiteY284" fmla="*/ 149744 h 495300"/>
                <a:gd name="connsiteX285" fmla="*/ 430065 w 533400"/>
                <a:gd name="connsiteY285" fmla="*/ 149744 h 495300"/>
                <a:gd name="connsiteX286" fmla="*/ 426378 w 533400"/>
                <a:gd name="connsiteY286" fmla="*/ 149744 h 495300"/>
                <a:gd name="connsiteX287" fmla="*/ 426378 w 533400"/>
                <a:gd name="connsiteY287" fmla="*/ 146053 h 495300"/>
                <a:gd name="connsiteX288" fmla="*/ 430065 w 533400"/>
                <a:gd name="connsiteY288" fmla="*/ 142363 h 495300"/>
                <a:gd name="connsiteX289" fmla="*/ 433760 w 533400"/>
                <a:gd name="connsiteY289" fmla="*/ 138672 h 495300"/>
                <a:gd name="connsiteX290" fmla="*/ 437446 w 533400"/>
                <a:gd name="connsiteY290" fmla="*/ 134981 h 495300"/>
                <a:gd name="connsiteX291" fmla="*/ 437446 w 533400"/>
                <a:gd name="connsiteY291" fmla="*/ 131291 h 495300"/>
                <a:gd name="connsiteX292" fmla="*/ 437446 w 533400"/>
                <a:gd name="connsiteY292" fmla="*/ 127600 h 495300"/>
                <a:gd name="connsiteX293" fmla="*/ 441133 w 533400"/>
                <a:gd name="connsiteY293" fmla="*/ 123910 h 495300"/>
                <a:gd name="connsiteX294" fmla="*/ 441133 w 533400"/>
                <a:gd name="connsiteY294" fmla="*/ 120219 h 495300"/>
                <a:gd name="connsiteX295" fmla="*/ 444828 w 533400"/>
                <a:gd name="connsiteY295" fmla="*/ 120219 h 495300"/>
                <a:gd name="connsiteX296" fmla="*/ 448515 w 533400"/>
                <a:gd name="connsiteY296" fmla="*/ 116528 h 495300"/>
                <a:gd name="connsiteX297" fmla="*/ 444828 w 533400"/>
                <a:gd name="connsiteY297" fmla="*/ 116528 h 495300"/>
                <a:gd name="connsiteX298" fmla="*/ 444828 w 533400"/>
                <a:gd name="connsiteY298" fmla="*/ 112838 h 495300"/>
                <a:gd name="connsiteX299" fmla="*/ 444828 w 533400"/>
                <a:gd name="connsiteY299" fmla="*/ 109147 h 495300"/>
                <a:gd name="connsiteX300" fmla="*/ 444828 w 533400"/>
                <a:gd name="connsiteY300" fmla="*/ 105457 h 495300"/>
                <a:gd name="connsiteX301" fmla="*/ 448515 w 533400"/>
                <a:gd name="connsiteY301" fmla="*/ 101766 h 495300"/>
                <a:gd name="connsiteX302" fmla="*/ 452201 w 533400"/>
                <a:gd name="connsiteY302" fmla="*/ 101766 h 495300"/>
                <a:gd name="connsiteX303" fmla="*/ 455896 w 533400"/>
                <a:gd name="connsiteY303" fmla="*/ 98075 h 495300"/>
                <a:gd name="connsiteX304" fmla="*/ 455896 w 533400"/>
                <a:gd name="connsiteY304" fmla="*/ 94385 h 495300"/>
                <a:gd name="connsiteX305" fmla="*/ 459582 w 533400"/>
                <a:gd name="connsiteY305" fmla="*/ 90695 h 495300"/>
                <a:gd name="connsiteX306" fmla="*/ 463269 w 533400"/>
                <a:gd name="connsiteY306" fmla="*/ 90695 h 495300"/>
                <a:gd name="connsiteX307" fmla="*/ 463269 w 533400"/>
                <a:gd name="connsiteY307" fmla="*/ 87004 h 495300"/>
                <a:gd name="connsiteX308" fmla="*/ 459582 w 533400"/>
                <a:gd name="connsiteY308" fmla="*/ 87004 h 495300"/>
                <a:gd name="connsiteX309" fmla="*/ 459582 w 533400"/>
                <a:gd name="connsiteY309" fmla="*/ 83314 h 495300"/>
                <a:gd name="connsiteX310" fmla="*/ 459582 w 533400"/>
                <a:gd name="connsiteY310" fmla="*/ 61170 h 495300"/>
                <a:gd name="connsiteX311" fmla="*/ 455896 w 533400"/>
                <a:gd name="connsiteY311" fmla="*/ 61170 h 495300"/>
                <a:gd name="connsiteX312" fmla="*/ 455896 w 533400"/>
                <a:gd name="connsiteY312" fmla="*/ 57480 h 495300"/>
                <a:gd name="connsiteX313" fmla="*/ 448515 w 533400"/>
                <a:gd name="connsiteY313" fmla="*/ 57480 h 495300"/>
                <a:gd name="connsiteX314" fmla="*/ 444828 w 533400"/>
                <a:gd name="connsiteY314" fmla="*/ 57480 h 495300"/>
                <a:gd name="connsiteX315" fmla="*/ 441133 w 533400"/>
                <a:gd name="connsiteY315" fmla="*/ 61170 h 495300"/>
                <a:gd name="connsiteX316" fmla="*/ 437446 w 533400"/>
                <a:gd name="connsiteY316" fmla="*/ 61170 h 495300"/>
                <a:gd name="connsiteX317" fmla="*/ 433760 w 533400"/>
                <a:gd name="connsiteY317" fmla="*/ 61170 h 495300"/>
                <a:gd name="connsiteX318" fmla="*/ 437446 w 533400"/>
                <a:gd name="connsiteY318" fmla="*/ 64861 h 495300"/>
                <a:gd name="connsiteX319" fmla="*/ 437446 w 533400"/>
                <a:gd name="connsiteY319" fmla="*/ 68551 h 495300"/>
                <a:gd name="connsiteX320" fmla="*/ 433760 w 533400"/>
                <a:gd name="connsiteY320" fmla="*/ 68551 h 495300"/>
                <a:gd name="connsiteX321" fmla="*/ 433760 w 533400"/>
                <a:gd name="connsiteY321" fmla="*/ 64861 h 495300"/>
                <a:gd name="connsiteX322" fmla="*/ 430065 w 533400"/>
                <a:gd name="connsiteY322" fmla="*/ 61170 h 495300"/>
                <a:gd name="connsiteX323" fmla="*/ 430065 w 533400"/>
                <a:gd name="connsiteY323" fmla="*/ 57480 h 495300"/>
                <a:gd name="connsiteX324" fmla="*/ 426378 w 533400"/>
                <a:gd name="connsiteY324" fmla="*/ 57480 h 495300"/>
                <a:gd name="connsiteX325" fmla="*/ 430065 w 533400"/>
                <a:gd name="connsiteY325" fmla="*/ 53789 h 495300"/>
                <a:gd name="connsiteX326" fmla="*/ 426378 w 533400"/>
                <a:gd name="connsiteY326" fmla="*/ 53789 h 495300"/>
                <a:gd name="connsiteX327" fmla="*/ 422692 w 533400"/>
                <a:gd name="connsiteY327" fmla="*/ 50098 h 495300"/>
                <a:gd name="connsiteX328" fmla="*/ 422692 w 533400"/>
                <a:gd name="connsiteY328" fmla="*/ 53789 h 495300"/>
                <a:gd name="connsiteX329" fmla="*/ 418996 w 533400"/>
                <a:gd name="connsiteY329" fmla="*/ 61170 h 495300"/>
                <a:gd name="connsiteX330" fmla="*/ 418996 w 533400"/>
                <a:gd name="connsiteY330" fmla="*/ 57480 h 495300"/>
                <a:gd name="connsiteX331" fmla="*/ 418996 w 533400"/>
                <a:gd name="connsiteY331" fmla="*/ 53789 h 495300"/>
                <a:gd name="connsiteX332" fmla="*/ 411624 w 533400"/>
                <a:gd name="connsiteY332" fmla="*/ 50098 h 495300"/>
                <a:gd name="connsiteX333" fmla="*/ 407938 w 533400"/>
                <a:gd name="connsiteY333" fmla="*/ 53789 h 495300"/>
                <a:gd name="connsiteX334" fmla="*/ 407938 w 533400"/>
                <a:gd name="connsiteY334" fmla="*/ 57480 h 495300"/>
                <a:gd name="connsiteX335" fmla="*/ 415310 w 533400"/>
                <a:gd name="connsiteY335" fmla="*/ 64861 h 495300"/>
                <a:gd name="connsiteX336" fmla="*/ 415310 w 533400"/>
                <a:gd name="connsiteY336" fmla="*/ 68551 h 495300"/>
                <a:gd name="connsiteX337" fmla="*/ 411624 w 533400"/>
                <a:gd name="connsiteY337" fmla="*/ 68551 h 495300"/>
                <a:gd name="connsiteX338" fmla="*/ 411624 w 533400"/>
                <a:gd name="connsiteY338" fmla="*/ 64861 h 495300"/>
                <a:gd name="connsiteX339" fmla="*/ 407938 w 533400"/>
                <a:gd name="connsiteY339" fmla="*/ 68551 h 495300"/>
                <a:gd name="connsiteX340" fmla="*/ 407938 w 533400"/>
                <a:gd name="connsiteY340" fmla="*/ 64861 h 495300"/>
                <a:gd name="connsiteX341" fmla="*/ 404242 w 533400"/>
                <a:gd name="connsiteY341" fmla="*/ 61170 h 495300"/>
                <a:gd name="connsiteX342" fmla="*/ 404242 w 533400"/>
                <a:gd name="connsiteY342" fmla="*/ 57480 h 495300"/>
                <a:gd name="connsiteX343" fmla="*/ 404242 w 533400"/>
                <a:gd name="connsiteY343" fmla="*/ 53789 h 495300"/>
                <a:gd name="connsiteX344" fmla="*/ 404242 w 533400"/>
                <a:gd name="connsiteY344" fmla="*/ 46408 h 495300"/>
                <a:gd name="connsiteX345" fmla="*/ 400556 w 533400"/>
                <a:gd name="connsiteY345" fmla="*/ 42717 h 495300"/>
                <a:gd name="connsiteX346" fmla="*/ 400556 w 533400"/>
                <a:gd name="connsiteY346" fmla="*/ 39027 h 495300"/>
                <a:gd name="connsiteX347" fmla="*/ 404242 w 533400"/>
                <a:gd name="connsiteY347" fmla="*/ 35336 h 495300"/>
                <a:gd name="connsiteX348" fmla="*/ 400556 w 533400"/>
                <a:gd name="connsiteY348" fmla="*/ 35336 h 495300"/>
                <a:gd name="connsiteX349" fmla="*/ 400556 w 533400"/>
                <a:gd name="connsiteY349" fmla="*/ 31645 h 495300"/>
                <a:gd name="connsiteX350" fmla="*/ 400556 w 533400"/>
                <a:gd name="connsiteY350" fmla="*/ 27955 h 495300"/>
                <a:gd name="connsiteX351" fmla="*/ 396870 w 533400"/>
                <a:gd name="connsiteY351" fmla="*/ 24264 h 495300"/>
                <a:gd name="connsiteX352" fmla="*/ 400556 w 533400"/>
                <a:gd name="connsiteY352" fmla="*/ 16883 h 495300"/>
                <a:gd name="connsiteX353" fmla="*/ 400556 w 533400"/>
                <a:gd name="connsiteY353" fmla="*/ 13192 h 495300"/>
                <a:gd name="connsiteX354" fmla="*/ 400556 w 533400"/>
                <a:gd name="connsiteY354" fmla="*/ 9502 h 495300"/>
                <a:gd name="connsiteX355" fmla="*/ 407938 w 533400"/>
                <a:gd name="connsiteY355" fmla="*/ 5812 h 495300"/>
                <a:gd name="connsiteX356" fmla="*/ 430065 w 533400"/>
                <a:gd name="connsiteY356" fmla="*/ 53789 h 495300"/>
                <a:gd name="connsiteX357" fmla="*/ 430065 w 533400"/>
                <a:gd name="connsiteY357" fmla="*/ 57480 h 495300"/>
                <a:gd name="connsiteX358" fmla="*/ 433760 w 533400"/>
                <a:gd name="connsiteY358" fmla="*/ 61170 h 495300"/>
                <a:gd name="connsiteX359" fmla="*/ 430065 w 533400"/>
                <a:gd name="connsiteY359" fmla="*/ 53789 h 495300"/>
                <a:gd name="connsiteX360" fmla="*/ 24261 w 533400"/>
                <a:gd name="connsiteY360" fmla="*/ 264151 h 495300"/>
                <a:gd name="connsiteX361" fmla="*/ 13193 w 533400"/>
                <a:gd name="connsiteY361" fmla="*/ 275223 h 495300"/>
                <a:gd name="connsiteX362" fmla="*/ 9498 w 533400"/>
                <a:gd name="connsiteY362" fmla="*/ 275223 h 495300"/>
                <a:gd name="connsiteX363" fmla="*/ 5812 w 533400"/>
                <a:gd name="connsiteY363" fmla="*/ 275223 h 495300"/>
                <a:gd name="connsiteX364" fmla="*/ 9498 w 533400"/>
                <a:gd name="connsiteY364" fmla="*/ 278913 h 495300"/>
                <a:gd name="connsiteX365" fmla="*/ 13193 w 533400"/>
                <a:gd name="connsiteY365" fmla="*/ 278913 h 495300"/>
                <a:gd name="connsiteX366" fmla="*/ 16880 w 533400"/>
                <a:gd name="connsiteY366" fmla="*/ 275223 h 495300"/>
                <a:gd name="connsiteX367" fmla="*/ 24261 w 533400"/>
                <a:gd name="connsiteY367" fmla="*/ 264151 h 495300"/>
                <a:gd name="connsiteX368" fmla="*/ 50084 w 533400"/>
                <a:gd name="connsiteY368" fmla="*/ 190340 h 495300"/>
                <a:gd name="connsiteX369" fmla="*/ 50084 w 533400"/>
                <a:gd name="connsiteY369" fmla="*/ 186649 h 495300"/>
                <a:gd name="connsiteX370" fmla="*/ 46398 w 533400"/>
                <a:gd name="connsiteY370" fmla="*/ 190340 h 495300"/>
                <a:gd name="connsiteX371" fmla="*/ 50084 w 533400"/>
                <a:gd name="connsiteY371" fmla="*/ 190340 h 495300"/>
                <a:gd name="connsiteX372" fmla="*/ 407938 w 533400"/>
                <a:gd name="connsiteY372" fmla="*/ 75933 h 495300"/>
                <a:gd name="connsiteX373" fmla="*/ 411624 w 533400"/>
                <a:gd name="connsiteY373" fmla="*/ 75933 h 495300"/>
                <a:gd name="connsiteX374" fmla="*/ 411624 w 533400"/>
                <a:gd name="connsiteY374" fmla="*/ 79623 h 495300"/>
                <a:gd name="connsiteX375" fmla="*/ 407938 w 533400"/>
                <a:gd name="connsiteY375" fmla="*/ 75933 h 495300"/>
                <a:gd name="connsiteX376" fmla="*/ 400556 w 533400"/>
                <a:gd name="connsiteY376" fmla="*/ 79623 h 495300"/>
                <a:gd name="connsiteX377" fmla="*/ 404242 w 533400"/>
                <a:gd name="connsiteY377" fmla="*/ 79623 h 495300"/>
                <a:gd name="connsiteX378" fmla="*/ 400556 w 533400"/>
                <a:gd name="connsiteY378" fmla="*/ 83314 h 495300"/>
                <a:gd name="connsiteX379" fmla="*/ 400556 w 533400"/>
                <a:gd name="connsiteY379" fmla="*/ 79623 h 495300"/>
                <a:gd name="connsiteX380" fmla="*/ 39016 w 533400"/>
                <a:gd name="connsiteY380" fmla="*/ 301057 h 495300"/>
                <a:gd name="connsiteX381" fmla="*/ 42702 w 533400"/>
                <a:gd name="connsiteY381" fmla="*/ 301057 h 495300"/>
                <a:gd name="connsiteX382" fmla="*/ 39016 w 533400"/>
                <a:gd name="connsiteY382" fmla="*/ 304748 h 495300"/>
                <a:gd name="connsiteX383" fmla="*/ 39016 w 533400"/>
                <a:gd name="connsiteY383" fmla="*/ 301057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Lst>
              <a:rect l="l" t="t" r="r" b="b"/>
              <a:pathLst>
                <a:path w="533400" h="495300">
                  <a:moveTo>
                    <a:pt x="407938" y="5812"/>
                  </a:moveTo>
                  <a:lnTo>
                    <a:pt x="389488" y="13192"/>
                  </a:lnTo>
                  <a:lnTo>
                    <a:pt x="385802" y="13192"/>
                  </a:lnTo>
                  <a:lnTo>
                    <a:pt x="378420" y="9502"/>
                  </a:lnTo>
                  <a:lnTo>
                    <a:pt x="367352" y="9502"/>
                  </a:lnTo>
                  <a:lnTo>
                    <a:pt x="367352" y="13192"/>
                  </a:lnTo>
                  <a:lnTo>
                    <a:pt x="363666" y="13192"/>
                  </a:lnTo>
                  <a:lnTo>
                    <a:pt x="359970" y="13192"/>
                  </a:lnTo>
                  <a:lnTo>
                    <a:pt x="356284" y="9502"/>
                  </a:lnTo>
                  <a:lnTo>
                    <a:pt x="341530" y="13192"/>
                  </a:lnTo>
                  <a:lnTo>
                    <a:pt x="334148" y="13192"/>
                  </a:lnTo>
                  <a:lnTo>
                    <a:pt x="330462" y="13192"/>
                  </a:lnTo>
                  <a:lnTo>
                    <a:pt x="326775" y="16883"/>
                  </a:lnTo>
                  <a:lnTo>
                    <a:pt x="312012" y="20573"/>
                  </a:lnTo>
                  <a:lnTo>
                    <a:pt x="308326" y="20573"/>
                  </a:lnTo>
                  <a:lnTo>
                    <a:pt x="304639" y="20573"/>
                  </a:lnTo>
                  <a:lnTo>
                    <a:pt x="289876" y="27955"/>
                  </a:lnTo>
                  <a:lnTo>
                    <a:pt x="282503" y="27955"/>
                  </a:lnTo>
                  <a:lnTo>
                    <a:pt x="278808" y="27955"/>
                  </a:lnTo>
                  <a:lnTo>
                    <a:pt x="275121" y="27955"/>
                  </a:lnTo>
                  <a:lnTo>
                    <a:pt x="271435" y="27955"/>
                  </a:lnTo>
                  <a:lnTo>
                    <a:pt x="271435" y="24264"/>
                  </a:lnTo>
                  <a:lnTo>
                    <a:pt x="267749" y="20573"/>
                  </a:lnTo>
                  <a:lnTo>
                    <a:pt x="267749" y="27955"/>
                  </a:lnTo>
                  <a:lnTo>
                    <a:pt x="260367" y="31645"/>
                  </a:lnTo>
                  <a:lnTo>
                    <a:pt x="252985" y="35336"/>
                  </a:lnTo>
                  <a:lnTo>
                    <a:pt x="249299" y="39027"/>
                  </a:lnTo>
                  <a:lnTo>
                    <a:pt x="241917" y="42717"/>
                  </a:lnTo>
                  <a:lnTo>
                    <a:pt x="238231" y="46408"/>
                  </a:lnTo>
                  <a:lnTo>
                    <a:pt x="230849" y="50098"/>
                  </a:lnTo>
                  <a:lnTo>
                    <a:pt x="223477" y="50098"/>
                  </a:lnTo>
                  <a:lnTo>
                    <a:pt x="212409" y="57480"/>
                  </a:lnTo>
                  <a:lnTo>
                    <a:pt x="197655" y="64861"/>
                  </a:lnTo>
                  <a:lnTo>
                    <a:pt x="190273" y="68551"/>
                  </a:lnTo>
                  <a:lnTo>
                    <a:pt x="171823" y="79623"/>
                  </a:lnTo>
                  <a:lnTo>
                    <a:pt x="160755" y="79623"/>
                  </a:lnTo>
                  <a:lnTo>
                    <a:pt x="157069" y="83314"/>
                  </a:lnTo>
                  <a:lnTo>
                    <a:pt x="149687" y="87004"/>
                  </a:lnTo>
                  <a:lnTo>
                    <a:pt x="146000" y="87004"/>
                  </a:lnTo>
                  <a:lnTo>
                    <a:pt x="142314" y="90695"/>
                  </a:lnTo>
                  <a:lnTo>
                    <a:pt x="134932" y="94385"/>
                  </a:lnTo>
                  <a:lnTo>
                    <a:pt x="127560" y="98075"/>
                  </a:lnTo>
                  <a:lnTo>
                    <a:pt x="123864" y="101766"/>
                  </a:lnTo>
                  <a:lnTo>
                    <a:pt x="116492" y="109147"/>
                  </a:lnTo>
                  <a:lnTo>
                    <a:pt x="112796" y="116528"/>
                  </a:lnTo>
                  <a:lnTo>
                    <a:pt x="109110" y="120219"/>
                  </a:lnTo>
                  <a:lnTo>
                    <a:pt x="109110" y="123910"/>
                  </a:lnTo>
                  <a:lnTo>
                    <a:pt x="105424" y="123910"/>
                  </a:lnTo>
                  <a:lnTo>
                    <a:pt x="105424" y="127600"/>
                  </a:lnTo>
                  <a:lnTo>
                    <a:pt x="98042" y="131291"/>
                  </a:lnTo>
                  <a:lnTo>
                    <a:pt x="94356" y="134981"/>
                  </a:lnTo>
                  <a:lnTo>
                    <a:pt x="90660" y="134981"/>
                  </a:lnTo>
                  <a:lnTo>
                    <a:pt x="83288" y="142363"/>
                  </a:lnTo>
                  <a:lnTo>
                    <a:pt x="79592" y="146053"/>
                  </a:lnTo>
                  <a:lnTo>
                    <a:pt x="75906" y="146053"/>
                  </a:lnTo>
                  <a:lnTo>
                    <a:pt x="72220" y="149744"/>
                  </a:lnTo>
                  <a:lnTo>
                    <a:pt x="68524" y="157125"/>
                  </a:lnTo>
                  <a:lnTo>
                    <a:pt x="64838" y="157125"/>
                  </a:lnTo>
                  <a:lnTo>
                    <a:pt x="61152" y="160816"/>
                  </a:lnTo>
                  <a:lnTo>
                    <a:pt x="57466" y="168197"/>
                  </a:lnTo>
                  <a:lnTo>
                    <a:pt x="53770" y="179268"/>
                  </a:lnTo>
                  <a:lnTo>
                    <a:pt x="50084" y="182958"/>
                  </a:lnTo>
                  <a:lnTo>
                    <a:pt x="50084" y="186649"/>
                  </a:lnTo>
                  <a:lnTo>
                    <a:pt x="53770" y="186649"/>
                  </a:lnTo>
                  <a:lnTo>
                    <a:pt x="50084" y="190340"/>
                  </a:lnTo>
                  <a:lnTo>
                    <a:pt x="46398" y="194030"/>
                  </a:lnTo>
                  <a:lnTo>
                    <a:pt x="42702" y="197721"/>
                  </a:lnTo>
                  <a:lnTo>
                    <a:pt x="42702" y="201411"/>
                  </a:lnTo>
                  <a:lnTo>
                    <a:pt x="46398" y="201411"/>
                  </a:lnTo>
                  <a:lnTo>
                    <a:pt x="46398" y="208793"/>
                  </a:lnTo>
                  <a:lnTo>
                    <a:pt x="42702" y="216174"/>
                  </a:lnTo>
                  <a:lnTo>
                    <a:pt x="42702" y="227246"/>
                  </a:lnTo>
                  <a:lnTo>
                    <a:pt x="42702" y="234627"/>
                  </a:lnTo>
                  <a:lnTo>
                    <a:pt x="42702" y="238318"/>
                  </a:lnTo>
                  <a:lnTo>
                    <a:pt x="39016" y="242008"/>
                  </a:lnTo>
                  <a:lnTo>
                    <a:pt x="39016" y="245699"/>
                  </a:lnTo>
                  <a:lnTo>
                    <a:pt x="31634" y="249389"/>
                  </a:lnTo>
                  <a:lnTo>
                    <a:pt x="27948" y="249389"/>
                  </a:lnTo>
                  <a:lnTo>
                    <a:pt x="31634" y="253080"/>
                  </a:lnTo>
                  <a:lnTo>
                    <a:pt x="27948" y="256771"/>
                  </a:lnTo>
                  <a:lnTo>
                    <a:pt x="27948" y="260461"/>
                  </a:lnTo>
                  <a:lnTo>
                    <a:pt x="24261" y="264151"/>
                  </a:lnTo>
                  <a:lnTo>
                    <a:pt x="27948" y="264151"/>
                  </a:lnTo>
                  <a:lnTo>
                    <a:pt x="31634" y="267841"/>
                  </a:lnTo>
                  <a:lnTo>
                    <a:pt x="35330" y="275223"/>
                  </a:lnTo>
                  <a:lnTo>
                    <a:pt x="35330" y="278913"/>
                  </a:lnTo>
                  <a:lnTo>
                    <a:pt x="35330" y="282604"/>
                  </a:lnTo>
                  <a:lnTo>
                    <a:pt x="35330" y="286295"/>
                  </a:lnTo>
                  <a:lnTo>
                    <a:pt x="39016" y="293676"/>
                  </a:lnTo>
                  <a:lnTo>
                    <a:pt x="35330" y="293676"/>
                  </a:lnTo>
                  <a:lnTo>
                    <a:pt x="39016" y="297366"/>
                  </a:lnTo>
                  <a:lnTo>
                    <a:pt x="35330" y="297366"/>
                  </a:lnTo>
                  <a:lnTo>
                    <a:pt x="35330" y="293676"/>
                  </a:lnTo>
                  <a:lnTo>
                    <a:pt x="27948" y="293676"/>
                  </a:lnTo>
                  <a:lnTo>
                    <a:pt x="27948" y="297366"/>
                  </a:lnTo>
                  <a:lnTo>
                    <a:pt x="27948" y="301057"/>
                  </a:lnTo>
                  <a:lnTo>
                    <a:pt x="31634" y="301057"/>
                  </a:lnTo>
                  <a:lnTo>
                    <a:pt x="35330" y="301057"/>
                  </a:lnTo>
                  <a:lnTo>
                    <a:pt x="35330" y="308438"/>
                  </a:lnTo>
                  <a:lnTo>
                    <a:pt x="35330" y="312129"/>
                  </a:lnTo>
                  <a:lnTo>
                    <a:pt x="39016" y="308438"/>
                  </a:lnTo>
                  <a:lnTo>
                    <a:pt x="39016" y="312129"/>
                  </a:lnTo>
                  <a:lnTo>
                    <a:pt x="35330" y="312129"/>
                  </a:lnTo>
                  <a:lnTo>
                    <a:pt x="35330" y="315819"/>
                  </a:lnTo>
                  <a:lnTo>
                    <a:pt x="39016" y="315819"/>
                  </a:lnTo>
                  <a:lnTo>
                    <a:pt x="42702" y="319510"/>
                  </a:lnTo>
                  <a:lnTo>
                    <a:pt x="42702" y="323201"/>
                  </a:lnTo>
                  <a:lnTo>
                    <a:pt x="42702" y="326891"/>
                  </a:lnTo>
                  <a:lnTo>
                    <a:pt x="42702" y="330582"/>
                  </a:lnTo>
                  <a:lnTo>
                    <a:pt x="39016" y="334272"/>
                  </a:lnTo>
                  <a:lnTo>
                    <a:pt x="39016" y="341654"/>
                  </a:lnTo>
                  <a:lnTo>
                    <a:pt x="42702" y="352725"/>
                  </a:lnTo>
                  <a:lnTo>
                    <a:pt x="42702" y="360106"/>
                  </a:lnTo>
                  <a:lnTo>
                    <a:pt x="46398" y="363796"/>
                  </a:lnTo>
                  <a:lnTo>
                    <a:pt x="46398" y="365065"/>
                  </a:lnTo>
                  <a:lnTo>
                    <a:pt x="53770" y="360106"/>
                  </a:lnTo>
                  <a:lnTo>
                    <a:pt x="46398" y="367487"/>
                  </a:lnTo>
                  <a:lnTo>
                    <a:pt x="46398" y="365065"/>
                  </a:lnTo>
                  <a:lnTo>
                    <a:pt x="42702" y="367487"/>
                  </a:lnTo>
                  <a:lnTo>
                    <a:pt x="42702" y="371178"/>
                  </a:lnTo>
                  <a:lnTo>
                    <a:pt x="42702" y="378559"/>
                  </a:lnTo>
                  <a:lnTo>
                    <a:pt x="39016" y="378559"/>
                  </a:lnTo>
                  <a:lnTo>
                    <a:pt x="35330" y="382249"/>
                  </a:lnTo>
                  <a:lnTo>
                    <a:pt x="39016" y="385940"/>
                  </a:lnTo>
                  <a:lnTo>
                    <a:pt x="42702" y="393321"/>
                  </a:lnTo>
                  <a:lnTo>
                    <a:pt x="42702" y="397012"/>
                  </a:lnTo>
                  <a:lnTo>
                    <a:pt x="42702" y="404393"/>
                  </a:lnTo>
                  <a:lnTo>
                    <a:pt x="42702" y="408084"/>
                  </a:lnTo>
                  <a:lnTo>
                    <a:pt x="39016" y="411774"/>
                  </a:lnTo>
                  <a:lnTo>
                    <a:pt x="35330" y="411774"/>
                  </a:lnTo>
                  <a:lnTo>
                    <a:pt x="31634" y="411774"/>
                  </a:lnTo>
                  <a:lnTo>
                    <a:pt x="24261" y="419156"/>
                  </a:lnTo>
                  <a:lnTo>
                    <a:pt x="20566" y="422846"/>
                  </a:lnTo>
                  <a:lnTo>
                    <a:pt x="16880" y="426537"/>
                  </a:lnTo>
                  <a:lnTo>
                    <a:pt x="20566" y="430227"/>
                  </a:lnTo>
                  <a:lnTo>
                    <a:pt x="20566" y="433917"/>
                  </a:lnTo>
                  <a:lnTo>
                    <a:pt x="20566" y="437608"/>
                  </a:lnTo>
                  <a:lnTo>
                    <a:pt x="27948" y="437608"/>
                  </a:lnTo>
                  <a:lnTo>
                    <a:pt x="27948" y="441298"/>
                  </a:lnTo>
                  <a:lnTo>
                    <a:pt x="31634" y="441298"/>
                  </a:lnTo>
                  <a:lnTo>
                    <a:pt x="39016" y="448679"/>
                  </a:lnTo>
                  <a:lnTo>
                    <a:pt x="46398" y="456061"/>
                  </a:lnTo>
                  <a:lnTo>
                    <a:pt x="50084" y="456061"/>
                  </a:lnTo>
                  <a:lnTo>
                    <a:pt x="53770" y="456061"/>
                  </a:lnTo>
                  <a:lnTo>
                    <a:pt x="57466" y="456061"/>
                  </a:lnTo>
                  <a:lnTo>
                    <a:pt x="64838" y="456061"/>
                  </a:lnTo>
                  <a:lnTo>
                    <a:pt x="64838" y="452370"/>
                  </a:lnTo>
                  <a:lnTo>
                    <a:pt x="75906" y="456061"/>
                  </a:lnTo>
                  <a:lnTo>
                    <a:pt x="83288" y="456061"/>
                  </a:lnTo>
                  <a:lnTo>
                    <a:pt x="86974" y="459751"/>
                  </a:lnTo>
                  <a:lnTo>
                    <a:pt x="101728" y="467133"/>
                  </a:lnTo>
                  <a:lnTo>
                    <a:pt x="109110" y="467133"/>
                  </a:lnTo>
                  <a:lnTo>
                    <a:pt x="109110" y="470823"/>
                  </a:lnTo>
                  <a:lnTo>
                    <a:pt x="116492" y="470823"/>
                  </a:lnTo>
                  <a:lnTo>
                    <a:pt x="120178" y="467133"/>
                  </a:lnTo>
                  <a:lnTo>
                    <a:pt x="123864" y="467133"/>
                  </a:lnTo>
                  <a:lnTo>
                    <a:pt x="123864" y="463442"/>
                  </a:lnTo>
                  <a:lnTo>
                    <a:pt x="127560" y="459751"/>
                  </a:lnTo>
                  <a:lnTo>
                    <a:pt x="127560" y="456061"/>
                  </a:lnTo>
                  <a:lnTo>
                    <a:pt x="134932" y="452370"/>
                  </a:lnTo>
                  <a:lnTo>
                    <a:pt x="142314" y="456061"/>
                  </a:lnTo>
                  <a:lnTo>
                    <a:pt x="146000" y="452370"/>
                  </a:lnTo>
                  <a:lnTo>
                    <a:pt x="153382" y="448679"/>
                  </a:lnTo>
                  <a:lnTo>
                    <a:pt x="157069" y="448679"/>
                  </a:lnTo>
                  <a:lnTo>
                    <a:pt x="160755" y="452370"/>
                  </a:lnTo>
                  <a:lnTo>
                    <a:pt x="160755" y="459751"/>
                  </a:lnTo>
                  <a:lnTo>
                    <a:pt x="164450" y="459751"/>
                  </a:lnTo>
                  <a:lnTo>
                    <a:pt x="168137" y="459751"/>
                  </a:lnTo>
                  <a:lnTo>
                    <a:pt x="175518" y="459751"/>
                  </a:lnTo>
                  <a:lnTo>
                    <a:pt x="179205" y="459751"/>
                  </a:lnTo>
                  <a:lnTo>
                    <a:pt x="182891" y="459751"/>
                  </a:lnTo>
                  <a:lnTo>
                    <a:pt x="182891" y="463442"/>
                  </a:lnTo>
                  <a:lnTo>
                    <a:pt x="186587" y="463442"/>
                  </a:lnTo>
                  <a:lnTo>
                    <a:pt x="190273" y="459751"/>
                  </a:lnTo>
                  <a:lnTo>
                    <a:pt x="190273" y="463442"/>
                  </a:lnTo>
                  <a:lnTo>
                    <a:pt x="197655" y="467133"/>
                  </a:lnTo>
                  <a:lnTo>
                    <a:pt x="193959" y="459751"/>
                  </a:lnTo>
                  <a:lnTo>
                    <a:pt x="205027" y="463442"/>
                  </a:lnTo>
                  <a:lnTo>
                    <a:pt x="208713" y="463442"/>
                  </a:lnTo>
                  <a:lnTo>
                    <a:pt x="223477" y="481895"/>
                  </a:lnTo>
                  <a:lnTo>
                    <a:pt x="227163" y="489276"/>
                  </a:lnTo>
                  <a:lnTo>
                    <a:pt x="227163" y="492967"/>
                  </a:lnTo>
                  <a:lnTo>
                    <a:pt x="230849" y="489276"/>
                  </a:lnTo>
                  <a:lnTo>
                    <a:pt x="238231" y="481895"/>
                  </a:lnTo>
                  <a:lnTo>
                    <a:pt x="241917" y="481895"/>
                  </a:lnTo>
                  <a:lnTo>
                    <a:pt x="241917" y="485586"/>
                  </a:lnTo>
                  <a:lnTo>
                    <a:pt x="245613" y="485586"/>
                  </a:lnTo>
                  <a:lnTo>
                    <a:pt x="249299" y="485586"/>
                  </a:lnTo>
                  <a:lnTo>
                    <a:pt x="249299" y="489276"/>
                  </a:lnTo>
                  <a:lnTo>
                    <a:pt x="252985" y="489276"/>
                  </a:lnTo>
                  <a:lnTo>
                    <a:pt x="256681" y="489276"/>
                  </a:lnTo>
                  <a:lnTo>
                    <a:pt x="260367" y="492967"/>
                  </a:lnTo>
                  <a:lnTo>
                    <a:pt x="264053" y="492967"/>
                  </a:lnTo>
                  <a:lnTo>
                    <a:pt x="267749" y="492967"/>
                  </a:lnTo>
                  <a:lnTo>
                    <a:pt x="271435" y="492967"/>
                  </a:lnTo>
                  <a:lnTo>
                    <a:pt x="275121" y="489276"/>
                  </a:lnTo>
                  <a:lnTo>
                    <a:pt x="278808" y="489276"/>
                  </a:lnTo>
                  <a:lnTo>
                    <a:pt x="278808" y="485586"/>
                  </a:lnTo>
                  <a:lnTo>
                    <a:pt x="282503" y="485586"/>
                  </a:lnTo>
                  <a:lnTo>
                    <a:pt x="286189" y="481895"/>
                  </a:lnTo>
                  <a:lnTo>
                    <a:pt x="286189" y="478204"/>
                  </a:lnTo>
                  <a:lnTo>
                    <a:pt x="289876" y="474514"/>
                  </a:lnTo>
                  <a:lnTo>
                    <a:pt x="289876" y="470823"/>
                  </a:lnTo>
                  <a:lnTo>
                    <a:pt x="293571" y="467133"/>
                  </a:lnTo>
                  <a:lnTo>
                    <a:pt x="300944" y="467133"/>
                  </a:lnTo>
                  <a:lnTo>
                    <a:pt x="300944" y="463442"/>
                  </a:lnTo>
                  <a:lnTo>
                    <a:pt x="308326" y="467133"/>
                  </a:lnTo>
                  <a:lnTo>
                    <a:pt x="308326" y="463442"/>
                  </a:lnTo>
                  <a:lnTo>
                    <a:pt x="315707" y="459751"/>
                  </a:lnTo>
                  <a:lnTo>
                    <a:pt x="315707" y="467133"/>
                  </a:lnTo>
                  <a:lnTo>
                    <a:pt x="319394" y="474514"/>
                  </a:lnTo>
                  <a:lnTo>
                    <a:pt x="323080" y="478204"/>
                  </a:lnTo>
                  <a:lnTo>
                    <a:pt x="326775" y="478204"/>
                  </a:lnTo>
                  <a:lnTo>
                    <a:pt x="326775" y="481895"/>
                  </a:lnTo>
                  <a:lnTo>
                    <a:pt x="330462" y="478204"/>
                  </a:lnTo>
                  <a:lnTo>
                    <a:pt x="341530" y="474514"/>
                  </a:lnTo>
                  <a:lnTo>
                    <a:pt x="341530" y="481895"/>
                  </a:lnTo>
                  <a:lnTo>
                    <a:pt x="348912" y="478204"/>
                  </a:lnTo>
                  <a:lnTo>
                    <a:pt x="352598" y="474514"/>
                  </a:lnTo>
                  <a:lnTo>
                    <a:pt x="356284" y="474514"/>
                  </a:lnTo>
                  <a:lnTo>
                    <a:pt x="356284" y="470823"/>
                  </a:lnTo>
                  <a:lnTo>
                    <a:pt x="352598" y="463442"/>
                  </a:lnTo>
                  <a:lnTo>
                    <a:pt x="356284" y="463442"/>
                  </a:lnTo>
                  <a:lnTo>
                    <a:pt x="367352" y="463442"/>
                  </a:lnTo>
                  <a:lnTo>
                    <a:pt x="371038" y="459751"/>
                  </a:lnTo>
                  <a:lnTo>
                    <a:pt x="374734" y="456061"/>
                  </a:lnTo>
                  <a:lnTo>
                    <a:pt x="385802" y="448679"/>
                  </a:lnTo>
                  <a:lnTo>
                    <a:pt x="396870" y="441298"/>
                  </a:lnTo>
                  <a:lnTo>
                    <a:pt x="404242" y="433917"/>
                  </a:lnTo>
                  <a:lnTo>
                    <a:pt x="418996" y="426537"/>
                  </a:lnTo>
                  <a:lnTo>
                    <a:pt x="422692" y="422846"/>
                  </a:lnTo>
                  <a:lnTo>
                    <a:pt x="426378" y="419156"/>
                  </a:lnTo>
                  <a:lnTo>
                    <a:pt x="437446" y="404393"/>
                  </a:lnTo>
                  <a:lnTo>
                    <a:pt x="444828" y="400703"/>
                  </a:lnTo>
                  <a:lnTo>
                    <a:pt x="444828" y="397012"/>
                  </a:lnTo>
                  <a:lnTo>
                    <a:pt x="444828" y="393321"/>
                  </a:lnTo>
                  <a:lnTo>
                    <a:pt x="452201" y="389631"/>
                  </a:lnTo>
                  <a:lnTo>
                    <a:pt x="463269" y="393321"/>
                  </a:lnTo>
                  <a:lnTo>
                    <a:pt x="474337" y="393321"/>
                  </a:lnTo>
                  <a:lnTo>
                    <a:pt x="489100" y="408084"/>
                  </a:lnTo>
                  <a:lnTo>
                    <a:pt x="503855" y="397012"/>
                  </a:lnTo>
                  <a:lnTo>
                    <a:pt x="514923" y="385940"/>
                  </a:lnTo>
                  <a:lnTo>
                    <a:pt x="518609" y="382249"/>
                  </a:lnTo>
                  <a:lnTo>
                    <a:pt x="522295" y="378559"/>
                  </a:lnTo>
                  <a:lnTo>
                    <a:pt x="522295" y="374868"/>
                  </a:lnTo>
                  <a:lnTo>
                    <a:pt x="533363" y="356415"/>
                  </a:lnTo>
                  <a:lnTo>
                    <a:pt x="529677" y="352725"/>
                  </a:lnTo>
                  <a:lnTo>
                    <a:pt x="525991" y="345344"/>
                  </a:lnTo>
                  <a:lnTo>
                    <a:pt x="522295" y="337963"/>
                  </a:lnTo>
                  <a:lnTo>
                    <a:pt x="507541" y="315819"/>
                  </a:lnTo>
                  <a:lnTo>
                    <a:pt x="500159" y="304748"/>
                  </a:lnTo>
                  <a:lnTo>
                    <a:pt x="500159" y="301057"/>
                  </a:lnTo>
                  <a:lnTo>
                    <a:pt x="500159" y="289985"/>
                  </a:lnTo>
                  <a:lnTo>
                    <a:pt x="503855" y="278913"/>
                  </a:lnTo>
                  <a:lnTo>
                    <a:pt x="496473" y="275223"/>
                  </a:lnTo>
                  <a:lnTo>
                    <a:pt x="485405" y="275223"/>
                  </a:lnTo>
                  <a:lnTo>
                    <a:pt x="474337" y="267841"/>
                  </a:lnTo>
                  <a:lnTo>
                    <a:pt x="478033" y="260461"/>
                  </a:lnTo>
                  <a:lnTo>
                    <a:pt x="466964" y="256771"/>
                  </a:lnTo>
                  <a:lnTo>
                    <a:pt x="466964" y="253080"/>
                  </a:lnTo>
                  <a:lnTo>
                    <a:pt x="463269" y="249389"/>
                  </a:lnTo>
                  <a:lnTo>
                    <a:pt x="455896" y="245699"/>
                  </a:lnTo>
                  <a:lnTo>
                    <a:pt x="452201" y="242008"/>
                  </a:lnTo>
                  <a:lnTo>
                    <a:pt x="448515" y="242008"/>
                  </a:lnTo>
                  <a:lnTo>
                    <a:pt x="441133" y="242008"/>
                  </a:lnTo>
                  <a:lnTo>
                    <a:pt x="433760" y="242008"/>
                  </a:lnTo>
                  <a:lnTo>
                    <a:pt x="426378" y="242008"/>
                  </a:lnTo>
                  <a:lnTo>
                    <a:pt x="422692" y="242008"/>
                  </a:lnTo>
                  <a:lnTo>
                    <a:pt x="418996" y="234627"/>
                  </a:lnTo>
                  <a:lnTo>
                    <a:pt x="415310" y="230936"/>
                  </a:lnTo>
                  <a:lnTo>
                    <a:pt x="411624" y="227246"/>
                  </a:lnTo>
                  <a:lnTo>
                    <a:pt x="411624" y="212483"/>
                  </a:lnTo>
                  <a:lnTo>
                    <a:pt x="411624" y="208793"/>
                  </a:lnTo>
                  <a:lnTo>
                    <a:pt x="411624" y="201411"/>
                  </a:lnTo>
                  <a:lnTo>
                    <a:pt x="411624" y="194030"/>
                  </a:lnTo>
                  <a:lnTo>
                    <a:pt x="415310" y="190340"/>
                  </a:lnTo>
                  <a:lnTo>
                    <a:pt x="418996" y="182958"/>
                  </a:lnTo>
                  <a:lnTo>
                    <a:pt x="418996" y="179268"/>
                  </a:lnTo>
                  <a:lnTo>
                    <a:pt x="422692" y="175578"/>
                  </a:lnTo>
                  <a:lnTo>
                    <a:pt x="426378" y="175578"/>
                  </a:lnTo>
                  <a:lnTo>
                    <a:pt x="430065" y="171888"/>
                  </a:lnTo>
                  <a:lnTo>
                    <a:pt x="433760" y="164506"/>
                  </a:lnTo>
                  <a:lnTo>
                    <a:pt x="433760" y="160816"/>
                  </a:lnTo>
                  <a:lnTo>
                    <a:pt x="433760" y="157125"/>
                  </a:lnTo>
                  <a:lnTo>
                    <a:pt x="433760" y="149744"/>
                  </a:lnTo>
                  <a:lnTo>
                    <a:pt x="430065" y="149744"/>
                  </a:lnTo>
                  <a:lnTo>
                    <a:pt x="426378" y="149744"/>
                  </a:lnTo>
                  <a:lnTo>
                    <a:pt x="426378" y="146053"/>
                  </a:lnTo>
                  <a:lnTo>
                    <a:pt x="430065" y="142363"/>
                  </a:lnTo>
                  <a:lnTo>
                    <a:pt x="433760" y="138672"/>
                  </a:lnTo>
                  <a:lnTo>
                    <a:pt x="437446" y="134981"/>
                  </a:lnTo>
                  <a:lnTo>
                    <a:pt x="437446" y="131291"/>
                  </a:lnTo>
                  <a:lnTo>
                    <a:pt x="437446" y="127600"/>
                  </a:lnTo>
                  <a:lnTo>
                    <a:pt x="441133" y="123910"/>
                  </a:lnTo>
                  <a:lnTo>
                    <a:pt x="441133" y="120219"/>
                  </a:lnTo>
                  <a:lnTo>
                    <a:pt x="444828" y="120219"/>
                  </a:lnTo>
                  <a:lnTo>
                    <a:pt x="448515" y="116528"/>
                  </a:lnTo>
                  <a:lnTo>
                    <a:pt x="444828" y="116528"/>
                  </a:lnTo>
                  <a:lnTo>
                    <a:pt x="444828" y="112838"/>
                  </a:lnTo>
                  <a:lnTo>
                    <a:pt x="444828" y="109147"/>
                  </a:lnTo>
                  <a:lnTo>
                    <a:pt x="444828" y="105457"/>
                  </a:lnTo>
                  <a:lnTo>
                    <a:pt x="448515" y="101766"/>
                  </a:lnTo>
                  <a:lnTo>
                    <a:pt x="452201" y="101766"/>
                  </a:lnTo>
                  <a:lnTo>
                    <a:pt x="455896" y="98075"/>
                  </a:lnTo>
                  <a:lnTo>
                    <a:pt x="455896" y="94385"/>
                  </a:lnTo>
                  <a:lnTo>
                    <a:pt x="459582" y="90695"/>
                  </a:lnTo>
                  <a:lnTo>
                    <a:pt x="463269" y="90695"/>
                  </a:lnTo>
                  <a:lnTo>
                    <a:pt x="463269" y="87004"/>
                  </a:lnTo>
                  <a:lnTo>
                    <a:pt x="459582" y="87004"/>
                  </a:lnTo>
                  <a:lnTo>
                    <a:pt x="459582" y="83314"/>
                  </a:lnTo>
                  <a:lnTo>
                    <a:pt x="459582" y="61170"/>
                  </a:lnTo>
                  <a:lnTo>
                    <a:pt x="455896" y="61170"/>
                  </a:lnTo>
                  <a:lnTo>
                    <a:pt x="455896" y="57480"/>
                  </a:lnTo>
                  <a:lnTo>
                    <a:pt x="448515" y="57480"/>
                  </a:lnTo>
                  <a:lnTo>
                    <a:pt x="444828" y="57480"/>
                  </a:lnTo>
                  <a:lnTo>
                    <a:pt x="441133" y="61170"/>
                  </a:lnTo>
                  <a:lnTo>
                    <a:pt x="437446" y="61170"/>
                  </a:lnTo>
                  <a:lnTo>
                    <a:pt x="433760" y="61170"/>
                  </a:lnTo>
                  <a:lnTo>
                    <a:pt x="437446" y="64861"/>
                  </a:lnTo>
                  <a:lnTo>
                    <a:pt x="437446" y="68551"/>
                  </a:lnTo>
                  <a:lnTo>
                    <a:pt x="433760" y="68551"/>
                  </a:lnTo>
                  <a:lnTo>
                    <a:pt x="433760" y="64861"/>
                  </a:lnTo>
                  <a:lnTo>
                    <a:pt x="430065" y="61170"/>
                  </a:lnTo>
                  <a:lnTo>
                    <a:pt x="430065" y="57480"/>
                  </a:lnTo>
                  <a:lnTo>
                    <a:pt x="426378" y="57480"/>
                  </a:lnTo>
                  <a:lnTo>
                    <a:pt x="430065" y="53789"/>
                  </a:lnTo>
                  <a:lnTo>
                    <a:pt x="426378" y="53789"/>
                  </a:lnTo>
                  <a:lnTo>
                    <a:pt x="422692" y="50098"/>
                  </a:lnTo>
                  <a:lnTo>
                    <a:pt x="422692" y="53789"/>
                  </a:lnTo>
                  <a:lnTo>
                    <a:pt x="418996" y="61170"/>
                  </a:lnTo>
                  <a:lnTo>
                    <a:pt x="418996" y="57480"/>
                  </a:lnTo>
                  <a:lnTo>
                    <a:pt x="418996" y="53789"/>
                  </a:lnTo>
                  <a:lnTo>
                    <a:pt x="411624" y="50098"/>
                  </a:lnTo>
                  <a:lnTo>
                    <a:pt x="407938" y="53789"/>
                  </a:lnTo>
                  <a:lnTo>
                    <a:pt x="407938" y="57480"/>
                  </a:lnTo>
                  <a:lnTo>
                    <a:pt x="415310" y="64861"/>
                  </a:lnTo>
                  <a:lnTo>
                    <a:pt x="415310" y="68551"/>
                  </a:lnTo>
                  <a:lnTo>
                    <a:pt x="411624" y="68551"/>
                  </a:lnTo>
                  <a:lnTo>
                    <a:pt x="411624" y="64861"/>
                  </a:lnTo>
                  <a:lnTo>
                    <a:pt x="407938" y="68551"/>
                  </a:lnTo>
                  <a:lnTo>
                    <a:pt x="407938" y="64861"/>
                  </a:lnTo>
                  <a:lnTo>
                    <a:pt x="404242" y="61170"/>
                  </a:lnTo>
                  <a:lnTo>
                    <a:pt x="404242" y="57480"/>
                  </a:lnTo>
                  <a:lnTo>
                    <a:pt x="404242" y="53789"/>
                  </a:lnTo>
                  <a:lnTo>
                    <a:pt x="404242" y="46408"/>
                  </a:lnTo>
                  <a:lnTo>
                    <a:pt x="400556" y="42717"/>
                  </a:lnTo>
                  <a:lnTo>
                    <a:pt x="400556" y="39027"/>
                  </a:lnTo>
                  <a:lnTo>
                    <a:pt x="404242" y="35336"/>
                  </a:lnTo>
                  <a:lnTo>
                    <a:pt x="400556" y="35336"/>
                  </a:lnTo>
                  <a:lnTo>
                    <a:pt x="400556" y="31645"/>
                  </a:lnTo>
                  <a:lnTo>
                    <a:pt x="400556" y="27955"/>
                  </a:lnTo>
                  <a:lnTo>
                    <a:pt x="396870" y="24264"/>
                  </a:lnTo>
                  <a:lnTo>
                    <a:pt x="400556" y="16883"/>
                  </a:lnTo>
                  <a:lnTo>
                    <a:pt x="400556" y="13192"/>
                  </a:lnTo>
                  <a:lnTo>
                    <a:pt x="400556" y="9502"/>
                  </a:lnTo>
                  <a:lnTo>
                    <a:pt x="407938" y="5812"/>
                  </a:lnTo>
                  <a:close/>
                  <a:moveTo>
                    <a:pt x="430065" y="53789"/>
                  </a:moveTo>
                  <a:lnTo>
                    <a:pt x="430065" y="57480"/>
                  </a:lnTo>
                  <a:lnTo>
                    <a:pt x="433760" y="61170"/>
                  </a:lnTo>
                  <a:lnTo>
                    <a:pt x="430065" y="53789"/>
                  </a:lnTo>
                  <a:close/>
                  <a:moveTo>
                    <a:pt x="24261" y="264151"/>
                  </a:moveTo>
                  <a:lnTo>
                    <a:pt x="13193" y="275223"/>
                  </a:lnTo>
                  <a:lnTo>
                    <a:pt x="9498" y="275223"/>
                  </a:lnTo>
                  <a:lnTo>
                    <a:pt x="5812" y="275223"/>
                  </a:lnTo>
                  <a:lnTo>
                    <a:pt x="9498" y="278913"/>
                  </a:lnTo>
                  <a:lnTo>
                    <a:pt x="13193" y="278913"/>
                  </a:lnTo>
                  <a:lnTo>
                    <a:pt x="16880" y="275223"/>
                  </a:lnTo>
                  <a:lnTo>
                    <a:pt x="24261" y="264151"/>
                  </a:lnTo>
                  <a:close/>
                  <a:moveTo>
                    <a:pt x="50084" y="190340"/>
                  </a:moveTo>
                  <a:lnTo>
                    <a:pt x="50084" y="186649"/>
                  </a:lnTo>
                  <a:lnTo>
                    <a:pt x="46398" y="190340"/>
                  </a:lnTo>
                  <a:lnTo>
                    <a:pt x="50084" y="190340"/>
                  </a:lnTo>
                  <a:close/>
                  <a:moveTo>
                    <a:pt x="407938" y="75933"/>
                  </a:moveTo>
                  <a:lnTo>
                    <a:pt x="411624" y="75933"/>
                  </a:lnTo>
                  <a:lnTo>
                    <a:pt x="411624" y="79623"/>
                  </a:lnTo>
                  <a:lnTo>
                    <a:pt x="407938" y="75933"/>
                  </a:lnTo>
                  <a:close/>
                  <a:moveTo>
                    <a:pt x="400556" y="79623"/>
                  </a:moveTo>
                  <a:lnTo>
                    <a:pt x="404242" y="79623"/>
                  </a:lnTo>
                  <a:lnTo>
                    <a:pt x="400556" y="83314"/>
                  </a:lnTo>
                  <a:lnTo>
                    <a:pt x="400556" y="79623"/>
                  </a:lnTo>
                  <a:close/>
                  <a:moveTo>
                    <a:pt x="39016" y="301057"/>
                  </a:moveTo>
                  <a:lnTo>
                    <a:pt x="42702" y="301057"/>
                  </a:lnTo>
                  <a:lnTo>
                    <a:pt x="39016" y="304748"/>
                  </a:lnTo>
                  <a:lnTo>
                    <a:pt x="39016" y="301057"/>
                  </a:lnTo>
                  <a:close/>
                </a:path>
              </a:pathLst>
            </a:custGeom>
            <a:solidFill>
              <a:schemeClr val="accent5"/>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08</a:t>
              </a:r>
            </a:p>
          </p:txBody>
        </p:sp>
        <p:sp>
          <p:nvSpPr>
            <p:cNvPr id="111" name="Freeform: Shape 110">
              <a:extLst>
                <a:ext uri="{FF2B5EF4-FFF2-40B4-BE49-F238E27FC236}">
                  <a16:creationId xmlns:a16="http://schemas.microsoft.com/office/drawing/2014/main" id="{8926537B-18A9-4B21-ADD4-CE93BF35F924}"/>
                </a:ext>
              </a:extLst>
            </p:cNvPr>
            <p:cNvSpPr/>
            <p:nvPr/>
          </p:nvSpPr>
          <p:spPr>
            <a:xfrm>
              <a:off x="2935076" y="2538398"/>
              <a:ext cx="15373" cy="30745"/>
            </a:xfrm>
            <a:custGeom>
              <a:avLst/>
              <a:gdLst>
                <a:gd name="connsiteX0" fmla="*/ 13193 w 9525"/>
                <a:gd name="connsiteY0" fmla="*/ 9502 h 19050"/>
                <a:gd name="connsiteX1" fmla="*/ 13193 w 9525"/>
                <a:gd name="connsiteY1" fmla="*/ 13193 h 19050"/>
                <a:gd name="connsiteX2" fmla="*/ 9507 w 9525"/>
                <a:gd name="connsiteY2" fmla="*/ 16884 h 19050"/>
                <a:gd name="connsiteX3" fmla="*/ 5812 w 9525"/>
                <a:gd name="connsiteY3" fmla="*/ 16884 h 19050"/>
                <a:gd name="connsiteX4" fmla="*/ 5812 w 9525"/>
                <a:gd name="connsiteY4" fmla="*/ 16884 h 19050"/>
                <a:gd name="connsiteX5" fmla="*/ 5812 w 9525"/>
                <a:gd name="connsiteY5" fmla="*/ 13193 h 19050"/>
                <a:gd name="connsiteX6" fmla="*/ 5812 w 9525"/>
                <a:gd name="connsiteY6" fmla="*/ 9502 h 19050"/>
                <a:gd name="connsiteX7" fmla="*/ 5812 w 9525"/>
                <a:gd name="connsiteY7" fmla="*/ 9502 h 19050"/>
                <a:gd name="connsiteX8" fmla="*/ 9507 w 9525"/>
                <a:gd name="connsiteY8" fmla="*/ 5812 h 19050"/>
                <a:gd name="connsiteX9" fmla="*/ 9507 w 9525"/>
                <a:gd name="connsiteY9" fmla="*/ 5812 h 19050"/>
                <a:gd name="connsiteX10" fmla="*/ 13193 w 9525"/>
                <a:gd name="connsiteY10" fmla="*/ 5812 h 19050"/>
                <a:gd name="connsiteX11" fmla="*/ 13193 w 9525"/>
                <a:gd name="connsiteY11" fmla="*/ 950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25" h="19050">
                  <a:moveTo>
                    <a:pt x="13193" y="9502"/>
                  </a:moveTo>
                  <a:lnTo>
                    <a:pt x="13193" y="13193"/>
                  </a:lnTo>
                  <a:lnTo>
                    <a:pt x="9507" y="16884"/>
                  </a:lnTo>
                  <a:lnTo>
                    <a:pt x="5812" y="16884"/>
                  </a:lnTo>
                  <a:lnTo>
                    <a:pt x="5812" y="16884"/>
                  </a:lnTo>
                  <a:lnTo>
                    <a:pt x="5812" y="13193"/>
                  </a:lnTo>
                  <a:lnTo>
                    <a:pt x="5812" y="9502"/>
                  </a:lnTo>
                  <a:lnTo>
                    <a:pt x="5812" y="9502"/>
                  </a:lnTo>
                  <a:lnTo>
                    <a:pt x="9507" y="5812"/>
                  </a:lnTo>
                  <a:lnTo>
                    <a:pt x="9507" y="5812"/>
                  </a:lnTo>
                  <a:lnTo>
                    <a:pt x="13193" y="5812"/>
                  </a:lnTo>
                  <a:lnTo>
                    <a:pt x="13193" y="9502"/>
                  </a:lnTo>
                  <a:close/>
                </a:path>
              </a:pathLst>
            </a:custGeom>
            <a:solidFill>
              <a:schemeClr val="accent5"/>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112" name="Freeform: Shape 111">
              <a:extLst>
                <a:ext uri="{FF2B5EF4-FFF2-40B4-BE49-F238E27FC236}">
                  <a16:creationId xmlns:a16="http://schemas.microsoft.com/office/drawing/2014/main" id="{D1FE6C10-20FE-49D9-94FA-98B41DEE23E8}"/>
                </a:ext>
              </a:extLst>
            </p:cNvPr>
            <p:cNvSpPr/>
            <p:nvPr/>
          </p:nvSpPr>
          <p:spPr>
            <a:xfrm>
              <a:off x="2601643" y="2520529"/>
              <a:ext cx="292081" cy="76864"/>
            </a:xfrm>
            <a:custGeom>
              <a:avLst/>
              <a:gdLst>
                <a:gd name="connsiteX0" fmla="*/ 64847 w 180975"/>
                <a:gd name="connsiteY0" fmla="*/ 16883 h 47625"/>
                <a:gd name="connsiteX1" fmla="*/ 75906 w 180975"/>
                <a:gd name="connsiteY1" fmla="*/ 16883 h 47625"/>
                <a:gd name="connsiteX2" fmla="*/ 86974 w 180975"/>
                <a:gd name="connsiteY2" fmla="*/ 16883 h 47625"/>
                <a:gd name="connsiteX3" fmla="*/ 134942 w 180975"/>
                <a:gd name="connsiteY3" fmla="*/ 13193 h 47625"/>
                <a:gd name="connsiteX4" fmla="*/ 157068 w 180975"/>
                <a:gd name="connsiteY4" fmla="*/ 9502 h 47625"/>
                <a:gd name="connsiteX5" fmla="*/ 168137 w 180975"/>
                <a:gd name="connsiteY5" fmla="*/ 9502 h 47625"/>
                <a:gd name="connsiteX6" fmla="*/ 175519 w 180975"/>
                <a:gd name="connsiteY6" fmla="*/ 13193 h 47625"/>
                <a:gd name="connsiteX7" fmla="*/ 179205 w 180975"/>
                <a:gd name="connsiteY7" fmla="*/ 13193 h 47625"/>
                <a:gd name="connsiteX8" fmla="*/ 179205 w 180975"/>
                <a:gd name="connsiteY8" fmla="*/ 16883 h 47625"/>
                <a:gd name="connsiteX9" fmla="*/ 179205 w 180975"/>
                <a:gd name="connsiteY9" fmla="*/ 16883 h 47625"/>
                <a:gd name="connsiteX10" fmla="*/ 179205 w 180975"/>
                <a:gd name="connsiteY10" fmla="*/ 20574 h 47625"/>
                <a:gd name="connsiteX11" fmla="*/ 175519 w 180975"/>
                <a:gd name="connsiteY11" fmla="*/ 20574 h 47625"/>
                <a:gd name="connsiteX12" fmla="*/ 164450 w 180975"/>
                <a:gd name="connsiteY12" fmla="*/ 20574 h 47625"/>
                <a:gd name="connsiteX13" fmla="*/ 157068 w 180975"/>
                <a:gd name="connsiteY13" fmla="*/ 20574 h 47625"/>
                <a:gd name="connsiteX14" fmla="*/ 146001 w 180975"/>
                <a:gd name="connsiteY14" fmla="*/ 20574 h 47625"/>
                <a:gd name="connsiteX15" fmla="*/ 138628 w 180975"/>
                <a:gd name="connsiteY15" fmla="*/ 24264 h 47625"/>
                <a:gd name="connsiteX16" fmla="*/ 138628 w 180975"/>
                <a:gd name="connsiteY16" fmla="*/ 24264 h 47625"/>
                <a:gd name="connsiteX17" fmla="*/ 131246 w 180975"/>
                <a:gd name="connsiteY17" fmla="*/ 27955 h 47625"/>
                <a:gd name="connsiteX18" fmla="*/ 127560 w 180975"/>
                <a:gd name="connsiteY18" fmla="*/ 27955 h 47625"/>
                <a:gd name="connsiteX19" fmla="*/ 127560 w 180975"/>
                <a:gd name="connsiteY19" fmla="*/ 27955 h 47625"/>
                <a:gd name="connsiteX20" fmla="*/ 127560 w 180975"/>
                <a:gd name="connsiteY20" fmla="*/ 27955 h 47625"/>
                <a:gd name="connsiteX21" fmla="*/ 112806 w 180975"/>
                <a:gd name="connsiteY21" fmla="*/ 31645 h 47625"/>
                <a:gd name="connsiteX22" fmla="*/ 98042 w 180975"/>
                <a:gd name="connsiteY22" fmla="*/ 35336 h 47625"/>
                <a:gd name="connsiteX23" fmla="*/ 90670 w 180975"/>
                <a:gd name="connsiteY23" fmla="*/ 35336 h 47625"/>
                <a:gd name="connsiteX24" fmla="*/ 86974 w 180975"/>
                <a:gd name="connsiteY24" fmla="*/ 35336 h 47625"/>
                <a:gd name="connsiteX25" fmla="*/ 83288 w 180975"/>
                <a:gd name="connsiteY25" fmla="*/ 35336 h 47625"/>
                <a:gd name="connsiteX26" fmla="*/ 72220 w 180975"/>
                <a:gd name="connsiteY26" fmla="*/ 31645 h 47625"/>
                <a:gd name="connsiteX27" fmla="*/ 68534 w 180975"/>
                <a:gd name="connsiteY27" fmla="*/ 31645 h 47625"/>
                <a:gd name="connsiteX28" fmla="*/ 61152 w 180975"/>
                <a:gd name="connsiteY28" fmla="*/ 31645 h 47625"/>
                <a:gd name="connsiteX29" fmla="*/ 57466 w 180975"/>
                <a:gd name="connsiteY29" fmla="*/ 31645 h 47625"/>
                <a:gd name="connsiteX30" fmla="*/ 57466 w 180975"/>
                <a:gd name="connsiteY30" fmla="*/ 35336 h 47625"/>
                <a:gd name="connsiteX31" fmla="*/ 53779 w 180975"/>
                <a:gd name="connsiteY31" fmla="*/ 39027 h 47625"/>
                <a:gd name="connsiteX32" fmla="*/ 50084 w 180975"/>
                <a:gd name="connsiteY32" fmla="*/ 42717 h 47625"/>
                <a:gd name="connsiteX33" fmla="*/ 42711 w 180975"/>
                <a:gd name="connsiteY33" fmla="*/ 42717 h 47625"/>
                <a:gd name="connsiteX34" fmla="*/ 39016 w 180975"/>
                <a:gd name="connsiteY34" fmla="*/ 46408 h 47625"/>
                <a:gd name="connsiteX35" fmla="*/ 35330 w 180975"/>
                <a:gd name="connsiteY35" fmla="*/ 46408 h 47625"/>
                <a:gd name="connsiteX36" fmla="*/ 31643 w 180975"/>
                <a:gd name="connsiteY36" fmla="*/ 46408 h 47625"/>
                <a:gd name="connsiteX37" fmla="*/ 35330 w 180975"/>
                <a:gd name="connsiteY37" fmla="*/ 46408 h 47625"/>
                <a:gd name="connsiteX38" fmla="*/ 31643 w 180975"/>
                <a:gd name="connsiteY38" fmla="*/ 50098 h 47625"/>
                <a:gd name="connsiteX39" fmla="*/ 27948 w 180975"/>
                <a:gd name="connsiteY39" fmla="*/ 46408 h 47625"/>
                <a:gd name="connsiteX40" fmla="*/ 20575 w 180975"/>
                <a:gd name="connsiteY40" fmla="*/ 46408 h 47625"/>
                <a:gd name="connsiteX41" fmla="*/ 16880 w 180975"/>
                <a:gd name="connsiteY41" fmla="*/ 42717 h 47625"/>
                <a:gd name="connsiteX42" fmla="*/ 9507 w 180975"/>
                <a:gd name="connsiteY42" fmla="*/ 39027 h 47625"/>
                <a:gd name="connsiteX43" fmla="*/ 5812 w 180975"/>
                <a:gd name="connsiteY43" fmla="*/ 31645 h 47625"/>
                <a:gd name="connsiteX44" fmla="*/ 5812 w 180975"/>
                <a:gd name="connsiteY44" fmla="*/ 27955 h 47625"/>
                <a:gd name="connsiteX45" fmla="*/ 9507 w 180975"/>
                <a:gd name="connsiteY45" fmla="*/ 24264 h 47625"/>
                <a:gd name="connsiteX46" fmla="*/ 13193 w 180975"/>
                <a:gd name="connsiteY46" fmla="*/ 16883 h 47625"/>
                <a:gd name="connsiteX47" fmla="*/ 16880 w 180975"/>
                <a:gd name="connsiteY47" fmla="*/ 13193 h 47625"/>
                <a:gd name="connsiteX48" fmla="*/ 24261 w 180975"/>
                <a:gd name="connsiteY48" fmla="*/ 5812 h 47625"/>
                <a:gd name="connsiteX49" fmla="*/ 27948 w 180975"/>
                <a:gd name="connsiteY49" fmla="*/ 5812 h 47625"/>
                <a:gd name="connsiteX50" fmla="*/ 31643 w 180975"/>
                <a:gd name="connsiteY50" fmla="*/ 5812 h 47625"/>
                <a:gd name="connsiteX51" fmla="*/ 35330 w 180975"/>
                <a:gd name="connsiteY51" fmla="*/ 9502 h 47625"/>
                <a:gd name="connsiteX52" fmla="*/ 39016 w 180975"/>
                <a:gd name="connsiteY52" fmla="*/ 9502 h 47625"/>
                <a:gd name="connsiteX53" fmla="*/ 42711 w 180975"/>
                <a:gd name="connsiteY53" fmla="*/ 13193 h 47625"/>
                <a:gd name="connsiteX54" fmla="*/ 39016 w 180975"/>
                <a:gd name="connsiteY54" fmla="*/ 13193 h 47625"/>
                <a:gd name="connsiteX55" fmla="*/ 39016 w 180975"/>
                <a:gd name="connsiteY55" fmla="*/ 13193 h 47625"/>
                <a:gd name="connsiteX56" fmla="*/ 35330 w 180975"/>
                <a:gd name="connsiteY56" fmla="*/ 9502 h 47625"/>
                <a:gd name="connsiteX57" fmla="*/ 35330 w 180975"/>
                <a:gd name="connsiteY57" fmla="*/ 9502 h 47625"/>
                <a:gd name="connsiteX58" fmla="*/ 31643 w 180975"/>
                <a:gd name="connsiteY58" fmla="*/ 9502 h 47625"/>
                <a:gd name="connsiteX59" fmla="*/ 24261 w 180975"/>
                <a:gd name="connsiteY59" fmla="*/ 9502 h 47625"/>
                <a:gd name="connsiteX60" fmla="*/ 20575 w 180975"/>
                <a:gd name="connsiteY60" fmla="*/ 13193 h 47625"/>
                <a:gd name="connsiteX61" fmla="*/ 27948 w 180975"/>
                <a:gd name="connsiteY61" fmla="*/ 13193 h 47625"/>
                <a:gd name="connsiteX62" fmla="*/ 31643 w 180975"/>
                <a:gd name="connsiteY62" fmla="*/ 13193 h 47625"/>
                <a:gd name="connsiteX63" fmla="*/ 31643 w 180975"/>
                <a:gd name="connsiteY63" fmla="*/ 13193 h 47625"/>
                <a:gd name="connsiteX64" fmla="*/ 46398 w 180975"/>
                <a:gd name="connsiteY64" fmla="*/ 16883 h 47625"/>
                <a:gd name="connsiteX65" fmla="*/ 64847 w 180975"/>
                <a:gd name="connsiteY65" fmla="*/ 16883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80975" h="47625">
                  <a:moveTo>
                    <a:pt x="64847" y="16883"/>
                  </a:moveTo>
                  <a:lnTo>
                    <a:pt x="75906" y="16883"/>
                  </a:lnTo>
                  <a:lnTo>
                    <a:pt x="86974" y="16883"/>
                  </a:lnTo>
                  <a:lnTo>
                    <a:pt x="134942" y="13193"/>
                  </a:lnTo>
                  <a:lnTo>
                    <a:pt x="157068" y="9502"/>
                  </a:lnTo>
                  <a:lnTo>
                    <a:pt x="168137" y="9502"/>
                  </a:lnTo>
                  <a:lnTo>
                    <a:pt x="175519" y="13193"/>
                  </a:lnTo>
                  <a:lnTo>
                    <a:pt x="179205" y="13193"/>
                  </a:lnTo>
                  <a:lnTo>
                    <a:pt x="179205" y="16883"/>
                  </a:lnTo>
                  <a:lnTo>
                    <a:pt x="179205" y="16883"/>
                  </a:lnTo>
                  <a:lnTo>
                    <a:pt x="179205" y="20574"/>
                  </a:lnTo>
                  <a:lnTo>
                    <a:pt x="175519" y="20574"/>
                  </a:lnTo>
                  <a:lnTo>
                    <a:pt x="164450" y="20574"/>
                  </a:lnTo>
                  <a:lnTo>
                    <a:pt x="157068" y="20574"/>
                  </a:lnTo>
                  <a:lnTo>
                    <a:pt x="146001" y="20574"/>
                  </a:lnTo>
                  <a:lnTo>
                    <a:pt x="138628" y="24264"/>
                  </a:lnTo>
                  <a:lnTo>
                    <a:pt x="138628" y="24264"/>
                  </a:lnTo>
                  <a:lnTo>
                    <a:pt x="131246" y="27955"/>
                  </a:lnTo>
                  <a:lnTo>
                    <a:pt x="127560" y="27955"/>
                  </a:lnTo>
                  <a:lnTo>
                    <a:pt x="127560" y="27955"/>
                  </a:lnTo>
                  <a:lnTo>
                    <a:pt x="127560" y="27955"/>
                  </a:lnTo>
                  <a:lnTo>
                    <a:pt x="112806" y="31645"/>
                  </a:lnTo>
                  <a:lnTo>
                    <a:pt x="98042" y="35336"/>
                  </a:lnTo>
                  <a:lnTo>
                    <a:pt x="90670" y="35336"/>
                  </a:lnTo>
                  <a:lnTo>
                    <a:pt x="86974" y="35336"/>
                  </a:lnTo>
                  <a:lnTo>
                    <a:pt x="83288" y="35336"/>
                  </a:lnTo>
                  <a:lnTo>
                    <a:pt x="72220" y="31645"/>
                  </a:lnTo>
                  <a:lnTo>
                    <a:pt x="68534" y="31645"/>
                  </a:lnTo>
                  <a:lnTo>
                    <a:pt x="61152" y="31645"/>
                  </a:lnTo>
                  <a:lnTo>
                    <a:pt x="57466" y="31645"/>
                  </a:lnTo>
                  <a:lnTo>
                    <a:pt x="57466" y="35336"/>
                  </a:lnTo>
                  <a:lnTo>
                    <a:pt x="53779" y="39027"/>
                  </a:lnTo>
                  <a:lnTo>
                    <a:pt x="50084" y="42717"/>
                  </a:lnTo>
                  <a:lnTo>
                    <a:pt x="42711" y="42717"/>
                  </a:lnTo>
                  <a:lnTo>
                    <a:pt x="39016" y="46408"/>
                  </a:lnTo>
                  <a:lnTo>
                    <a:pt x="35330" y="46408"/>
                  </a:lnTo>
                  <a:lnTo>
                    <a:pt x="31643" y="46408"/>
                  </a:lnTo>
                  <a:lnTo>
                    <a:pt x="35330" y="46408"/>
                  </a:lnTo>
                  <a:lnTo>
                    <a:pt x="31643" y="50098"/>
                  </a:lnTo>
                  <a:lnTo>
                    <a:pt x="27948" y="46408"/>
                  </a:lnTo>
                  <a:lnTo>
                    <a:pt x="20575" y="46408"/>
                  </a:lnTo>
                  <a:lnTo>
                    <a:pt x="16880" y="42717"/>
                  </a:lnTo>
                  <a:lnTo>
                    <a:pt x="9507" y="39027"/>
                  </a:lnTo>
                  <a:lnTo>
                    <a:pt x="5812" y="31645"/>
                  </a:lnTo>
                  <a:lnTo>
                    <a:pt x="5812" y="27955"/>
                  </a:lnTo>
                  <a:lnTo>
                    <a:pt x="9507" y="24264"/>
                  </a:lnTo>
                  <a:lnTo>
                    <a:pt x="13193" y="16883"/>
                  </a:lnTo>
                  <a:lnTo>
                    <a:pt x="16880" y="13193"/>
                  </a:lnTo>
                  <a:lnTo>
                    <a:pt x="24261" y="5812"/>
                  </a:lnTo>
                  <a:lnTo>
                    <a:pt x="27948" y="5812"/>
                  </a:lnTo>
                  <a:lnTo>
                    <a:pt x="31643" y="5812"/>
                  </a:lnTo>
                  <a:lnTo>
                    <a:pt x="35330" y="9502"/>
                  </a:lnTo>
                  <a:lnTo>
                    <a:pt x="39016" y="9502"/>
                  </a:lnTo>
                  <a:lnTo>
                    <a:pt x="42711" y="13193"/>
                  </a:lnTo>
                  <a:lnTo>
                    <a:pt x="39016" y="13193"/>
                  </a:lnTo>
                  <a:lnTo>
                    <a:pt x="39016" y="13193"/>
                  </a:lnTo>
                  <a:lnTo>
                    <a:pt x="35330" y="9502"/>
                  </a:lnTo>
                  <a:lnTo>
                    <a:pt x="35330" y="9502"/>
                  </a:lnTo>
                  <a:lnTo>
                    <a:pt x="31643" y="9502"/>
                  </a:lnTo>
                  <a:lnTo>
                    <a:pt x="24261" y="9502"/>
                  </a:lnTo>
                  <a:lnTo>
                    <a:pt x="20575" y="13193"/>
                  </a:lnTo>
                  <a:lnTo>
                    <a:pt x="27948" y="13193"/>
                  </a:lnTo>
                  <a:lnTo>
                    <a:pt x="31643" y="13193"/>
                  </a:lnTo>
                  <a:lnTo>
                    <a:pt x="31643" y="13193"/>
                  </a:lnTo>
                  <a:lnTo>
                    <a:pt x="46398" y="16883"/>
                  </a:lnTo>
                  <a:lnTo>
                    <a:pt x="64847" y="16883"/>
                  </a:lnTo>
                  <a:close/>
                </a:path>
              </a:pathLst>
            </a:custGeom>
            <a:solidFill>
              <a:schemeClr val="accent5"/>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113" name="Freeform: Shape 112">
              <a:extLst>
                <a:ext uri="{FF2B5EF4-FFF2-40B4-BE49-F238E27FC236}">
                  <a16:creationId xmlns:a16="http://schemas.microsoft.com/office/drawing/2014/main" id="{A77FF91C-8EC9-4C64-A069-F350AAFC71C0}"/>
                </a:ext>
              </a:extLst>
            </p:cNvPr>
            <p:cNvSpPr/>
            <p:nvPr/>
          </p:nvSpPr>
          <p:spPr>
            <a:xfrm>
              <a:off x="2994614" y="2466921"/>
              <a:ext cx="184472" cy="92236"/>
            </a:xfrm>
            <a:custGeom>
              <a:avLst/>
              <a:gdLst>
                <a:gd name="connsiteX0" fmla="*/ 112806 w 114300"/>
                <a:gd name="connsiteY0" fmla="*/ 9502 h 57150"/>
                <a:gd name="connsiteX1" fmla="*/ 112806 w 114300"/>
                <a:gd name="connsiteY1" fmla="*/ 16883 h 57150"/>
                <a:gd name="connsiteX2" fmla="*/ 109110 w 114300"/>
                <a:gd name="connsiteY2" fmla="*/ 16883 h 57150"/>
                <a:gd name="connsiteX3" fmla="*/ 105424 w 114300"/>
                <a:gd name="connsiteY3" fmla="*/ 16883 h 57150"/>
                <a:gd name="connsiteX4" fmla="*/ 101738 w 114300"/>
                <a:gd name="connsiteY4" fmla="*/ 16883 h 57150"/>
                <a:gd name="connsiteX5" fmla="*/ 98042 w 114300"/>
                <a:gd name="connsiteY5" fmla="*/ 16883 h 57150"/>
                <a:gd name="connsiteX6" fmla="*/ 90670 w 114300"/>
                <a:gd name="connsiteY6" fmla="*/ 20574 h 57150"/>
                <a:gd name="connsiteX7" fmla="*/ 90670 w 114300"/>
                <a:gd name="connsiteY7" fmla="*/ 20574 h 57150"/>
                <a:gd name="connsiteX8" fmla="*/ 79602 w 114300"/>
                <a:gd name="connsiteY8" fmla="*/ 24264 h 57150"/>
                <a:gd name="connsiteX9" fmla="*/ 75906 w 114300"/>
                <a:gd name="connsiteY9" fmla="*/ 27955 h 57150"/>
                <a:gd name="connsiteX10" fmla="*/ 75906 w 114300"/>
                <a:gd name="connsiteY10" fmla="*/ 31646 h 57150"/>
                <a:gd name="connsiteX11" fmla="*/ 68534 w 114300"/>
                <a:gd name="connsiteY11" fmla="*/ 35336 h 57150"/>
                <a:gd name="connsiteX12" fmla="*/ 64838 w 114300"/>
                <a:gd name="connsiteY12" fmla="*/ 35336 h 57150"/>
                <a:gd name="connsiteX13" fmla="*/ 57466 w 114300"/>
                <a:gd name="connsiteY13" fmla="*/ 35336 h 57150"/>
                <a:gd name="connsiteX14" fmla="*/ 57466 w 114300"/>
                <a:gd name="connsiteY14" fmla="*/ 35336 h 57150"/>
                <a:gd name="connsiteX15" fmla="*/ 53770 w 114300"/>
                <a:gd name="connsiteY15" fmla="*/ 35336 h 57150"/>
                <a:gd name="connsiteX16" fmla="*/ 53770 w 114300"/>
                <a:gd name="connsiteY16" fmla="*/ 35336 h 57150"/>
                <a:gd name="connsiteX17" fmla="*/ 42702 w 114300"/>
                <a:gd name="connsiteY17" fmla="*/ 39027 h 57150"/>
                <a:gd name="connsiteX18" fmla="*/ 39016 w 114300"/>
                <a:gd name="connsiteY18" fmla="*/ 39027 h 57150"/>
                <a:gd name="connsiteX19" fmla="*/ 39016 w 114300"/>
                <a:gd name="connsiteY19" fmla="*/ 39027 h 57150"/>
                <a:gd name="connsiteX20" fmla="*/ 27948 w 114300"/>
                <a:gd name="connsiteY20" fmla="*/ 39027 h 57150"/>
                <a:gd name="connsiteX21" fmla="*/ 24261 w 114300"/>
                <a:gd name="connsiteY21" fmla="*/ 39027 h 57150"/>
                <a:gd name="connsiteX22" fmla="*/ 20575 w 114300"/>
                <a:gd name="connsiteY22" fmla="*/ 46408 h 57150"/>
                <a:gd name="connsiteX23" fmla="*/ 20575 w 114300"/>
                <a:gd name="connsiteY23" fmla="*/ 50098 h 57150"/>
                <a:gd name="connsiteX24" fmla="*/ 16879 w 114300"/>
                <a:gd name="connsiteY24" fmla="*/ 50098 h 57150"/>
                <a:gd name="connsiteX25" fmla="*/ 16879 w 114300"/>
                <a:gd name="connsiteY25" fmla="*/ 53789 h 57150"/>
                <a:gd name="connsiteX26" fmla="*/ 16879 w 114300"/>
                <a:gd name="connsiteY26" fmla="*/ 53789 h 57150"/>
                <a:gd name="connsiteX27" fmla="*/ 13193 w 114300"/>
                <a:gd name="connsiteY27" fmla="*/ 53789 h 57150"/>
                <a:gd name="connsiteX28" fmla="*/ 13193 w 114300"/>
                <a:gd name="connsiteY28" fmla="*/ 53789 h 57150"/>
                <a:gd name="connsiteX29" fmla="*/ 9507 w 114300"/>
                <a:gd name="connsiteY29" fmla="*/ 53789 h 57150"/>
                <a:gd name="connsiteX30" fmla="*/ 9507 w 114300"/>
                <a:gd name="connsiteY30" fmla="*/ 57480 h 57150"/>
                <a:gd name="connsiteX31" fmla="*/ 9507 w 114300"/>
                <a:gd name="connsiteY31" fmla="*/ 57480 h 57150"/>
                <a:gd name="connsiteX32" fmla="*/ 5812 w 114300"/>
                <a:gd name="connsiteY32" fmla="*/ 50098 h 57150"/>
                <a:gd name="connsiteX33" fmla="*/ 5812 w 114300"/>
                <a:gd name="connsiteY33" fmla="*/ 50098 h 57150"/>
                <a:gd name="connsiteX34" fmla="*/ 5812 w 114300"/>
                <a:gd name="connsiteY34" fmla="*/ 46408 h 57150"/>
                <a:gd name="connsiteX35" fmla="*/ 9507 w 114300"/>
                <a:gd name="connsiteY35" fmla="*/ 46408 h 57150"/>
                <a:gd name="connsiteX36" fmla="*/ 13193 w 114300"/>
                <a:gd name="connsiteY36" fmla="*/ 42717 h 57150"/>
                <a:gd name="connsiteX37" fmla="*/ 9507 w 114300"/>
                <a:gd name="connsiteY37" fmla="*/ 39027 h 57150"/>
                <a:gd name="connsiteX38" fmla="*/ 9507 w 114300"/>
                <a:gd name="connsiteY38" fmla="*/ 35336 h 57150"/>
                <a:gd name="connsiteX39" fmla="*/ 9507 w 114300"/>
                <a:gd name="connsiteY39" fmla="*/ 27955 h 57150"/>
                <a:gd name="connsiteX40" fmla="*/ 13193 w 114300"/>
                <a:gd name="connsiteY40" fmla="*/ 24264 h 57150"/>
                <a:gd name="connsiteX41" fmla="*/ 20575 w 114300"/>
                <a:gd name="connsiteY41" fmla="*/ 20574 h 57150"/>
                <a:gd name="connsiteX42" fmla="*/ 20575 w 114300"/>
                <a:gd name="connsiteY42" fmla="*/ 16883 h 57150"/>
                <a:gd name="connsiteX43" fmla="*/ 20575 w 114300"/>
                <a:gd name="connsiteY43" fmla="*/ 16883 h 57150"/>
                <a:gd name="connsiteX44" fmla="*/ 16879 w 114300"/>
                <a:gd name="connsiteY44" fmla="*/ 16883 h 57150"/>
                <a:gd name="connsiteX45" fmla="*/ 13193 w 114300"/>
                <a:gd name="connsiteY45" fmla="*/ 16883 h 57150"/>
                <a:gd name="connsiteX46" fmla="*/ 9507 w 114300"/>
                <a:gd name="connsiteY46" fmla="*/ 16883 h 57150"/>
                <a:gd name="connsiteX47" fmla="*/ 9507 w 114300"/>
                <a:gd name="connsiteY47" fmla="*/ 16883 h 57150"/>
                <a:gd name="connsiteX48" fmla="*/ 5812 w 114300"/>
                <a:gd name="connsiteY48" fmla="*/ 16883 h 57150"/>
                <a:gd name="connsiteX49" fmla="*/ 9507 w 114300"/>
                <a:gd name="connsiteY49" fmla="*/ 16883 h 57150"/>
                <a:gd name="connsiteX50" fmla="*/ 9507 w 114300"/>
                <a:gd name="connsiteY50" fmla="*/ 16883 h 57150"/>
                <a:gd name="connsiteX51" fmla="*/ 13193 w 114300"/>
                <a:gd name="connsiteY51" fmla="*/ 13193 h 57150"/>
                <a:gd name="connsiteX52" fmla="*/ 20575 w 114300"/>
                <a:gd name="connsiteY52" fmla="*/ 16883 h 57150"/>
                <a:gd name="connsiteX53" fmla="*/ 31643 w 114300"/>
                <a:gd name="connsiteY53" fmla="*/ 16883 h 57150"/>
                <a:gd name="connsiteX54" fmla="*/ 68534 w 114300"/>
                <a:gd name="connsiteY54" fmla="*/ 13193 h 57150"/>
                <a:gd name="connsiteX55" fmla="*/ 79602 w 114300"/>
                <a:gd name="connsiteY55" fmla="*/ 13193 h 57150"/>
                <a:gd name="connsiteX56" fmla="*/ 101738 w 114300"/>
                <a:gd name="connsiteY56" fmla="*/ 9502 h 57150"/>
                <a:gd name="connsiteX57" fmla="*/ 109110 w 114300"/>
                <a:gd name="connsiteY57" fmla="*/ 5812 h 57150"/>
                <a:gd name="connsiteX58" fmla="*/ 112806 w 114300"/>
                <a:gd name="connsiteY58" fmla="*/ 950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14300" h="57150">
                  <a:moveTo>
                    <a:pt x="112806" y="9502"/>
                  </a:moveTo>
                  <a:lnTo>
                    <a:pt x="112806" y="16883"/>
                  </a:lnTo>
                  <a:lnTo>
                    <a:pt x="109110" y="16883"/>
                  </a:lnTo>
                  <a:lnTo>
                    <a:pt x="105424" y="16883"/>
                  </a:lnTo>
                  <a:lnTo>
                    <a:pt x="101738" y="16883"/>
                  </a:lnTo>
                  <a:lnTo>
                    <a:pt x="98042" y="16883"/>
                  </a:lnTo>
                  <a:lnTo>
                    <a:pt x="90670" y="20574"/>
                  </a:lnTo>
                  <a:lnTo>
                    <a:pt x="90670" y="20574"/>
                  </a:lnTo>
                  <a:lnTo>
                    <a:pt x="79602" y="24264"/>
                  </a:lnTo>
                  <a:lnTo>
                    <a:pt x="75906" y="27955"/>
                  </a:lnTo>
                  <a:lnTo>
                    <a:pt x="75906" y="31646"/>
                  </a:lnTo>
                  <a:lnTo>
                    <a:pt x="68534" y="35336"/>
                  </a:lnTo>
                  <a:lnTo>
                    <a:pt x="64838" y="35336"/>
                  </a:lnTo>
                  <a:lnTo>
                    <a:pt x="57466" y="35336"/>
                  </a:lnTo>
                  <a:lnTo>
                    <a:pt x="57466" y="35336"/>
                  </a:lnTo>
                  <a:lnTo>
                    <a:pt x="53770" y="35336"/>
                  </a:lnTo>
                  <a:lnTo>
                    <a:pt x="53770" y="35336"/>
                  </a:lnTo>
                  <a:lnTo>
                    <a:pt x="42702" y="39027"/>
                  </a:lnTo>
                  <a:lnTo>
                    <a:pt x="39016" y="39027"/>
                  </a:lnTo>
                  <a:lnTo>
                    <a:pt x="39016" y="39027"/>
                  </a:lnTo>
                  <a:lnTo>
                    <a:pt x="27948" y="39027"/>
                  </a:lnTo>
                  <a:lnTo>
                    <a:pt x="24261" y="39027"/>
                  </a:lnTo>
                  <a:lnTo>
                    <a:pt x="20575" y="46408"/>
                  </a:lnTo>
                  <a:lnTo>
                    <a:pt x="20575" y="50098"/>
                  </a:lnTo>
                  <a:lnTo>
                    <a:pt x="16879" y="50098"/>
                  </a:lnTo>
                  <a:lnTo>
                    <a:pt x="16879" y="53789"/>
                  </a:lnTo>
                  <a:lnTo>
                    <a:pt x="16879" y="53789"/>
                  </a:lnTo>
                  <a:lnTo>
                    <a:pt x="13193" y="53789"/>
                  </a:lnTo>
                  <a:lnTo>
                    <a:pt x="13193" y="53789"/>
                  </a:lnTo>
                  <a:lnTo>
                    <a:pt x="9507" y="53789"/>
                  </a:lnTo>
                  <a:lnTo>
                    <a:pt x="9507" y="57480"/>
                  </a:lnTo>
                  <a:lnTo>
                    <a:pt x="9507" y="57480"/>
                  </a:lnTo>
                  <a:lnTo>
                    <a:pt x="5812" y="50098"/>
                  </a:lnTo>
                  <a:lnTo>
                    <a:pt x="5812" y="50098"/>
                  </a:lnTo>
                  <a:lnTo>
                    <a:pt x="5812" y="46408"/>
                  </a:lnTo>
                  <a:lnTo>
                    <a:pt x="9507" y="46408"/>
                  </a:lnTo>
                  <a:lnTo>
                    <a:pt x="13193" y="42717"/>
                  </a:lnTo>
                  <a:lnTo>
                    <a:pt x="9507" y="39027"/>
                  </a:lnTo>
                  <a:lnTo>
                    <a:pt x="9507" y="35336"/>
                  </a:lnTo>
                  <a:lnTo>
                    <a:pt x="9507" y="27955"/>
                  </a:lnTo>
                  <a:lnTo>
                    <a:pt x="13193" y="24264"/>
                  </a:lnTo>
                  <a:lnTo>
                    <a:pt x="20575" y="20574"/>
                  </a:lnTo>
                  <a:lnTo>
                    <a:pt x="20575" y="16883"/>
                  </a:lnTo>
                  <a:lnTo>
                    <a:pt x="20575" y="16883"/>
                  </a:lnTo>
                  <a:lnTo>
                    <a:pt x="16879" y="16883"/>
                  </a:lnTo>
                  <a:lnTo>
                    <a:pt x="13193" y="16883"/>
                  </a:lnTo>
                  <a:lnTo>
                    <a:pt x="9507" y="16883"/>
                  </a:lnTo>
                  <a:lnTo>
                    <a:pt x="9507" y="16883"/>
                  </a:lnTo>
                  <a:lnTo>
                    <a:pt x="5812" y="16883"/>
                  </a:lnTo>
                  <a:lnTo>
                    <a:pt x="9507" y="16883"/>
                  </a:lnTo>
                  <a:lnTo>
                    <a:pt x="9507" y="16883"/>
                  </a:lnTo>
                  <a:lnTo>
                    <a:pt x="13193" y="13193"/>
                  </a:lnTo>
                  <a:lnTo>
                    <a:pt x="20575" y="16883"/>
                  </a:lnTo>
                  <a:lnTo>
                    <a:pt x="31643" y="16883"/>
                  </a:lnTo>
                  <a:lnTo>
                    <a:pt x="68534" y="13193"/>
                  </a:lnTo>
                  <a:lnTo>
                    <a:pt x="79602" y="13193"/>
                  </a:lnTo>
                  <a:lnTo>
                    <a:pt x="101738" y="9502"/>
                  </a:lnTo>
                  <a:lnTo>
                    <a:pt x="109110" y="5812"/>
                  </a:lnTo>
                  <a:lnTo>
                    <a:pt x="112806" y="9502"/>
                  </a:lnTo>
                  <a:close/>
                </a:path>
              </a:pathLst>
            </a:custGeom>
            <a:solidFill>
              <a:schemeClr val="accent5"/>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114" name="Freeform: Shape 113">
              <a:extLst>
                <a:ext uri="{FF2B5EF4-FFF2-40B4-BE49-F238E27FC236}">
                  <a16:creationId xmlns:a16="http://schemas.microsoft.com/office/drawing/2014/main" id="{0A6EC6DF-9CAB-4ED0-A0A8-140BD7416A6F}"/>
                </a:ext>
              </a:extLst>
            </p:cNvPr>
            <p:cNvSpPr/>
            <p:nvPr/>
          </p:nvSpPr>
          <p:spPr>
            <a:xfrm>
              <a:off x="2315854" y="2806430"/>
              <a:ext cx="30745" cy="15373"/>
            </a:xfrm>
            <a:custGeom>
              <a:avLst/>
              <a:gdLst>
                <a:gd name="connsiteX0" fmla="*/ 9501 w 19050"/>
                <a:gd name="connsiteY0" fmla="*/ 9503 h 9525"/>
                <a:gd name="connsiteX1" fmla="*/ 9501 w 19050"/>
                <a:gd name="connsiteY1" fmla="*/ 9503 h 9525"/>
                <a:gd name="connsiteX2" fmla="*/ 9501 w 19050"/>
                <a:gd name="connsiteY2" fmla="*/ 9503 h 9525"/>
                <a:gd name="connsiteX3" fmla="*/ 5812 w 19050"/>
                <a:gd name="connsiteY3" fmla="*/ 5812 h 9525"/>
                <a:gd name="connsiteX4" fmla="*/ 9501 w 19050"/>
                <a:gd name="connsiteY4" fmla="*/ 5812 h 9525"/>
                <a:gd name="connsiteX5" fmla="*/ 9501 w 19050"/>
                <a:gd name="connsiteY5" fmla="*/ 5812 h 9525"/>
                <a:gd name="connsiteX6" fmla="*/ 16877 w 19050"/>
                <a:gd name="connsiteY6" fmla="*/ 5812 h 9525"/>
                <a:gd name="connsiteX7" fmla="*/ 20573 w 19050"/>
                <a:gd name="connsiteY7" fmla="*/ 5812 h 9525"/>
                <a:gd name="connsiteX8" fmla="*/ 20573 w 19050"/>
                <a:gd name="connsiteY8" fmla="*/ 5812 h 9525"/>
                <a:gd name="connsiteX9" fmla="*/ 16877 w 19050"/>
                <a:gd name="connsiteY9" fmla="*/ 5812 h 9525"/>
                <a:gd name="connsiteX10" fmla="*/ 16877 w 19050"/>
                <a:gd name="connsiteY10" fmla="*/ 9503 h 9525"/>
                <a:gd name="connsiteX11" fmla="*/ 13191 w 19050"/>
                <a:gd name="connsiteY11" fmla="*/ 9503 h 9525"/>
                <a:gd name="connsiteX12" fmla="*/ 13191 w 19050"/>
                <a:gd name="connsiteY12" fmla="*/ 9503 h 9525"/>
                <a:gd name="connsiteX13" fmla="*/ 9501 w 19050"/>
                <a:gd name="connsiteY13" fmla="*/ 9503 h 9525"/>
                <a:gd name="connsiteX14" fmla="*/ 9501 w 19050"/>
                <a:gd name="connsiteY14" fmla="*/ 5812 h 9525"/>
                <a:gd name="connsiteX15" fmla="*/ 9501 w 19050"/>
                <a:gd name="connsiteY15" fmla="*/ 5812 h 9525"/>
                <a:gd name="connsiteX16" fmla="*/ 9501 w 19050"/>
                <a:gd name="connsiteY16" fmla="*/ 5812 h 9525"/>
                <a:gd name="connsiteX17" fmla="*/ 9501 w 19050"/>
                <a:gd name="connsiteY17" fmla="*/ 5812 h 9525"/>
                <a:gd name="connsiteX18" fmla="*/ 9501 w 19050"/>
                <a:gd name="connsiteY18" fmla="*/ 9503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050" h="9525">
                  <a:moveTo>
                    <a:pt x="9501" y="9503"/>
                  </a:moveTo>
                  <a:lnTo>
                    <a:pt x="9501" y="9503"/>
                  </a:lnTo>
                  <a:lnTo>
                    <a:pt x="9501" y="9503"/>
                  </a:lnTo>
                  <a:lnTo>
                    <a:pt x="5812" y="5812"/>
                  </a:lnTo>
                  <a:lnTo>
                    <a:pt x="9501" y="5812"/>
                  </a:lnTo>
                  <a:lnTo>
                    <a:pt x="9501" y="5812"/>
                  </a:lnTo>
                  <a:lnTo>
                    <a:pt x="16877" y="5812"/>
                  </a:lnTo>
                  <a:lnTo>
                    <a:pt x="20573" y="5812"/>
                  </a:lnTo>
                  <a:lnTo>
                    <a:pt x="20573" y="5812"/>
                  </a:lnTo>
                  <a:lnTo>
                    <a:pt x="16877" y="5812"/>
                  </a:lnTo>
                  <a:lnTo>
                    <a:pt x="16877" y="9503"/>
                  </a:lnTo>
                  <a:lnTo>
                    <a:pt x="13191" y="9503"/>
                  </a:lnTo>
                  <a:lnTo>
                    <a:pt x="13191" y="9503"/>
                  </a:lnTo>
                  <a:lnTo>
                    <a:pt x="9501" y="9503"/>
                  </a:lnTo>
                  <a:lnTo>
                    <a:pt x="9501" y="5812"/>
                  </a:lnTo>
                  <a:lnTo>
                    <a:pt x="9501" y="5812"/>
                  </a:lnTo>
                  <a:lnTo>
                    <a:pt x="9501" y="5812"/>
                  </a:lnTo>
                  <a:lnTo>
                    <a:pt x="9501" y="5812"/>
                  </a:lnTo>
                  <a:lnTo>
                    <a:pt x="9501" y="9503"/>
                  </a:lnTo>
                  <a:close/>
                </a:path>
              </a:pathLst>
            </a:custGeom>
            <a:solidFill>
              <a:schemeClr val="accent5"/>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115" name="Freeform: Shape 114">
              <a:extLst>
                <a:ext uri="{FF2B5EF4-FFF2-40B4-BE49-F238E27FC236}">
                  <a16:creationId xmlns:a16="http://schemas.microsoft.com/office/drawing/2014/main" id="{23E02400-2F05-4DAB-9010-2A81372CCBB9}"/>
                </a:ext>
              </a:extLst>
            </p:cNvPr>
            <p:cNvSpPr/>
            <p:nvPr/>
          </p:nvSpPr>
          <p:spPr>
            <a:xfrm>
              <a:off x="2250359" y="2550309"/>
              <a:ext cx="322827" cy="153727"/>
            </a:xfrm>
            <a:custGeom>
              <a:avLst/>
              <a:gdLst>
                <a:gd name="connsiteX0" fmla="*/ 138621 w 200025"/>
                <a:gd name="connsiteY0" fmla="*/ 42717 h 95250"/>
                <a:gd name="connsiteX1" fmla="*/ 123866 w 200025"/>
                <a:gd name="connsiteY1" fmla="*/ 42717 h 95250"/>
                <a:gd name="connsiteX2" fmla="*/ 116484 w 200025"/>
                <a:gd name="connsiteY2" fmla="*/ 46408 h 95250"/>
                <a:gd name="connsiteX3" fmla="*/ 112798 w 200025"/>
                <a:gd name="connsiteY3" fmla="*/ 46408 h 95250"/>
                <a:gd name="connsiteX4" fmla="*/ 109112 w 200025"/>
                <a:gd name="connsiteY4" fmla="*/ 50098 h 95250"/>
                <a:gd name="connsiteX5" fmla="*/ 109112 w 200025"/>
                <a:gd name="connsiteY5" fmla="*/ 50098 h 95250"/>
                <a:gd name="connsiteX6" fmla="*/ 101730 w 200025"/>
                <a:gd name="connsiteY6" fmla="*/ 57480 h 95250"/>
                <a:gd name="connsiteX7" fmla="*/ 98044 w 200025"/>
                <a:gd name="connsiteY7" fmla="*/ 61170 h 95250"/>
                <a:gd name="connsiteX8" fmla="*/ 98044 w 200025"/>
                <a:gd name="connsiteY8" fmla="*/ 61170 h 95250"/>
                <a:gd name="connsiteX9" fmla="*/ 94348 w 200025"/>
                <a:gd name="connsiteY9" fmla="*/ 61170 h 95250"/>
                <a:gd name="connsiteX10" fmla="*/ 90662 w 200025"/>
                <a:gd name="connsiteY10" fmla="*/ 61170 h 95250"/>
                <a:gd name="connsiteX11" fmla="*/ 90662 w 200025"/>
                <a:gd name="connsiteY11" fmla="*/ 64861 h 95250"/>
                <a:gd name="connsiteX12" fmla="*/ 86976 w 200025"/>
                <a:gd name="connsiteY12" fmla="*/ 64861 h 95250"/>
                <a:gd name="connsiteX13" fmla="*/ 83280 w 200025"/>
                <a:gd name="connsiteY13" fmla="*/ 61170 h 95250"/>
                <a:gd name="connsiteX14" fmla="*/ 83280 w 200025"/>
                <a:gd name="connsiteY14" fmla="*/ 64861 h 95250"/>
                <a:gd name="connsiteX15" fmla="*/ 79594 w 200025"/>
                <a:gd name="connsiteY15" fmla="*/ 64861 h 95250"/>
                <a:gd name="connsiteX16" fmla="*/ 75908 w 200025"/>
                <a:gd name="connsiteY16" fmla="*/ 68552 h 95250"/>
                <a:gd name="connsiteX17" fmla="*/ 75908 w 200025"/>
                <a:gd name="connsiteY17" fmla="*/ 68552 h 95250"/>
                <a:gd name="connsiteX18" fmla="*/ 75908 w 200025"/>
                <a:gd name="connsiteY18" fmla="*/ 68552 h 95250"/>
                <a:gd name="connsiteX19" fmla="*/ 72222 w 200025"/>
                <a:gd name="connsiteY19" fmla="*/ 68552 h 95250"/>
                <a:gd name="connsiteX20" fmla="*/ 72222 w 200025"/>
                <a:gd name="connsiteY20" fmla="*/ 72242 h 95250"/>
                <a:gd name="connsiteX21" fmla="*/ 72222 w 200025"/>
                <a:gd name="connsiteY21" fmla="*/ 72242 h 95250"/>
                <a:gd name="connsiteX22" fmla="*/ 68526 w 200025"/>
                <a:gd name="connsiteY22" fmla="*/ 68552 h 95250"/>
                <a:gd name="connsiteX23" fmla="*/ 64840 w 200025"/>
                <a:gd name="connsiteY23" fmla="*/ 68552 h 95250"/>
                <a:gd name="connsiteX24" fmla="*/ 64840 w 200025"/>
                <a:gd name="connsiteY24" fmla="*/ 68552 h 95250"/>
                <a:gd name="connsiteX25" fmla="*/ 61154 w 200025"/>
                <a:gd name="connsiteY25" fmla="*/ 68552 h 95250"/>
                <a:gd name="connsiteX26" fmla="*/ 57458 w 200025"/>
                <a:gd name="connsiteY26" fmla="*/ 68552 h 95250"/>
                <a:gd name="connsiteX27" fmla="*/ 57458 w 200025"/>
                <a:gd name="connsiteY27" fmla="*/ 68552 h 95250"/>
                <a:gd name="connsiteX28" fmla="*/ 53772 w 200025"/>
                <a:gd name="connsiteY28" fmla="*/ 72242 h 95250"/>
                <a:gd name="connsiteX29" fmla="*/ 50082 w 200025"/>
                <a:gd name="connsiteY29" fmla="*/ 75933 h 95250"/>
                <a:gd name="connsiteX30" fmla="*/ 46393 w 200025"/>
                <a:gd name="connsiteY30" fmla="*/ 72242 h 95250"/>
                <a:gd name="connsiteX31" fmla="*/ 42704 w 200025"/>
                <a:gd name="connsiteY31" fmla="*/ 75933 h 95250"/>
                <a:gd name="connsiteX32" fmla="*/ 39015 w 200025"/>
                <a:gd name="connsiteY32" fmla="*/ 75933 h 95250"/>
                <a:gd name="connsiteX33" fmla="*/ 35326 w 200025"/>
                <a:gd name="connsiteY33" fmla="*/ 79623 h 95250"/>
                <a:gd name="connsiteX34" fmla="*/ 35326 w 200025"/>
                <a:gd name="connsiteY34" fmla="*/ 83314 h 95250"/>
                <a:gd name="connsiteX35" fmla="*/ 35326 w 200025"/>
                <a:gd name="connsiteY35" fmla="*/ 83314 h 95250"/>
                <a:gd name="connsiteX36" fmla="*/ 35326 w 200025"/>
                <a:gd name="connsiteY36" fmla="*/ 83314 h 95250"/>
                <a:gd name="connsiteX37" fmla="*/ 31637 w 200025"/>
                <a:gd name="connsiteY37" fmla="*/ 83314 h 95250"/>
                <a:gd name="connsiteX38" fmla="*/ 24258 w 200025"/>
                <a:gd name="connsiteY38" fmla="*/ 87004 h 95250"/>
                <a:gd name="connsiteX39" fmla="*/ 27947 w 200025"/>
                <a:gd name="connsiteY39" fmla="*/ 87004 h 95250"/>
                <a:gd name="connsiteX40" fmla="*/ 24258 w 200025"/>
                <a:gd name="connsiteY40" fmla="*/ 90694 h 95250"/>
                <a:gd name="connsiteX41" fmla="*/ 20569 w 200025"/>
                <a:gd name="connsiteY41" fmla="*/ 90694 h 95250"/>
                <a:gd name="connsiteX42" fmla="*/ 13191 w 200025"/>
                <a:gd name="connsiteY42" fmla="*/ 90694 h 95250"/>
                <a:gd name="connsiteX43" fmla="*/ 9502 w 200025"/>
                <a:gd name="connsiteY43" fmla="*/ 83314 h 95250"/>
                <a:gd name="connsiteX44" fmla="*/ 5812 w 200025"/>
                <a:gd name="connsiteY44" fmla="*/ 83314 h 95250"/>
                <a:gd name="connsiteX45" fmla="*/ 5812 w 200025"/>
                <a:gd name="connsiteY45" fmla="*/ 83314 h 95250"/>
                <a:gd name="connsiteX46" fmla="*/ 5812 w 200025"/>
                <a:gd name="connsiteY46" fmla="*/ 79623 h 95250"/>
                <a:gd name="connsiteX47" fmla="*/ 9502 w 200025"/>
                <a:gd name="connsiteY47" fmla="*/ 75933 h 95250"/>
                <a:gd name="connsiteX48" fmla="*/ 16880 w 200025"/>
                <a:gd name="connsiteY48" fmla="*/ 64861 h 95250"/>
                <a:gd name="connsiteX49" fmla="*/ 24258 w 200025"/>
                <a:gd name="connsiteY49" fmla="*/ 53789 h 95250"/>
                <a:gd name="connsiteX50" fmla="*/ 24258 w 200025"/>
                <a:gd name="connsiteY50" fmla="*/ 53789 h 95250"/>
                <a:gd name="connsiteX51" fmla="*/ 31637 w 200025"/>
                <a:gd name="connsiteY51" fmla="*/ 50098 h 95250"/>
                <a:gd name="connsiteX52" fmla="*/ 39015 w 200025"/>
                <a:gd name="connsiteY52" fmla="*/ 46408 h 95250"/>
                <a:gd name="connsiteX53" fmla="*/ 53772 w 200025"/>
                <a:gd name="connsiteY53" fmla="*/ 42717 h 95250"/>
                <a:gd name="connsiteX54" fmla="*/ 75908 w 200025"/>
                <a:gd name="connsiteY54" fmla="*/ 39027 h 95250"/>
                <a:gd name="connsiteX55" fmla="*/ 83280 w 200025"/>
                <a:gd name="connsiteY55" fmla="*/ 39027 h 95250"/>
                <a:gd name="connsiteX56" fmla="*/ 105416 w 200025"/>
                <a:gd name="connsiteY56" fmla="*/ 31645 h 95250"/>
                <a:gd name="connsiteX57" fmla="*/ 123866 w 200025"/>
                <a:gd name="connsiteY57" fmla="*/ 24264 h 95250"/>
                <a:gd name="connsiteX58" fmla="*/ 164443 w 200025"/>
                <a:gd name="connsiteY58" fmla="*/ 9502 h 95250"/>
                <a:gd name="connsiteX59" fmla="*/ 175511 w 200025"/>
                <a:gd name="connsiteY59" fmla="*/ 9502 h 95250"/>
                <a:gd name="connsiteX60" fmla="*/ 186579 w 200025"/>
                <a:gd name="connsiteY60" fmla="*/ 5812 h 95250"/>
                <a:gd name="connsiteX61" fmla="*/ 190275 w 200025"/>
                <a:gd name="connsiteY61" fmla="*/ 9502 h 95250"/>
                <a:gd name="connsiteX62" fmla="*/ 193961 w 200025"/>
                <a:gd name="connsiteY62" fmla="*/ 9502 h 95250"/>
                <a:gd name="connsiteX63" fmla="*/ 197647 w 200025"/>
                <a:gd name="connsiteY63" fmla="*/ 13192 h 95250"/>
                <a:gd name="connsiteX64" fmla="*/ 197647 w 200025"/>
                <a:gd name="connsiteY64" fmla="*/ 13192 h 95250"/>
                <a:gd name="connsiteX65" fmla="*/ 197647 w 200025"/>
                <a:gd name="connsiteY65" fmla="*/ 20574 h 95250"/>
                <a:gd name="connsiteX66" fmla="*/ 197647 w 200025"/>
                <a:gd name="connsiteY66" fmla="*/ 24264 h 95250"/>
                <a:gd name="connsiteX67" fmla="*/ 197647 w 200025"/>
                <a:gd name="connsiteY67" fmla="*/ 24264 h 95250"/>
                <a:gd name="connsiteX68" fmla="*/ 197647 w 200025"/>
                <a:gd name="connsiteY68" fmla="*/ 20574 h 95250"/>
                <a:gd name="connsiteX69" fmla="*/ 197647 w 200025"/>
                <a:gd name="connsiteY69" fmla="*/ 16883 h 95250"/>
                <a:gd name="connsiteX70" fmla="*/ 193961 w 200025"/>
                <a:gd name="connsiteY70" fmla="*/ 13192 h 95250"/>
                <a:gd name="connsiteX71" fmla="*/ 193961 w 200025"/>
                <a:gd name="connsiteY71" fmla="*/ 13192 h 95250"/>
                <a:gd name="connsiteX72" fmla="*/ 193961 w 200025"/>
                <a:gd name="connsiteY72" fmla="*/ 16883 h 95250"/>
                <a:gd name="connsiteX73" fmla="*/ 190275 w 200025"/>
                <a:gd name="connsiteY73" fmla="*/ 20574 h 95250"/>
                <a:gd name="connsiteX74" fmla="*/ 190275 w 200025"/>
                <a:gd name="connsiteY74" fmla="*/ 20574 h 95250"/>
                <a:gd name="connsiteX75" fmla="*/ 186579 w 200025"/>
                <a:gd name="connsiteY75" fmla="*/ 24264 h 95250"/>
                <a:gd name="connsiteX76" fmla="*/ 179207 w 200025"/>
                <a:gd name="connsiteY76" fmla="*/ 24264 h 95250"/>
                <a:gd name="connsiteX77" fmla="*/ 175511 w 200025"/>
                <a:gd name="connsiteY77" fmla="*/ 24264 h 95250"/>
                <a:gd name="connsiteX78" fmla="*/ 168139 w 200025"/>
                <a:gd name="connsiteY78" fmla="*/ 27955 h 95250"/>
                <a:gd name="connsiteX79" fmla="*/ 168139 w 200025"/>
                <a:gd name="connsiteY79" fmla="*/ 27955 h 95250"/>
                <a:gd name="connsiteX80" fmla="*/ 168139 w 200025"/>
                <a:gd name="connsiteY80" fmla="*/ 27955 h 95250"/>
                <a:gd name="connsiteX81" fmla="*/ 164443 w 200025"/>
                <a:gd name="connsiteY81" fmla="*/ 24264 h 95250"/>
                <a:gd name="connsiteX82" fmla="*/ 164443 w 200025"/>
                <a:gd name="connsiteY82" fmla="*/ 24264 h 95250"/>
                <a:gd name="connsiteX83" fmla="*/ 164443 w 200025"/>
                <a:gd name="connsiteY83" fmla="*/ 24264 h 95250"/>
                <a:gd name="connsiteX84" fmla="*/ 164443 w 200025"/>
                <a:gd name="connsiteY84" fmla="*/ 24264 h 95250"/>
                <a:gd name="connsiteX85" fmla="*/ 164443 w 200025"/>
                <a:gd name="connsiteY85" fmla="*/ 27955 h 95250"/>
                <a:gd name="connsiteX86" fmla="*/ 168139 w 200025"/>
                <a:gd name="connsiteY86" fmla="*/ 27955 h 95250"/>
                <a:gd name="connsiteX87" fmla="*/ 164443 w 200025"/>
                <a:gd name="connsiteY87" fmla="*/ 31645 h 95250"/>
                <a:gd name="connsiteX88" fmla="*/ 160757 w 200025"/>
                <a:gd name="connsiteY88" fmla="*/ 31645 h 95250"/>
                <a:gd name="connsiteX89" fmla="*/ 160757 w 200025"/>
                <a:gd name="connsiteY89" fmla="*/ 31645 h 95250"/>
                <a:gd name="connsiteX90" fmla="*/ 157070 w 200025"/>
                <a:gd name="connsiteY90" fmla="*/ 31645 h 95250"/>
                <a:gd name="connsiteX91" fmla="*/ 157070 w 200025"/>
                <a:gd name="connsiteY91" fmla="*/ 27955 h 95250"/>
                <a:gd name="connsiteX92" fmla="*/ 153375 w 200025"/>
                <a:gd name="connsiteY92" fmla="*/ 27955 h 95250"/>
                <a:gd name="connsiteX93" fmla="*/ 153375 w 200025"/>
                <a:gd name="connsiteY93" fmla="*/ 27955 h 95250"/>
                <a:gd name="connsiteX94" fmla="*/ 157070 w 200025"/>
                <a:gd name="connsiteY94" fmla="*/ 31645 h 95250"/>
                <a:gd name="connsiteX95" fmla="*/ 157070 w 200025"/>
                <a:gd name="connsiteY95" fmla="*/ 35336 h 95250"/>
                <a:gd name="connsiteX96" fmla="*/ 153375 w 200025"/>
                <a:gd name="connsiteY96" fmla="*/ 35336 h 95250"/>
                <a:gd name="connsiteX97" fmla="*/ 149689 w 200025"/>
                <a:gd name="connsiteY97" fmla="*/ 35336 h 95250"/>
                <a:gd name="connsiteX98" fmla="*/ 149689 w 200025"/>
                <a:gd name="connsiteY98" fmla="*/ 35336 h 95250"/>
                <a:gd name="connsiteX99" fmla="*/ 146002 w 200025"/>
                <a:gd name="connsiteY99" fmla="*/ 31645 h 95250"/>
                <a:gd name="connsiteX100" fmla="*/ 146002 w 200025"/>
                <a:gd name="connsiteY100" fmla="*/ 31645 h 95250"/>
                <a:gd name="connsiteX101" fmla="*/ 146002 w 200025"/>
                <a:gd name="connsiteY101" fmla="*/ 31645 h 95250"/>
                <a:gd name="connsiteX102" fmla="*/ 149689 w 200025"/>
                <a:gd name="connsiteY102" fmla="*/ 35336 h 95250"/>
                <a:gd name="connsiteX103" fmla="*/ 153375 w 200025"/>
                <a:gd name="connsiteY103" fmla="*/ 39027 h 95250"/>
                <a:gd name="connsiteX104" fmla="*/ 157070 w 200025"/>
                <a:gd name="connsiteY104" fmla="*/ 39027 h 95250"/>
                <a:gd name="connsiteX105" fmla="*/ 160757 w 200025"/>
                <a:gd name="connsiteY105" fmla="*/ 39027 h 95250"/>
                <a:gd name="connsiteX106" fmla="*/ 160757 w 200025"/>
                <a:gd name="connsiteY106" fmla="*/ 39027 h 95250"/>
                <a:gd name="connsiteX107" fmla="*/ 157070 w 200025"/>
                <a:gd name="connsiteY107" fmla="*/ 42717 h 95250"/>
                <a:gd name="connsiteX108" fmla="*/ 149689 w 200025"/>
                <a:gd name="connsiteY108" fmla="*/ 42717 h 95250"/>
                <a:gd name="connsiteX109" fmla="*/ 142316 w 200025"/>
                <a:gd name="connsiteY109" fmla="*/ 42717 h 95250"/>
                <a:gd name="connsiteX110" fmla="*/ 138621 w 200025"/>
                <a:gd name="connsiteY110" fmla="*/ 42717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00025" h="95250">
                  <a:moveTo>
                    <a:pt x="138621" y="42717"/>
                  </a:moveTo>
                  <a:lnTo>
                    <a:pt x="123866" y="42717"/>
                  </a:lnTo>
                  <a:lnTo>
                    <a:pt x="116484" y="46408"/>
                  </a:lnTo>
                  <a:lnTo>
                    <a:pt x="112798" y="46408"/>
                  </a:lnTo>
                  <a:lnTo>
                    <a:pt x="109112" y="50098"/>
                  </a:lnTo>
                  <a:lnTo>
                    <a:pt x="109112" y="50098"/>
                  </a:lnTo>
                  <a:lnTo>
                    <a:pt x="101730" y="57480"/>
                  </a:lnTo>
                  <a:lnTo>
                    <a:pt x="98044" y="61170"/>
                  </a:lnTo>
                  <a:lnTo>
                    <a:pt x="98044" y="61170"/>
                  </a:lnTo>
                  <a:lnTo>
                    <a:pt x="94348" y="61170"/>
                  </a:lnTo>
                  <a:lnTo>
                    <a:pt x="90662" y="61170"/>
                  </a:lnTo>
                  <a:lnTo>
                    <a:pt x="90662" y="64861"/>
                  </a:lnTo>
                  <a:lnTo>
                    <a:pt x="86976" y="64861"/>
                  </a:lnTo>
                  <a:lnTo>
                    <a:pt x="83280" y="61170"/>
                  </a:lnTo>
                  <a:lnTo>
                    <a:pt x="83280" y="64861"/>
                  </a:lnTo>
                  <a:lnTo>
                    <a:pt x="79594" y="64861"/>
                  </a:lnTo>
                  <a:lnTo>
                    <a:pt x="75908" y="68552"/>
                  </a:lnTo>
                  <a:lnTo>
                    <a:pt x="75908" y="68552"/>
                  </a:lnTo>
                  <a:lnTo>
                    <a:pt x="75908" y="68552"/>
                  </a:lnTo>
                  <a:lnTo>
                    <a:pt x="72222" y="68552"/>
                  </a:lnTo>
                  <a:lnTo>
                    <a:pt x="72222" y="72242"/>
                  </a:lnTo>
                  <a:lnTo>
                    <a:pt x="72222" y="72242"/>
                  </a:lnTo>
                  <a:lnTo>
                    <a:pt x="68526" y="68552"/>
                  </a:lnTo>
                  <a:lnTo>
                    <a:pt x="64840" y="68552"/>
                  </a:lnTo>
                  <a:lnTo>
                    <a:pt x="64840" y="68552"/>
                  </a:lnTo>
                  <a:lnTo>
                    <a:pt x="61154" y="68552"/>
                  </a:lnTo>
                  <a:lnTo>
                    <a:pt x="57458" y="68552"/>
                  </a:lnTo>
                  <a:lnTo>
                    <a:pt x="57458" y="68552"/>
                  </a:lnTo>
                  <a:lnTo>
                    <a:pt x="53772" y="72242"/>
                  </a:lnTo>
                  <a:lnTo>
                    <a:pt x="50082" y="75933"/>
                  </a:lnTo>
                  <a:lnTo>
                    <a:pt x="46393" y="72242"/>
                  </a:lnTo>
                  <a:lnTo>
                    <a:pt x="42704" y="75933"/>
                  </a:lnTo>
                  <a:lnTo>
                    <a:pt x="39015" y="75933"/>
                  </a:lnTo>
                  <a:lnTo>
                    <a:pt x="35326" y="79623"/>
                  </a:lnTo>
                  <a:lnTo>
                    <a:pt x="35326" y="83314"/>
                  </a:lnTo>
                  <a:lnTo>
                    <a:pt x="35326" y="83314"/>
                  </a:lnTo>
                  <a:lnTo>
                    <a:pt x="35326" y="83314"/>
                  </a:lnTo>
                  <a:lnTo>
                    <a:pt x="31637" y="83314"/>
                  </a:lnTo>
                  <a:lnTo>
                    <a:pt x="24258" y="87004"/>
                  </a:lnTo>
                  <a:lnTo>
                    <a:pt x="27947" y="87004"/>
                  </a:lnTo>
                  <a:lnTo>
                    <a:pt x="24258" y="90694"/>
                  </a:lnTo>
                  <a:lnTo>
                    <a:pt x="20569" y="90694"/>
                  </a:lnTo>
                  <a:lnTo>
                    <a:pt x="13191" y="90694"/>
                  </a:lnTo>
                  <a:lnTo>
                    <a:pt x="9502" y="83314"/>
                  </a:lnTo>
                  <a:lnTo>
                    <a:pt x="5812" y="83314"/>
                  </a:lnTo>
                  <a:lnTo>
                    <a:pt x="5812" y="83314"/>
                  </a:lnTo>
                  <a:lnTo>
                    <a:pt x="5812" y="79623"/>
                  </a:lnTo>
                  <a:lnTo>
                    <a:pt x="9502" y="75933"/>
                  </a:lnTo>
                  <a:lnTo>
                    <a:pt x="16880" y="64861"/>
                  </a:lnTo>
                  <a:lnTo>
                    <a:pt x="24258" y="53789"/>
                  </a:lnTo>
                  <a:lnTo>
                    <a:pt x="24258" y="53789"/>
                  </a:lnTo>
                  <a:lnTo>
                    <a:pt x="31637" y="50098"/>
                  </a:lnTo>
                  <a:lnTo>
                    <a:pt x="39015" y="46408"/>
                  </a:lnTo>
                  <a:lnTo>
                    <a:pt x="53772" y="42717"/>
                  </a:lnTo>
                  <a:lnTo>
                    <a:pt x="75908" y="39027"/>
                  </a:lnTo>
                  <a:lnTo>
                    <a:pt x="83280" y="39027"/>
                  </a:lnTo>
                  <a:lnTo>
                    <a:pt x="105416" y="31645"/>
                  </a:lnTo>
                  <a:lnTo>
                    <a:pt x="123866" y="24264"/>
                  </a:lnTo>
                  <a:lnTo>
                    <a:pt x="164443" y="9502"/>
                  </a:lnTo>
                  <a:lnTo>
                    <a:pt x="175511" y="9502"/>
                  </a:lnTo>
                  <a:lnTo>
                    <a:pt x="186579" y="5812"/>
                  </a:lnTo>
                  <a:lnTo>
                    <a:pt x="190275" y="9502"/>
                  </a:lnTo>
                  <a:lnTo>
                    <a:pt x="193961" y="9502"/>
                  </a:lnTo>
                  <a:lnTo>
                    <a:pt x="197647" y="13192"/>
                  </a:lnTo>
                  <a:lnTo>
                    <a:pt x="197647" y="13192"/>
                  </a:lnTo>
                  <a:lnTo>
                    <a:pt x="197647" y="20574"/>
                  </a:lnTo>
                  <a:lnTo>
                    <a:pt x="197647" y="24264"/>
                  </a:lnTo>
                  <a:lnTo>
                    <a:pt x="197647" y="24264"/>
                  </a:lnTo>
                  <a:lnTo>
                    <a:pt x="197647" y="20574"/>
                  </a:lnTo>
                  <a:lnTo>
                    <a:pt x="197647" y="16883"/>
                  </a:lnTo>
                  <a:lnTo>
                    <a:pt x="193961" y="13192"/>
                  </a:lnTo>
                  <a:lnTo>
                    <a:pt x="193961" y="13192"/>
                  </a:lnTo>
                  <a:lnTo>
                    <a:pt x="193961" y="16883"/>
                  </a:lnTo>
                  <a:lnTo>
                    <a:pt x="190275" y="20574"/>
                  </a:lnTo>
                  <a:lnTo>
                    <a:pt x="190275" y="20574"/>
                  </a:lnTo>
                  <a:lnTo>
                    <a:pt x="186579" y="24264"/>
                  </a:lnTo>
                  <a:lnTo>
                    <a:pt x="179207" y="24264"/>
                  </a:lnTo>
                  <a:lnTo>
                    <a:pt x="175511" y="24264"/>
                  </a:lnTo>
                  <a:lnTo>
                    <a:pt x="168139" y="27955"/>
                  </a:lnTo>
                  <a:lnTo>
                    <a:pt x="168139" y="27955"/>
                  </a:lnTo>
                  <a:lnTo>
                    <a:pt x="168139" y="27955"/>
                  </a:lnTo>
                  <a:lnTo>
                    <a:pt x="164443" y="24264"/>
                  </a:lnTo>
                  <a:lnTo>
                    <a:pt x="164443" y="24264"/>
                  </a:lnTo>
                  <a:lnTo>
                    <a:pt x="164443" y="24264"/>
                  </a:lnTo>
                  <a:lnTo>
                    <a:pt x="164443" y="24264"/>
                  </a:lnTo>
                  <a:lnTo>
                    <a:pt x="164443" y="27955"/>
                  </a:lnTo>
                  <a:lnTo>
                    <a:pt x="168139" y="27955"/>
                  </a:lnTo>
                  <a:lnTo>
                    <a:pt x="164443" y="31645"/>
                  </a:lnTo>
                  <a:lnTo>
                    <a:pt x="160757" y="31645"/>
                  </a:lnTo>
                  <a:lnTo>
                    <a:pt x="160757" y="31645"/>
                  </a:lnTo>
                  <a:lnTo>
                    <a:pt x="157070" y="31645"/>
                  </a:lnTo>
                  <a:lnTo>
                    <a:pt x="157070" y="27955"/>
                  </a:lnTo>
                  <a:lnTo>
                    <a:pt x="153375" y="27955"/>
                  </a:lnTo>
                  <a:lnTo>
                    <a:pt x="153375" y="27955"/>
                  </a:lnTo>
                  <a:lnTo>
                    <a:pt x="157070" y="31645"/>
                  </a:lnTo>
                  <a:lnTo>
                    <a:pt x="157070" y="35336"/>
                  </a:lnTo>
                  <a:lnTo>
                    <a:pt x="153375" y="35336"/>
                  </a:lnTo>
                  <a:lnTo>
                    <a:pt x="149689" y="35336"/>
                  </a:lnTo>
                  <a:lnTo>
                    <a:pt x="149689" y="35336"/>
                  </a:lnTo>
                  <a:lnTo>
                    <a:pt x="146002" y="31645"/>
                  </a:lnTo>
                  <a:lnTo>
                    <a:pt x="146002" y="31645"/>
                  </a:lnTo>
                  <a:lnTo>
                    <a:pt x="146002" y="31645"/>
                  </a:lnTo>
                  <a:lnTo>
                    <a:pt x="149689" y="35336"/>
                  </a:lnTo>
                  <a:lnTo>
                    <a:pt x="153375" y="39027"/>
                  </a:lnTo>
                  <a:lnTo>
                    <a:pt x="157070" y="39027"/>
                  </a:lnTo>
                  <a:lnTo>
                    <a:pt x="160757" y="39027"/>
                  </a:lnTo>
                  <a:lnTo>
                    <a:pt x="160757" y="39027"/>
                  </a:lnTo>
                  <a:lnTo>
                    <a:pt x="157070" y="42717"/>
                  </a:lnTo>
                  <a:lnTo>
                    <a:pt x="149689" y="42717"/>
                  </a:lnTo>
                  <a:lnTo>
                    <a:pt x="142316" y="42717"/>
                  </a:lnTo>
                  <a:lnTo>
                    <a:pt x="138621" y="42717"/>
                  </a:lnTo>
                  <a:close/>
                </a:path>
              </a:pathLst>
            </a:custGeom>
            <a:solidFill>
              <a:schemeClr val="accent5"/>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116" name="Freeform: Shape 115">
              <a:extLst>
                <a:ext uri="{FF2B5EF4-FFF2-40B4-BE49-F238E27FC236}">
                  <a16:creationId xmlns:a16="http://schemas.microsoft.com/office/drawing/2014/main" id="{2BE5CC73-A255-4A57-A6DF-8EF1492E9928}"/>
                </a:ext>
              </a:extLst>
            </p:cNvPr>
            <p:cNvSpPr/>
            <p:nvPr/>
          </p:nvSpPr>
          <p:spPr>
            <a:xfrm>
              <a:off x="2220591" y="2746866"/>
              <a:ext cx="46118" cy="30745"/>
            </a:xfrm>
            <a:custGeom>
              <a:avLst/>
              <a:gdLst>
                <a:gd name="connsiteX0" fmla="*/ 27947 w 28575"/>
                <a:gd name="connsiteY0" fmla="*/ 5812 h 19050"/>
                <a:gd name="connsiteX1" fmla="*/ 27947 w 28575"/>
                <a:gd name="connsiteY1" fmla="*/ 5812 h 19050"/>
                <a:gd name="connsiteX2" fmla="*/ 24257 w 28575"/>
                <a:gd name="connsiteY2" fmla="*/ 9503 h 19050"/>
                <a:gd name="connsiteX3" fmla="*/ 20568 w 28575"/>
                <a:gd name="connsiteY3" fmla="*/ 13193 h 19050"/>
                <a:gd name="connsiteX4" fmla="*/ 16879 w 28575"/>
                <a:gd name="connsiteY4" fmla="*/ 13193 h 19050"/>
                <a:gd name="connsiteX5" fmla="*/ 13190 w 28575"/>
                <a:gd name="connsiteY5" fmla="*/ 13193 h 19050"/>
                <a:gd name="connsiteX6" fmla="*/ 9501 w 28575"/>
                <a:gd name="connsiteY6" fmla="*/ 13193 h 19050"/>
                <a:gd name="connsiteX7" fmla="*/ 9501 w 28575"/>
                <a:gd name="connsiteY7" fmla="*/ 13193 h 19050"/>
                <a:gd name="connsiteX8" fmla="*/ 9501 w 28575"/>
                <a:gd name="connsiteY8" fmla="*/ 16883 h 19050"/>
                <a:gd name="connsiteX9" fmla="*/ 9501 w 28575"/>
                <a:gd name="connsiteY9" fmla="*/ 16883 h 19050"/>
                <a:gd name="connsiteX10" fmla="*/ 5812 w 28575"/>
                <a:gd name="connsiteY10" fmla="*/ 16883 h 19050"/>
                <a:gd name="connsiteX11" fmla="*/ 5812 w 28575"/>
                <a:gd name="connsiteY11" fmla="*/ 16883 h 19050"/>
                <a:gd name="connsiteX12" fmla="*/ 5812 w 28575"/>
                <a:gd name="connsiteY12" fmla="*/ 13193 h 19050"/>
                <a:gd name="connsiteX13" fmla="*/ 5812 w 28575"/>
                <a:gd name="connsiteY13" fmla="*/ 13193 h 19050"/>
                <a:gd name="connsiteX14" fmla="*/ 9501 w 28575"/>
                <a:gd name="connsiteY14" fmla="*/ 13193 h 19050"/>
                <a:gd name="connsiteX15" fmla="*/ 5812 w 28575"/>
                <a:gd name="connsiteY15" fmla="*/ 13193 h 19050"/>
                <a:gd name="connsiteX16" fmla="*/ 9501 w 28575"/>
                <a:gd name="connsiteY16" fmla="*/ 9503 h 19050"/>
                <a:gd name="connsiteX17" fmla="*/ 13190 w 28575"/>
                <a:gd name="connsiteY17" fmla="*/ 5812 h 19050"/>
                <a:gd name="connsiteX18" fmla="*/ 20568 w 28575"/>
                <a:gd name="connsiteY18" fmla="*/ 5812 h 19050"/>
                <a:gd name="connsiteX19" fmla="*/ 27947 w 28575"/>
                <a:gd name="connsiteY19" fmla="*/ 5812 h 19050"/>
                <a:gd name="connsiteX20" fmla="*/ 27947 w 28575"/>
                <a:gd name="connsiteY20"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575" h="19050">
                  <a:moveTo>
                    <a:pt x="27947" y="5812"/>
                  </a:moveTo>
                  <a:lnTo>
                    <a:pt x="27947" y="5812"/>
                  </a:lnTo>
                  <a:lnTo>
                    <a:pt x="24257" y="9503"/>
                  </a:lnTo>
                  <a:lnTo>
                    <a:pt x="20568" y="13193"/>
                  </a:lnTo>
                  <a:lnTo>
                    <a:pt x="16879" y="13193"/>
                  </a:lnTo>
                  <a:lnTo>
                    <a:pt x="13190" y="13193"/>
                  </a:lnTo>
                  <a:lnTo>
                    <a:pt x="9501" y="13193"/>
                  </a:lnTo>
                  <a:lnTo>
                    <a:pt x="9501" y="13193"/>
                  </a:lnTo>
                  <a:lnTo>
                    <a:pt x="9501" y="16883"/>
                  </a:lnTo>
                  <a:lnTo>
                    <a:pt x="9501" y="16883"/>
                  </a:lnTo>
                  <a:lnTo>
                    <a:pt x="5812" y="16883"/>
                  </a:lnTo>
                  <a:lnTo>
                    <a:pt x="5812" y="16883"/>
                  </a:lnTo>
                  <a:lnTo>
                    <a:pt x="5812" y="13193"/>
                  </a:lnTo>
                  <a:lnTo>
                    <a:pt x="5812" y="13193"/>
                  </a:lnTo>
                  <a:lnTo>
                    <a:pt x="9501" y="13193"/>
                  </a:lnTo>
                  <a:lnTo>
                    <a:pt x="5812" y="13193"/>
                  </a:lnTo>
                  <a:lnTo>
                    <a:pt x="9501" y="9503"/>
                  </a:lnTo>
                  <a:lnTo>
                    <a:pt x="13190" y="5812"/>
                  </a:lnTo>
                  <a:lnTo>
                    <a:pt x="20568" y="5812"/>
                  </a:lnTo>
                  <a:lnTo>
                    <a:pt x="27947" y="5812"/>
                  </a:lnTo>
                  <a:lnTo>
                    <a:pt x="27947" y="5812"/>
                  </a:lnTo>
                  <a:close/>
                </a:path>
              </a:pathLst>
            </a:custGeom>
            <a:solidFill>
              <a:schemeClr val="accent5"/>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117" name="Freeform: Shape 116">
              <a:extLst>
                <a:ext uri="{FF2B5EF4-FFF2-40B4-BE49-F238E27FC236}">
                  <a16:creationId xmlns:a16="http://schemas.microsoft.com/office/drawing/2014/main" id="{91E2F611-56EF-4884-9F81-07C200EEF875}"/>
                </a:ext>
              </a:extLst>
            </p:cNvPr>
            <p:cNvSpPr/>
            <p:nvPr/>
          </p:nvSpPr>
          <p:spPr>
            <a:xfrm>
              <a:off x="2018150" y="2734954"/>
              <a:ext cx="199845" cy="138354"/>
            </a:xfrm>
            <a:custGeom>
              <a:avLst/>
              <a:gdLst>
                <a:gd name="connsiteX0" fmla="*/ 105420 w 123825"/>
                <a:gd name="connsiteY0" fmla="*/ 16883 h 85725"/>
                <a:gd name="connsiteX1" fmla="*/ 105420 w 123825"/>
                <a:gd name="connsiteY1" fmla="*/ 20574 h 85725"/>
                <a:gd name="connsiteX2" fmla="*/ 101730 w 123825"/>
                <a:gd name="connsiteY2" fmla="*/ 24264 h 85725"/>
                <a:gd name="connsiteX3" fmla="*/ 94352 w 123825"/>
                <a:gd name="connsiteY3" fmla="*/ 27955 h 85725"/>
                <a:gd name="connsiteX4" fmla="*/ 72217 w 123825"/>
                <a:gd name="connsiteY4" fmla="*/ 35336 h 85725"/>
                <a:gd name="connsiteX5" fmla="*/ 64839 w 123825"/>
                <a:gd name="connsiteY5" fmla="*/ 39027 h 85725"/>
                <a:gd name="connsiteX6" fmla="*/ 64839 w 123825"/>
                <a:gd name="connsiteY6" fmla="*/ 42717 h 85725"/>
                <a:gd name="connsiteX7" fmla="*/ 64839 w 123825"/>
                <a:gd name="connsiteY7" fmla="*/ 50098 h 85725"/>
                <a:gd name="connsiteX8" fmla="*/ 68528 w 123825"/>
                <a:gd name="connsiteY8" fmla="*/ 50098 h 85725"/>
                <a:gd name="connsiteX9" fmla="*/ 68528 w 123825"/>
                <a:gd name="connsiteY9" fmla="*/ 46408 h 85725"/>
                <a:gd name="connsiteX10" fmla="*/ 68528 w 123825"/>
                <a:gd name="connsiteY10" fmla="*/ 46408 h 85725"/>
                <a:gd name="connsiteX11" fmla="*/ 68528 w 123825"/>
                <a:gd name="connsiteY11" fmla="*/ 46408 h 85725"/>
                <a:gd name="connsiteX12" fmla="*/ 68528 w 123825"/>
                <a:gd name="connsiteY12" fmla="*/ 46408 h 85725"/>
                <a:gd name="connsiteX13" fmla="*/ 72217 w 123825"/>
                <a:gd name="connsiteY13" fmla="*/ 46408 h 85725"/>
                <a:gd name="connsiteX14" fmla="*/ 68528 w 123825"/>
                <a:gd name="connsiteY14" fmla="*/ 50098 h 85725"/>
                <a:gd name="connsiteX15" fmla="*/ 64839 w 123825"/>
                <a:gd name="connsiteY15" fmla="*/ 57480 h 85725"/>
                <a:gd name="connsiteX16" fmla="*/ 64839 w 123825"/>
                <a:gd name="connsiteY16" fmla="*/ 57480 h 85725"/>
                <a:gd name="connsiteX17" fmla="*/ 64839 w 123825"/>
                <a:gd name="connsiteY17" fmla="*/ 57480 h 85725"/>
                <a:gd name="connsiteX18" fmla="*/ 53771 w 123825"/>
                <a:gd name="connsiteY18" fmla="*/ 64861 h 85725"/>
                <a:gd name="connsiteX19" fmla="*/ 50082 w 123825"/>
                <a:gd name="connsiteY19" fmla="*/ 68552 h 85725"/>
                <a:gd name="connsiteX20" fmla="*/ 46393 w 123825"/>
                <a:gd name="connsiteY20" fmla="*/ 68552 h 85725"/>
                <a:gd name="connsiteX21" fmla="*/ 46393 w 123825"/>
                <a:gd name="connsiteY21" fmla="*/ 72242 h 85725"/>
                <a:gd name="connsiteX22" fmla="*/ 42704 w 123825"/>
                <a:gd name="connsiteY22" fmla="*/ 75933 h 85725"/>
                <a:gd name="connsiteX23" fmla="*/ 35326 w 123825"/>
                <a:gd name="connsiteY23" fmla="*/ 79623 h 85725"/>
                <a:gd name="connsiteX24" fmla="*/ 35326 w 123825"/>
                <a:gd name="connsiteY24" fmla="*/ 79623 h 85725"/>
                <a:gd name="connsiteX25" fmla="*/ 35326 w 123825"/>
                <a:gd name="connsiteY25" fmla="*/ 79623 h 85725"/>
                <a:gd name="connsiteX26" fmla="*/ 31636 w 123825"/>
                <a:gd name="connsiteY26" fmla="*/ 79623 h 85725"/>
                <a:gd name="connsiteX27" fmla="*/ 24258 w 123825"/>
                <a:gd name="connsiteY27" fmla="*/ 79623 h 85725"/>
                <a:gd name="connsiteX28" fmla="*/ 13191 w 123825"/>
                <a:gd name="connsiteY28" fmla="*/ 79623 h 85725"/>
                <a:gd name="connsiteX29" fmla="*/ 9502 w 123825"/>
                <a:gd name="connsiteY29" fmla="*/ 83314 h 85725"/>
                <a:gd name="connsiteX30" fmla="*/ 9502 w 123825"/>
                <a:gd name="connsiteY30" fmla="*/ 83314 h 85725"/>
                <a:gd name="connsiteX31" fmla="*/ 9502 w 123825"/>
                <a:gd name="connsiteY31" fmla="*/ 87005 h 85725"/>
                <a:gd name="connsiteX32" fmla="*/ 13191 w 123825"/>
                <a:gd name="connsiteY32" fmla="*/ 87005 h 85725"/>
                <a:gd name="connsiteX33" fmla="*/ 9502 w 123825"/>
                <a:gd name="connsiteY33" fmla="*/ 87005 h 85725"/>
                <a:gd name="connsiteX34" fmla="*/ 5812 w 123825"/>
                <a:gd name="connsiteY34" fmla="*/ 87005 h 85725"/>
                <a:gd name="connsiteX35" fmla="*/ 5812 w 123825"/>
                <a:gd name="connsiteY35" fmla="*/ 87005 h 85725"/>
                <a:gd name="connsiteX36" fmla="*/ 5812 w 123825"/>
                <a:gd name="connsiteY36" fmla="*/ 79623 h 85725"/>
                <a:gd name="connsiteX37" fmla="*/ 5812 w 123825"/>
                <a:gd name="connsiteY37" fmla="*/ 75933 h 85725"/>
                <a:gd name="connsiteX38" fmla="*/ 5812 w 123825"/>
                <a:gd name="connsiteY38" fmla="*/ 72242 h 85725"/>
                <a:gd name="connsiteX39" fmla="*/ 27947 w 123825"/>
                <a:gd name="connsiteY39" fmla="*/ 61170 h 85725"/>
                <a:gd name="connsiteX40" fmla="*/ 39015 w 123825"/>
                <a:gd name="connsiteY40" fmla="*/ 50098 h 85725"/>
                <a:gd name="connsiteX41" fmla="*/ 46393 w 123825"/>
                <a:gd name="connsiteY41" fmla="*/ 46408 h 85725"/>
                <a:gd name="connsiteX42" fmla="*/ 53771 w 123825"/>
                <a:gd name="connsiteY42" fmla="*/ 39027 h 85725"/>
                <a:gd name="connsiteX43" fmla="*/ 57460 w 123825"/>
                <a:gd name="connsiteY43" fmla="*/ 35336 h 85725"/>
                <a:gd name="connsiteX44" fmla="*/ 72217 w 123825"/>
                <a:gd name="connsiteY44" fmla="*/ 24264 h 85725"/>
                <a:gd name="connsiteX45" fmla="*/ 79595 w 123825"/>
                <a:gd name="connsiteY45" fmla="*/ 20574 h 85725"/>
                <a:gd name="connsiteX46" fmla="*/ 83285 w 123825"/>
                <a:gd name="connsiteY46" fmla="*/ 16883 h 85725"/>
                <a:gd name="connsiteX47" fmla="*/ 83285 w 123825"/>
                <a:gd name="connsiteY47" fmla="*/ 16883 h 85725"/>
                <a:gd name="connsiteX48" fmla="*/ 94352 w 123825"/>
                <a:gd name="connsiteY48" fmla="*/ 13192 h 85725"/>
                <a:gd name="connsiteX49" fmla="*/ 101730 w 123825"/>
                <a:gd name="connsiteY49" fmla="*/ 9503 h 85725"/>
                <a:gd name="connsiteX50" fmla="*/ 109109 w 123825"/>
                <a:gd name="connsiteY50" fmla="*/ 5812 h 85725"/>
                <a:gd name="connsiteX51" fmla="*/ 112798 w 123825"/>
                <a:gd name="connsiteY51" fmla="*/ 5812 h 85725"/>
                <a:gd name="connsiteX52" fmla="*/ 123865 w 123825"/>
                <a:gd name="connsiteY52" fmla="*/ 9503 h 85725"/>
                <a:gd name="connsiteX53" fmla="*/ 123865 w 123825"/>
                <a:gd name="connsiteY53" fmla="*/ 13192 h 85725"/>
                <a:gd name="connsiteX54" fmla="*/ 120176 w 123825"/>
                <a:gd name="connsiteY54" fmla="*/ 16883 h 85725"/>
                <a:gd name="connsiteX55" fmla="*/ 120176 w 123825"/>
                <a:gd name="connsiteY55" fmla="*/ 16883 h 85725"/>
                <a:gd name="connsiteX56" fmla="*/ 120176 w 123825"/>
                <a:gd name="connsiteY56" fmla="*/ 16883 h 85725"/>
                <a:gd name="connsiteX57" fmla="*/ 116487 w 123825"/>
                <a:gd name="connsiteY57" fmla="*/ 16883 h 85725"/>
                <a:gd name="connsiteX58" fmla="*/ 112798 w 123825"/>
                <a:gd name="connsiteY58" fmla="*/ 16883 h 85725"/>
                <a:gd name="connsiteX59" fmla="*/ 105420 w 123825"/>
                <a:gd name="connsiteY59" fmla="*/ 16883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23825" h="85725">
                  <a:moveTo>
                    <a:pt x="105420" y="16883"/>
                  </a:moveTo>
                  <a:lnTo>
                    <a:pt x="105420" y="20574"/>
                  </a:lnTo>
                  <a:lnTo>
                    <a:pt x="101730" y="24264"/>
                  </a:lnTo>
                  <a:lnTo>
                    <a:pt x="94352" y="27955"/>
                  </a:lnTo>
                  <a:lnTo>
                    <a:pt x="72217" y="35336"/>
                  </a:lnTo>
                  <a:lnTo>
                    <a:pt x="64839" y="39027"/>
                  </a:lnTo>
                  <a:lnTo>
                    <a:pt x="64839" y="42717"/>
                  </a:lnTo>
                  <a:lnTo>
                    <a:pt x="64839" y="50098"/>
                  </a:lnTo>
                  <a:lnTo>
                    <a:pt x="68528" y="50098"/>
                  </a:lnTo>
                  <a:lnTo>
                    <a:pt x="68528" y="46408"/>
                  </a:lnTo>
                  <a:lnTo>
                    <a:pt x="68528" y="46408"/>
                  </a:lnTo>
                  <a:lnTo>
                    <a:pt x="68528" y="46408"/>
                  </a:lnTo>
                  <a:lnTo>
                    <a:pt x="68528" y="46408"/>
                  </a:lnTo>
                  <a:lnTo>
                    <a:pt x="72217" y="46408"/>
                  </a:lnTo>
                  <a:lnTo>
                    <a:pt x="68528" y="50098"/>
                  </a:lnTo>
                  <a:lnTo>
                    <a:pt x="64839" y="57480"/>
                  </a:lnTo>
                  <a:lnTo>
                    <a:pt x="64839" y="57480"/>
                  </a:lnTo>
                  <a:lnTo>
                    <a:pt x="64839" y="57480"/>
                  </a:lnTo>
                  <a:lnTo>
                    <a:pt x="53771" y="64861"/>
                  </a:lnTo>
                  <a:lnTo>
                    <a:pt x="50082" y="68552"/>
                  </a:lnTo>
                  <a:lnTo>
                    <a:pt x="46393" y="68552"/>
                  </a:lnTo>
                  <a:lnTo>
                    <a:pt x="46393" y="72242"/>
                  </a:lnTo>
                  <a:lnTo>
                    <a:pt x="42704" y="75933"/>
                  </a:lnTo>
                  <a:lnTo>
                    <a:pt x="35326" y="79623"/>
                  </a:lnTo>
                  <a:lnTo>
                    <a:pt x="35326" y="79623"/>
                  </a:lnTo>
                  <a:lnTo>
                    <a:pt x="35326" y="79623"/>
                  </a:lnTo>
                  <a:lnTo>
                    <a:pt x="31636" y="79623"/>
                  </a:lnTo>
                  <a:lnTo>
                    <a:pt x="24258" y="79623"/>
                  </a:lnTo>
                  <a:lnTo>
                    <a:pt x="13191" y="79623"/>
                  </a:lnTo>
                  <a:lnTo>
                    <a:pt x="9502" y="83314"/>
                  </a:lnTo>
                  <a:lnTo>
                    <a:pt x="9502" y="83314"/>
                  </a:lnTo>
                  <a:lnTo>
                    <a:pt x="9502" y="87005"/>
                  </a:lnTo>
                  <a:lnTo>
                    <a:pt x="13191" y="87005"/>
                  </a:lnTo>
                  <a:lnTo>
                    <a:pt x="9502" y="87005"/>
                  </a:lnTo>
                  <a:lnTo>
                    <a:pt x="5812" y="87005"/>
                  </a:lnTo>
                  <a:lnTo>
                    <a:pt x="5812" y="87005"/>
                  </a:lnTo>
                  <a:lnTo>
                    <a:pt x="5812" y="79623"/>
                  </a:lnTo>
                  <a:lnTo>
                    <a:pt x="5812" y="75933"/>
                  </a:lnTo>
                  <a:lnTo>
                    <a:pt x="5812" y="72242"/>
                  </a:lnTo>
                  <a:lnTo>
                    <a:pt x="27947" y="61170"/>
                  </a:lnTo>
                  <a:lnTo>
                    <a:pt x="39015" y="50098"/>
                  </a:lnTo>
                  <a:lnTo>
                    <a:pt x="46393" y="46408"/>
                  </a:lnTo>
                  <a:lnTo>
                    <a:pt x="53771" y="39027"/>
                  </a:lnTo>
                  <a:lnTo>
                    <a:pt x="57460" y="35336"/>
                  </a:lnTo>
                  <a:lnTo>
                    <a:pt x="72217" y="24264"/>
                  </a:lnTo>
                  <a:lnTo>
                    <a:pt x="79595" y="20574"/>
                  </a:lnTo>
                  <a:lnTo>
                    <a:pt x="83285" y="16883"/>
                  </a:lnTo>
                  <a:lnTo>
                    <a:pt x="83285" y="16883"/>
                  </a:lnTo>
                  <a:lnTo>
                    <a:pt x="94352" y="13192"/>
                  </a:lnTo>
                  <a:lnTo>
                    <a:pt x="101730" y="9503"/>
                  </a:lnTo>
                  <a:lnTo>
                    <a:pt x="109109" y="5812"/>
                  </a:lnTo>
                  <a:lnTo>
                    <a:pt x="112798" y="5812"/>
                  </a:lnTo>
                  <a:lnTo>
                    <a:pt x="123865" y="9503"/>
                  </a:lnTo>
                  <a:lnTo>
                    <a:pt x="123865" y="13192"/>
                  </a:lnTo>
                  <a:lnTo>
                    <a:pt x="120176" y="16883"/>
                  </a:lnTo>
                  <a:lnTo>
                    <a:pt x="120176" y="16883"/>
                  </a:lnTo>
                  <a:lnTo>
                    <a:pt x="120176" y="16883"/>
                  </a:lnTo>
                  <a:lnTo>
                    <a:pt x="116487" y="16883"/>
                  </a:lnTo>
                  <a:lnTo>
                    <a:pt x="112798" y="16883"/>
                  </a:lnTo>
                  <a:lnTo>
                    <a:pt x="105420" y="16883"/>
                  </a:lnTo>
                  <a:close/>
                </a:path>
              </a:pathLst>
            </a:custGeom>
            <a:solidFill>
              <a:schemeClr val="accent5"/>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118" name="Freeform: Shape 117">
              <a:extLst>
                <a:ext uri="{FF2B5EF4-FFF2-40B4-BE49-F238E27FC236}">
                  <a16:creationId xmlns:a16="http://schemas.microsoft.com/office/drawing/2014/main" id="{D68E8EAE-B529-4720-B173-A502C4C1D9F9}"/>
                </a:ext>
              </a:extLst>
            </p:cNvPr>
            <p:cNvSpPr/>
            <p:nvPr/>
          </p:nvSpPr>
          <p:spPr>
            <a:xfrm>
              <a:off x="3167294" y="2472877"/>
              <a:ext cx="15373" cy="15373"/>
            </a:xfrm>
            <a:custGeom>
              <a:avLst/>
              <a:gdLst>
                <a:gd name="connsiteX0" fmla="*/ 5812 w 9525"/>
                <a:gd name="connsiteY0" fmla="*/ 5812 h 9525"/>
                <a:gd name="connsiteX1" fmla="*/ 13184 w 9525"/>
                <a:gd name="connsiteY1" fmla="*/ 5812 h 9525"/>
                <a:gd name="connsiteX2" fmla="*/ 13184 w 9525"/>
                <a:gd name="connsiteY2" fmla="*/ 5812 h 9525"/>
                <a:gd name="connsiteX3" fmla="*/ 13184 w 9525"/>
                <a:gd name="connsiteY3" fmla="*/ 9502 h 9525"/>
                <a:gd name="connsiteX4" fmla="*/ 13184 w 9525"/>
                <a:gd name="connsiteY4" fmla="*/ 9502 h 9525"/>
                <a:gd name="connsiteX5" fmla="*/ 5812 w 9525"/>
                <a:gd name="connsiteY5" fmla="*/ 13193 h 9525"/>
                <a:gd name="connsiteX6" fmla="*/ 5812 w 9525"/>
                <a:gd name="connsiteY6"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9525">
                  <a:moveTo>
                    <a:pt x="5812" y="5812"/>
                  </a:moveTo>
                  <a:lnTo>
                    <a:pt x="13184" y="5812"/>
                  </a:lnTo>
                  <a:lnTo>
                    <a:pt x="13184" y="5812"/>
                  </a:lnTo>
                  <a:lnTo>
                    <a:pt x="13184" y="9502"/>
                  </a:lnTo>
                  <a:lnTo>
                    <a:pt x="13184" y="9502"/>
                  </a:lnTo>
                  <a:lnTo>
                    <a:pt x="5812" y="13193"/>
                  </a:lnTo>
                  <a:lnTo>
                    <a:pt x="5812" y="5812"/>
                  </a:lnTo>
                  <a:close/>
                </a:path>
              </a:pathLst>
            </a:custGeom>
            <a:solidFill>
              <a:schemeClr val="accent5"/>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119" name="Freeform: Shape 118">
              <a:extLst>
                <a:ext uri="{FF2B5EF4-FFF2-40B4-BE49-F238E27FC236}">
                  <a16:creationId xmlns:a16="http://schemas.microsoft.com/office/drawing/2014/main" id="{8B32054B-6C27-4528-80B3-EDF059F216EF}"/>
                </a:ext>
              </a:extLst>
            </p:cNvPr>
            <p:cNvSpPr/>
            <p:nvPr/>
          </p:nvSpPr>
          <p:spPr>
            <a:xfrm>
              <a:off x="3244698" y="2413315"/>
              <a:ext cx="61491" cy="61491"/>
            </a:xfrm>
            <a:custGeom>
              <a:avLst/>
              <a:gdLst>
                <a:gd name="connsiteX0" fmla="*/ 24252 w 38100"/>
                <a:gd name="connsiteY0" fmla="*/ 9502 h 38100"/>
                <a:gd name="connsiteX1" fmla="*/ 24252 w 38100"/>
                <a:gd name="connsiteY1" fmla="*/ 13193 h 38100"/>
                <a:gd name="connsiteX2" fmla="*/ 24252 w 38100"/>
                <a:gd name="connsiteY2" fmla="*/ 13193 h 38100"/>
                <a:gd name="connsiteX3" fmla="*/ 27948 w 38100"/>
                <a:gd name="connsiteY3" fmla="*/ 16883 h 38100"/>
                <a:gd name="connsiteX4" fmla="*/ 31634 w 38100"/>
                <a:gd name="connsiteY4" fmla="*/ 20574 h 38100"/>
                <a:gd name="connsiteX5" fmla="*/ 35320 w 38100"/>
                <a:gd name="connsiteY5" fmla="*/ 24264 h 38100"/>
                <a:gd name="connsiteX6" fmla="*/ 31634 w 38100"/>
                <a:gd name="connsiteY6" fmla="*/ 20574 h 38100"/>
                <a:gd name="connsiteX7" fmla="*/ 27948 w 38100"/>
                <a:gd name="connsiteY7" fmla="*/ 20574 h 38100"/>
                <a:gd name="connsiteX8" fmla="*/ 20566 w 38100"/>
                <a:gd name="connsiteY8" fmla="*/ 20574 h 38100"/>
                <a:gd name="connsiteX9" fmla="*/ 16880 w 38100"/>
                <a:gd name="connsiteY9" fmla="*/ 20574 h 38100"/>
                <a:gd name="connsiteX10" fmla="*/ 16880 w 38100"/>
                <a:gd name="connsiteY10" fmla="*/ 20574 h 38100"/>
                <a:gd name="connsiteX11" fmla="*/ 16880 w 38100"/>
                <a:gd name="connsiteY11" fmla="*/ 24264 h 38100"/>
                <a:gd name="connsiteX12" fmla="*/ 16880 w 38100"/>
                <a:gd name="connsiteY12" fmla="*/ 27955 h 38100"/>
                <a:gd name="connsiteX13" fmla="*/ 20566 w 38100"/>
                <a:gd name="connsiteY13" fmla="*/ 27955 h 38100"/>
                <a:gd name="connsiteX14" fmla="*/ 20566 w 38100"/>
                <a:gd name="connsiteY14" fmla="*/ 27955 h 38100"/>
                <a:gd name="connsiteX15" fmla="*/ 16880 w 38100"/>
                <a:gd name="connsiteY15" fmla="*/ 35336 h 38100"/>
                <a:gd name="connsiteX16" fmla="*/ 13184 w 38100"/>
                <a:gd name="connsiteY16" fmla="*/ 31646 h 38100"/>
                <a:gd name="connsiteX17" fmla="*/ 9498 w 38100"/>
                <a:gd name="connsiteY17" fmla="*/ 20574 h 38100"/>
                <a:gd name="connsiteX18" fmla="*/ 5812 w 38100"/>
                <a:gd name="connsiteY18" fmla="*/ 16883 h 38100"/>
                <a:gd name="connsiteX19" fmla="*/ 5812 w 38100"/>
                <a:gd name="connsiteY19" fmla="*/ 13193 h 38100"/>
                <a:gd name="connsiteX20" fmla="*/ 9498 w 38100"/>
                <a:gd name="connsiteY20" fmla="*/ 5812 h 38100"/>
                <a:gd name="connsiteX21" fmla="*/ 13184 w 38100"/>
                <a:gd name="connsiteY21" fmla="*/ 5812 h 38100"/>
                <a:gd name="connsiteX22" fmla="*/ 16880 w 38100"/>
                <a:gd name="connsiteY22" fmla="*/ 5812 h 38100"/>
                <a:gd name="connsiteX23" fmla="*/ 20566 w 38100"/>
                <a:gd name="connsiteY23" fmla="*/ 5812 h 38100"/>
                <a:gd name="connsiteX24" fmla="*/ 24252 w 38100"/>
                <a:gd name="connsiteY24" fmla="*/ 9502 h 38100"/>
                <a:gd name="connsiteX25" fmla="*/ 24252 w 38100"/>
                <a:gd name="connsiteY25" fmla="*/ 9502 h 38100"/>
                <a:gd name="connsiteX26" fmla="*/ 24252 w 38100"/>
                <a:gd name="connsiteY26" fmla="*/ 9502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8100" h="38100">
                  <a:moveTo>
                    <a:pt x="24252" y="9502"/>
                  </a:moveTo>
                  <a:lnTo>
                    <a:pt x="24252" y="13193"/>
                  </a:lnTo>
                  <a:lnTo>
                    <a:pt x="24252" y="13193"/>
                  </a:lnTo>
                  <a:lnTo>
                    <a:pt x="27948" y="16883"/>
                  </a:lnTo>
                  <a:lnTo>
                    <a:pt x="31634" y="20574"/>
                  </a:lnTo>
                  <a:lnTo>
                    <a:pt x="35320" y="24264"/>
                  </a:lnTo>
                  <a:lnTo>
                    <a:pt x="31634" y="20574"/>
                  </a:lnTo>
                  <a:lnTo>
                    <a:pt x="27948" y="20574"/>
                  </a:lnTo>
                  <a:lnTo>
                    <a:pt x="20566" y="20574"/>
                  </a:lnTo>
                  <a:lnTo>
                    <a:pt x="16880" y="20574"/>
                  </a:lnTo>
                  <a:lnTo>
                    <a:pt x="16880" y="20574"/>
                  </a:lnTo>
                  <a:lnTo>
                    <a:pt x="16880" y="24264"/>
                  </a:lnTo>
                  <a:lnTo>
                    <a:pt x="16880" y="27955"/>
                  </a:lnTo>
                  <a:lnTo>
                    <a:pt x="20566" y="27955"/>
                  </a:lnTo>
                  <a:lnTo>
                    <a:pt x="20566" y="27955"/>
                  </a:lnTo>
                  <a:lnTo>
                    <a:pt x="16880" y="35336"/>
                  </a:lnTo>
                  <a:lnTo>
                    <a:pt x="13184" y="31646"/>
                  </a:lnTo>
                  <a:lnTo>
                    <a:pt x="9498" y="20574"/>
                  </a:lnTo>
                  <a:lnTo>
                    <a:pt x="5812" y="16883"/>
                  </a:lnTo>
                  <a:lnTo>
                    <a:pt x="5812" y="13193"/>
                  </a:lnTo>
                  <a:lnTo>
                    <a:pt x="9498" y="5812"/>
                  </a:lnTo>
                  <a:lnTo>
                    <a:pt x="13184" y="5812"/>
                  </a:lnTo>
                  <a:lnTo>
                    <a:pt x="16880" y="5812"/>
                  </a:lnTo>
                  <a:lnTo>
                    <a:pt x="20566" y="5812"/>
                  </a:lnTo>
                  <a:lnTo>
                    <a:pt x="24252" y="9502"/>
                  </a:lnTo>
                  <a:lnTo>
                    <a:pt x="24252" y="9502"/>
                  </a:lnTo>
                  <a:lnTo>
                    <a:pt x="24252" y="9502"/>
                  </a:lnTo>
                  <a:close/>
                </a:path>
              </a:pathLst>
            </a:custGeom>
            <a:solidFill>
              <a:schemeClr val="accent5"/>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120" name="Freeform: Shape 119">
              <a:extLst>
                <a:ext uri="{FF2B5EF4-FFF2-40B4-BE49-F238E27FC236}">
                  <a16:creationId xmlns:a16="http://schemas.microsoft.com/office/drawing/2014/main" id="{3924BF72-663D-40AD-AE42-8733FA6B2118}"/>
                </a:ext>
              </a:extLst>
            </p:cNvPr>
            <p:cNvSpPr/>
            <p:nvPr/>
          </p:nvSpPr>
          <p:spPr>
            <a:xfrm>
              <a:off x="3328046" y="2425228"/>
              <a:ext cx="46118" cy="15373"/>
            </a:xfrm>
            <a:custGeom>
              <a:avLst/>
              <a:gdLst>
                <a:gd name="connsiteX0" fmla="*/ 9498 w 28575"/>
                <a:gd name="connsiteY0" fmla="*/ 5812 h 9525"/>
                <a:gd name="connsiteX1" fmla="*/ 16880 w 28575"/>
                <a:gd name="connsiteY1" fmla="*/ 5812 h 9525"/>
                <a:gd name="connsiteX2" fmla="*/ 24262 w 28575"/>
                <a:gd name="connsiteY2" fmla="*/ 5812 h 9525"/>
                <a:gd name="connsiteX3" fmla="*/ 31634 w 28575"/>
                <a:gd name="connsiteY3" fmla="*/ 9502 h 9525"/>
                <a:gd name="connsiteX4" fmla="*/ 31634 w 28575"/>
                <a:gd name="connsiteY4" fmla="*/ 13193 h 9525"/>
                <a:gd name="connsiteX5" fmla="*/ 31634 w 28575"/>
                <a:gd name="connsiteY5" fmla="*/ 9502 h 9525"/>
                <a:gd name="connsiteX6" fmla="*/ 24262 w 28575"/>
                <a:gd name="connsiteY6" fmla="*/ 9502 h 9525"/>
                <a:gd name="connsiteX7" fmla="*/ 16880 w 28575"/>
                <a:gd name="connsiteY7" fmla="*/ 9502 h 9525"/>
                <a:gd name="connsiteX8" fmla="*/ 13194 w 28575"/>
                <a:gd name="connsiteY8" fmla="*/ 9502 h 9525"/>
                <a:gd name="connsiteX9" fmla="*/ 13194 w 28575"/>
                <a:gd name="connsiteY9" fmla="*/ 9502 h 9525"/>
                <a:gd name="connsiteX10" fmla="*/ 9498 w 28575"/>
                <a:gd name="connsiteY10" fmla="*/ 9502 h 9525"/>
                <a:gd name="connsiteX11" fmla="*/ 5812 w 28575"/>
                <a:gd name="connsiteY11" fmla="*/ 13193 h 9525"/>
                <a:gd name="connsiteX12" fmla="*/ 5812 w 28575"/>
                <a:gd name="connsiteY12" fmla="*/ 13193 h 9525"/>
                <a:gd name="connsiteX13" fmla="*/ 5812 w 28575"/>
                <a:gd name="connsiteY13" fmla="*/ 9502 h 9525"/>
                <a:gd name="connsiteX14" fmla="*/ 9498 w 28575"/>
                <a:gd name="connsiteY14" fmla="*/ 5812 h 9525"/>
                <a:gd name="connsiteX15" fmla="*/ 9498 w 28575"/>
                <a:gd name="connsiteY15"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575" h="9525">
                  <a:moveTo>
                    <a:pt x="9498" y="5812"/>
                  </a:moveTo>
                  <a:lnTo>
                    <a:pt x="16880" y="5812"/>
                  </a:lnTo>
                  <a:lnTo>
                    <a:pt x="24262" y="5812"/>
                  </a:lnTo>
                  <a:lnTo>
                    <a:pt x="31634" y="9502"/>
                  </a:lnTo>
                  <a:lnTo>
                    <a:pt x="31634" y="13193"/>
                  </a:lnTo>
                  <a:lnTo>
                    <a:pt x="31634" y="9502"/>
                  </a:lnTo>
                  <a:lnTo>
                    <a:pt x="24262" y="9502"/>
                  </a:lnTo>
                  <a:lnTo>
                    <a:pt x="16880" y="9502"/>
                  </a:lnTo>
                  <a:lnTo>
                    <a:pt x="13194" y="9502"/>
                  </a:lnTo>
                  <a:lnTo>
                    <a:pt x="13194" y="9502"/>
                  </a:lnTo>
                  <a:lnTo>
                    <a:pt x="9498" y="9502"/>
                  </a:lnTo>
                  <a:lnTo>
                    <a:pt x="5812" y="13193"/>
                  </a:lnTo>
                  <a:lnTo>
                    <a:pt x="5812" y="13193"/>
                  </a:lnTo>
                  <a:lnTo>
                    <a:pt x="5812" y="9502"/>
                  </a:lnTo>
                  <a:lnTo>
                    <a:pt x="9498" y="5812"/>
                  </a:lnTo>
                  <a:lnTo>
                    <a:pt x="9498" y="5812"/>
                  </a:lnTo>
                  <a:close/>
                </a:path>
              </a:pathLst>
            </a:custGeom>
            <a:solidFill>
              <a:schemeClr val="accent5"/>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121" name="Freeform: Shape 120">
              <a:extLst>
                <a:ext uri="{FF2B5EF4-FFF2-40B4-BE49-F238E27FC236}">
                  <a16:creationId xmlns:a16="http://schemas.microsoft.com/office/drawing/2014/main" id="{B3BB637B-2E09-4546-93C6-1641BE4559C7}"/>
                </a:ext>
              </a:extLst>
            </p:cNvPr>
            <p:cNvSpPr/>
            <p:nvPr/>
          </p:nvSpPr>
          <p:spPr>
            <a:xfrm>
              <a:off x="3042254" y="2645611"/>
              <a:ext cx="30745" cy="15373"/>
            </a:xfrm>
            <a:custGeom>
              <a:avLst/>
              <a:gdLst>
                <a:gd name="connsiteX0" fmla="*/ 5812 w 19050"/>
                <a:gd name="connsiteY0" fmla="*/ 5812 h 9525"/>
                <a:gd name="connsiteX1" fmla="*/ 9498 w 19050"/>
                <a:gd name="connsiteY1" fmla="*/ 9503 h 9525"/>
                <a:gd name="connsiteX2" fmla="*/ 9498 w 19050"/>
                <a:gd name="connsiteY2" fmla="*/ 5812 h 9525"/>
                <a:gd name="connsiteX3" fmla="*/ 9498 w 19050"/>
                <a:gd name="connsiteY3" fmla="*/ 5812 h 9525"/>
                <a:gd name="connsiteX4" fmla="*/ 16879 w 19050"/>
                <a:gd name="connsiteY4" fmla="*/ 9503 h 9525"/>
                <a:gd name="connsiteX5" fmla="*/ 16879 w 19050"/>
                <a:gd name="connsiteY5" fmla="*/ 9503 h 9525"/>
                <a:gd name="connsiteX6" fmla="*/ 16879 w 19050"/>
                <a:gd name="connsiteY6" fmla="*/ 13192 h 9525"/>
                <a:gd name="connsiteX7" fmla="*/ 16879 w 19050"/>
                <a:gd name="connsiteY7" fmla="*/ 13192 h 9525"/>
                <a:gd name="connsiteX8" fmla="*/ 13184 w 19050"/>
                <a:gd name="connsiteY8" fmla="*/ 13192 h 9525"/>
                <a:gd name="connsiteX9" fmla="*/ 9498 w 19050"/>
                <a:gd name="connsiteY9" fmla="*/ 13192 h 9525"/>
                <a:gd name="connsiteX10" fmla="*/ 5812 w 19050"/>
                <a:gd name="connsiteY10" fmla="*/ 9503 h 9525"/>
                <a:gd name="connsiteX11" fmla="*/ 5812 w 19050"/>
                <a:gd name="connsiteY11" fmla="*/ 5812 h 9525"/>
                <a:gd name="connsiteX12" fmla="*/ 5812 w 19050"/>
                <a:gd name="connsiteY12"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 h="9525">
                  <a:moveTo>
                    <a:pt x="5812" y="5812"/>
                  </a:moveTo>
                  <a:lnTo>
                    <a:pt x="9498" y="9503"/>
                  </a:lnTo>
                  <a:lnTo>
                    <a:pt x="9498" y="5812"/>
                  </a:lnTo>
                  <a:lnTo>
                    <a:pt x="9498" y="5812"/>
                  </a:lnTo>
                  <a:lnTo>
                    <a:pt x="16879" y="9503"/>
                  </a:lnTo>
                  <a:lnTo>
                    <a:pt x="16879" y="9503"/>
                  </a:lnTo>
                  <a:lnTo>
                    <a:pt x="16879" y="13192"/>
                  </a:lnTo>
                  <a:lnTo>
                    <a:pt x="16879" y="13192"/>
                  </a:lnTo>
                  <a:lnTo>
                    <a:pt x="13184" y="13192"/>
                  </a:lnTo>
                  <a:lnTo>
                    <a:pt x="9498" y="13192"/>
                  </a:lnTo>
                  <a:lnTo>
                    <a:pt x="5812" y="9503"/>
                  </a:lnTo>
                  <a:lnTo>
                    <a:pt x="5812" y="5812"/>
                  </a:lnTo>
                  <a:lnTo>
                    <a:pt x="5812" y="5812"/>
                  </a:lnTo>
                  <a:close/>
                </a:path>
              </a:pathLst>
            </a:custGeom>
            <a:solidFill>
              <a:schemeClr val="accent5"/>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71" name="Freeform: Shape 70">
              <a:extLst>
                <a:ext uri="{FF2B5EF4-FFF2-40B4-BE49-F238E27FC236}">
                  <a16:creationId xmlns:a16="http://schemas.microsoft.com/office/drawing/2014/main" id="{C50DC9D4-4C2B-45F9-BF51-02DFE43C6C69}"/>
                </a:ext>
              </a:extLst>
            </p:cNvPr>
            <p:cNvSpPr/>
            <p:nvPr/>
          </p:nvSpPr>
          <p:spPr>
            <a:xfrm>
              <a:off x="3000579" y="2865994"/>
              <a:ext cx="768634" cy="768633"/>
            </a:xfrm>
            <a:custGeom>
              <a:avLst/>
              <a:gdLst>
                <a:gd name="connsiteX0" fmla="*/ 168137 w 476250"/>
                <a:gd name="connsiteY0" fmla="*/ 5812 h 476250"/>
                <a:gd name="connsiteX1" fmla="*/ 160755 w 476250"/>
                <a:gd name="connsiteY1" fmla="*/ 9502 h 476250"/>
                <a:gd name="connsiteX2" fmla="*/ 157068 w 476250"/>
                <a:gd name="connsiteY2" fmla="*/ 13192 h 476250"/>
                <a:gd name="connsiteX3" fmla="*/ 157068 w 476250"/>
                <a:gd name="connsiteY3" fmla="*/ 16882 h 476250"/>
                <a:gd name="connsiteX4" fmla="*/ 149687 w 476250"/>
                <a:gd name="connsiteY4" fmla="*/ 20573 h 476250"/>
                <a:gd name="connsiteX5" fmla="*/ 142305 w 476250"/>
                <a:gd name="connsiteY5" fmla="*/ 24264 h 476250"/>
                <a:gd name="connsiteX6" fmla="*/ 138619 w 476250"/>
                <a:gd name="connsiteY6" fmla="*/ 27954 h 476250"/>
                <a:gd name="connsiteX7" fmla="*/ 138619 w 476250"/>
                <a:gd name="connsiteY7" fmla="*/ 31645 h 476250"/>
                <a:gd name="connsiteX8" fmla="*/ 134932 w 476250"/>
                <a:gd name="connsiteY8" fmla="*/ 35335 h 476250"/>
                <a:gd name="connsiteX9" fmla="*/ 131237 w 476250"/>
                <a:gd name="connsiteY9" fmla="*/ 42717 h 476250"/>
                <a:gd name="connsiteX10" fmla="*/ 127550 w 476250"/>
                <a:gd name="connsiteY10" fmla="*/ 46407 h 476250"/>
                <a:gd name="connsiteX11" fmla="*/ 127550 w 476250"/>
                <a:gd name="connsiteY11" fmla="*/ 50098 h 476250"/>
                <a:gd name="connsiteX12" fmla="*/ 120169 w 476250"/>
                <a:gd name="connsiteY12" fmla="*/ 68551 h 476250"/>
                <a:gd name="connsiteX13" fmla="*/ 120169 w 476250"/>
                <a:gd name="connsiteY13" fmla="*/ 72242 h 476250"/>
                <a:gd name="connsiteX14" fmla="*/ 120169 w 476250"/>
                <a:gd name="connsiteY14" fmla="*/ 83313 h 476250"/>
                <a:gd name="connsiteX15" fmla="*/ 116482 w 476250"/>
                <a:gd name="connsiteY15" fmla="*/ 83313 h 476250"/>
                <a:gd name="connsiteX16" fmla="*/ 112796 w 476250"/>
                <a:gd name="connsiteY16" fmla="*/ 98075 h 476250"/>
                <a:gd name="connsiteX17" fmla="*/ 109110 w 476250"/>
                <a:gd name="connsiteY17" fmla="*/ 98075 h 476250"/>
                <a:gd name="connsiteX18" fmla="*/ 98042 w 476250"/>
                <a:gd name="connsiteY18" fmla="*/ 94385 h 476250"/>
                <a:gd name="connsiteX19" fmla="*/ 94346 w 476250"/>
                <a:gd name="connsiteY19" fmla="*/ 101765 h 476250"/>
                <a:gd name="connsiteX20" fmla="*/ 105414 w 476250"/>
                <a:gd name="connsiteY20" fmla="*/ 109147 h 476250"/>
                <a:gd name="connsiteX21" fmla="*/ 116482 w 476250"/>
                <a:gd name="connsiteY21" fmla="*/ 109147 h 476250"/>
                <a:gd name="connsiteX22" fmla="*/ 123864 w 476250"/>
                <a:gd name="connsiteY22" fmla="*/ 112837 h 476250"/>
                <a:gd name="connsiteX23" fmla="*/ 120169 w 476250"/>
                <a:gd name="connsiteY23" fmla="*/ 123909 h 476250"/>
                <a:gd name="connsiteX24" fmla="*/ 120169 w 476250"/>
                <a:gd name="connsiteY24" fmla="*/ 134981 h 476250"/>
                <a:gd name="connsiteX25" fmla="*/ 120169 w 476250"/>
                <a:gd name="connsiteY25" fmla="*/ 138672 h 476250"/>
                <a:gd name="connsiteX26" fmla="*/ 127550 w 476250"/>
                <a:gd name="connsiteY26" fmla="*/ 149743 h 476250"/>
                <a:gd name="connsiteX27" fmla="*/ 142305 w 476250"/>
                <a:gd name="connsiteY27" fmla="*/ 171887 h 476250"/>
                <a:gd name="connsiteX28" fmla="*/ 146000 w 476250"/>
                <a:gd name="connsiteY28" fmla="*/ 179268 h 476250"/>
                <a:gd name="connsiteX29" fmla="*/ 149687 w 476250"/>
                <a:gd name="connsiteY29" fmla="*/ 186649 h 476250"/>
                <a:gd name="connsiteX30" fmla="*/ 153373 w 476250"/>
                <a:gd name="connsiteY30" fmla="*/ 190339 h 476250"/>
                <a:gd name="connsiteX31" fmla="*/ 142305 w 476250"/>
                <a:gd name="connsiteY31" fmla="*/ 208792 h 476250"/>
                <a:gd name="connsiteX32" fmla="*/ 142305 w 476250"/>
                <a:gd name="connsiteY32" fmla="*/ 212483 h 476250"/>
                <a:gd name="connsiteX33" fmla="*/ 138619 w 476250"/>
                <a:gd name="connsiteY33" fmla="*/ 216173 h 476250"/>
                <a:gd name="connsiteX34" fmla="*/ 134932 w 476250"/>
                <a:gd name="connsiteY34" fmla="*/ 219864 h 476250"/>
                <a:gd name="connsiteX35" fmla="*/ 123864 w 476250"/>
                <a:gd name="connsiteY35" fmla="*/ 230936 h 476250"/>
                <a:gd name="connsiteX36" fmla="*/ 109110 w 476250"/>
                <a:gd name="connsiteY36" fmla="*/ 242008 h 476250"/>
                <a:gd name="connsiteX37" fmla="*/ 94346 w 476250"/>
                <a:gd name="connsiteY37" fmla="*/ 227245 h 476250"/>
                <a:gd name="connsiteX38" fmla="*/ 83278 w 476250"/>
                <a:gd name="connsiteY38" fmla="*/ 227245 h 476250"/>
                <a:gd name="connsiteX39" fmla="*/ 72210 w 476250"/>
                <a:gd name="connsiteY39" fmla="*/ 223555 h 476250"/>
                <a:gd name="connsiteX40" fmla="*/ 64838 w 476250"/>
                <a:gd name="connsiteY40" fmla="*/ 227245 h 476250"/>
                <a:gd name="connsiteX41" fmla="*/ 64838 w 476250"/>
                <a:gd name="connsiteY41" fmla="*/ 230936 h 476250"/>
                <a:gd name="connsiteX42" fmla="*/ 64838 w 476250"/>
                <a:gd name="connsiteY42" fmla="*/ 234627 h 476250"/>
                <a:gd name="connsiteX43" fmla="*/ 57456 w 476250"/>
                <a:gd name="connsiteY43" fmla="*/ 238317 h 476250"/>
                <a:gd name="connsiteX44" fmla="*/ 46388 w 476250"/>
                <a:gd name="connsiteY44" fmla="*/ 253080 h 476250"/>
                <a:gd name="connsiteX45" fmla="*/ 42702 w 476250"/>
                <a:gd name="connsiteY45" fmla="*/ 256770 h 476250"/>
                <a:gd name="connsiteX46" fmla="*/ 39006 w 476250"/>
                <a:gd name="connsiteY46" fmla="*/ 260461 h 476250"/>
                <a:gd name="connsiteX47" fmla="*/ 24252 w 476250"/>
                <a:gd name="connsiteY47" fmla="*/ 267841 h 476250"/>
                <a:gd name="connsiteX48" fmla="*/ 16879 w 476250"/>
                <a:gd name="connsiteY48" fmla="*/ 275222 h 476250"/>
                <a:gd name="connsiteX49" fmla="*/ 5812 w 476250"/>
                <a:gd name="connsiteY49" fmla="*/ 282603 h 476250"/>
                <a:gd name="connsiteX50" fmla="*/ 9498 w 476250"/>
                <a:gd name="connsiteY50" fmla="*/ 289985 h 476250"/>
                <a:gd name="connsiteX51" fmla="*/ 9498 w 476250"/>
                <a:gd name="connsiteY51" fmla="*/ 293675 h 476250"/>
                <a:gd name="connsiteX52" fmla="*/ 20566 w 476250"/>
                <a:gd name="connsiteY52" fmla="*/ 304747 h 476250"/>
                <a:gd name="connsiteX53" fmla="*/ 24252 w 476250"/>
                <a:gd name="connsiteY53" fmla="*/ 308438 h 476250"/>
                <a:gd name="connsiteX54" fmla="*/ 31634 w 476250"/>
                <a:gd name="connsiteY54" fmla="*/ 315819 h 476250"/>
                <a:gd name="connsiteX55" fmla="*/ 35320 w 476250"/>
                <a:gd name="connsiteY55" fmla="*/ 319510 h 476250"/>
                <a:gd name="connsiteX56" fmla="*/ 39006 w 476250"/>
                <a:gd name="connsiteY56" fmla="*/ 323200 h 476250"/>
                <a:gd name="connsiteX57" fmla="*/ 42702 w 476250"/>
                <a:gd name="connsiteY57" fmla="*/ 330581 h 476250"/>
                <a:gd name="connsiteX58" fmla="*/ 46388 w 476250"/>
                <a:gd name="connsiteY58" fmla="*/ 330581 h 476250"/>
                <a:gd name="connsiteX59" fmla="*/ 42702 w 476250"/>
                <a:gd name="connsiteY59" fmla="*/ 337963 h 476250"/>
                <a:gd name="connsiteX60" fmla="*/ 39006 w 476250"/>
                <a:gd name="connsiteY60" fmla="*/ 341653 h 476250"/>
                <a:gd name="connsiteX61" fmla="*/ 31634 w 476250"/>
                <a:gd name="connsiteY61" fmla="*/ 349034 h 476250"/>
                <a:gd name="connsiteX62" fmla="*/ 31634 w 476250"/>
                <a:gd name="connsiteY62" fmla="*/ 352724 h 476250"/>
                <a:gd name="connsiteX63" fmla="*/ 27948 w 476250"/>
                <a:gd name="connsiteY63" fmla="*/ 352724 h 476250"/>
                <a:gd name="connsiteX64" fmla="*/ 24252 w 476250"/>
                <a:gd name="connsiteY64" fmla="*/ 356415 h 476250"/>
                <a:gd name="connsiteX65" fmla="*/ 13184 w 476250"/>
                <a:gd name="connsiteY65" fmla="*/ 360105 h 476250"/>
                <a:gd name="connsiteX66" fmla="*/ 9498 w 476250"/>
                <a:gd name="connsiteY66" fmla="*/ 363796 h 476250"/>
                <a:gd name="connsiteX67" fmla="*/ 5812 w 476250"/>
                <a:gd name="connsiteY67" fmla="*/ 363796 h 476250"/>
                <a:gd name="connsiteX68" fmla="*/ 5812 w 476250"/>
                <a:gd name="connsiteY68" fmla="*/ 367486 h 476250"/>
                <a:gd name="connsiteX69" fmla="*/ 9498 w 476250"/>
                <a:gd name="connsiteY69" fmla="*/ 374868 h 476250"/>
                <a:gd name="connsiteX70" fmla="*/ 13184 w 476250"/>
                <a:gd name="connsiteY70" fmla="*/ 382249 h 476250"/>
                <a:gd name="connsiteX71" fmla="*/ 16879 w 476250"/>
                <a:gd name="connsiteY71" fmla="*/ 389630 h 476250"/>
                <a:gd name="connsiteX72" fmla="*/ 16879 w 476250"/>
                <a:gd name="connsiteY72" fmla="*/ 393321 h 476250"/>
                <a:gd name="connsiteX73" fmla="*/ 16879 w 476250"/>
                <a:gd name="connsiteY73" fmla="*/ 397011 h 476250"/>
                <a:gd name="connsiteX74" fmla="*/ 24252 w 476250"/>
                <a:gd name="connsiteY74" fmla="*/ 408083 h 476250"/>
                <a:gd name="connsiteX75" fmla="*/ 24252 w 476250"/>
                <a:gd name="connsiteY75" fmla="*/ 411774 h 476250"/>
                <a:gd name="connsiteX76" fmla="*/ 31634 w 476250"/>
                <a:gd name="connsiteY76" fmla="*/ 415464 h 476250"/>
                <a:gd name="connsiteX77" fmla="*/ 31634 w 476250"/>
                <a:gd name="connsiteY77" fmla="*/ 419155 h 476250"/>
                <a:gd name="connsiteX78" fmla="*/ 27948 w 476250"/>
                <a:gd name="connsiteY78" fmla="*/ 422846 h 476250"/>
                <a:gd name="connsiteX79" fmla="*/ 39006 w 476250"/>
                <a:gd name="connsiteY79" fmla="*/ 426536 h 476250"/>
                <a:gd name="connsiteX80" fmla="*/ 35320 w 476250"/>
                <a:gd name="connsiteY80" fmla="*/ 422846 h 476250"/>
                <a:gd name="connsiteX81" fmla="*/ 39006 w 476250"/>
                <a:gd name="connsiteY81" fmla="*/ 419155 h 476250"/>
                <a:gd name="connsiteX82" fmla="*/ 39006 w 476250"/>
                <a:gd name="connsiteY82" fmla="*/ 422846 h 476250"/>
                <a:gd name="connsiteX83" fmla="*/ 42702 w 476250"/>
                <a:gd name="connsiteY83" fmla="*/ 426536 h 476250"/>
                <a:gd name="connsiteX84" fmla="*/ 42702 w 476250"/>
                <a:gd name="connsiteY84" fmla="*/ 422846 h 476250"/>
                <a:gd name="connsiteX85" fmla="*/ 46388 w 476250"/>
                <a:gd name="connsiteY85" fmla="*/ 419155 h 476250"/>
                <a:gd name="connsiteX86" fmla="*/ 50074 w 476250"/>
                <a:gd name="connsiteY86" fmla="*/ 419155 h 476250"/>
                <a:gd name="connsiteX87" fmla="*/ 53770 w 476250"/>
                <a:gd name="connsiteY87" fmla="*/ 419155 h 476250"/>
                <a:gd name="connsiteX88" fmla="*/ 57456 w 476250"/>
                <a:gd name="connsiteY88" fmla="*/ 419155 h 476250"/>
                <a:gd name="connsiteX89" fmla="*/ 57456 w 476250"/>
                <a:gd name="connsiteY89" fmla="*/ 422846 h 476250"/>
                <a:gd name="connsiteX90" fmla="*/ 61142 w 476250"/>
                <a:gd name="connsiteY90" fmla="*/ 422846 h 476250"/>
                <a:gd name="connsiteX91" fmla="*/ 64838 w 476250"/>
                <a:gd name="connsiteY91" fmla="*/ 422846 h 476250"/>
                <a:gd name="connsiteX92" fmla="*/ 68524 w 476250"/>
                <a:gd name="connsiteY92" fmla="*/ 422846 h 476250"/>
                <a:gd name="connsiteX93" fmla="*/ 68524 w 476250"/>
                <a:gd name="connsiteY93" fmla="*/ 426536 h 476250"/>
                <a:gd name="connsiteX94" fmla="*/ 72210 w 476250"/>
                <a:gd name="connsiteY94" fmla="*/ 430227 h 476250"/>
                <a:gd name="connsiteX95" fmla="*/ 75906 w 476250"/>
                <a:gd name="connsiteY95" fmla="*/ 430227 h 476250"/>
                <a:gd name="connsiteX96" fmla="*/ 75906 w 476250"/>
                <a:gd name="connsiteY96" fmla="*/ 433917 h 476250"/>
                <a:gd name="connsiteX97" fmla="*/ 79592 w 476250"/>
                <a:gd name="connsiteY97" fmla="*/ 433917 h 476250"/>
                <a:gd name="connsiteX98" fmla="*/ 83278 w 476250"/>
                <a:gd name="connsiteY98" fmla="*/ 433917 h 476250"/>
                <a:gd name="connsiteX99" fmla="*/ 83278 w 476250"/>
                <a:gd name="connsiteY99" fmla="*/ 430227 h 476250"/>
                <a:gd name="connsiteX100" fmla="*/ 86974 w 476250"/>
                <a:gd name="connsiteY100" fmla="*/ 430227 h 476250"/>
                <a:gd name="connsiteX101" fmla="*/ 86974 w 476250"/>
                <a:gd name="connsiteY101" fmla="*/ 433917 h 476250"/>
                <a:gd name="connsiteX102" fmla="*/ 90660 w 476250"/>
                <a:gd name="connsiteY102" fmla="*/ 433917 h 476250"/>
                <a:gd name="connsiteX103" fmla="*/ 94346 w 476250"/>
                <a:gd name="connsiteY103" fmla="*/ 433917 h 476250"/>
                <a:gd name="connsiteX104" fmla="*/ 98042 w 476250"/>
                <a:gd name="connsiteY104" fmla="*/ 433917 h 476250"/>
                <a:gd name="connsiteX105" fmla="*/ 101728 w 476250"/>
                <a:gd name="connsiteY105" fmla="*/ 430227 h 476250"/>
                <a:gd name="connsiteX106" fmla="*/ 105414 w 476250"/>
                <a:gd name="connsiteY106" fmla="*/ 430227 h 476250"/>
                <a:gd name="connsiteX107" fmla="*/ 109110 w 476250"/>
                <a:gd name="connsiteY107" fmla="*/ 430227 h 476250"/>
                <a:gd name="connsiteX108" fmla="*/ 109110 w 476250"/>
                <a:gd name="connsiteY108" fmla="*/ 433917 h 476250"/>
                <a:gd name="connsiteX109" fmla="*/ 105414 w 476250"/>
                <a:gd name="connsiteY109" fmla="*/ 433917 h 476250"/>
                <a:gd name="connsiteX110" fmla="*/ 105414 w 476250"/>
                <a:gd name="connsiteY110" fmla="*/ 437607 h 476250"/>
                <a:gd name="connsiteX111" fmla="*/ 109110 w 476250"/>
                <a:gd name="connsiteY111" fmla="*/ 437607 h 476250"/>
                <a:gd name="connsiteX112" fmla="*/ 109110 w 476250"/>
                <a:gd name="connsiteY112" fmla="*/ 441298 h 476250"/>
                <a:gd name="connsiteX113" fmla="*/ 112796 w 476250"/>
                <a:gd name="connsiteY113" fmla="*/ 444988 h 476250"/>
                <a:gd name="connsiteX114" fmla="*/ 116482 w 476250"/>
                <a:gd name="connsiteY114" fmla="*/ 444988 h 476250"/>
                <a:gd name="connsiteX115" fmla="*/ 120169 w 476250"/>
                <a:gd name="connsiteY115" fmla="*/ 448679 h 476250"/>
                <a:gd name="connsiteX116" fmla="*/ 123864 w 476250"/>
                <a:gd name="connsiteY116" fmla="*/ 448679 h 476250"/>
                <a:gd name="connsiteX117" fmla="*/ 123864 w 476250"/>
                <a:gd name="connsiteY117" fmla="*/ 452370 h 476250"/>
                <a:gd name="connsiteX118" fmla="*/ 123864 w 476250"/>
                <a:gd name="connsiteY118" fmla="*/ 456060 h 476250"/>
                <a:gd name="connsiteX119" fmla="*/ 127550 w 476250"/>
                <a:gd name="connsiteY119" fmla="*/ 456060 h 476250"/>
                <a:gd name="connsiteX120" fmla="*/ 127550 w 476250"/>
                <a:gd name="connsiteY120" fmla="*/ 459751 h 476250"/>
                <a:gd name="connsiteX121" fmla="*/ 131237 w 476250"/>
                <a:gd name="connsiteY121" fmla="*/ 463441 h 476250"/>
                <a:gd name="connsiteX122" fmla="*/ 131237 w 476250"/>
                <a:gd name="connsiteY122" fmla="*/ 470823 h 476250"/>
                <a:gd name="connsiteX123" fmla="*/ 134932 w 476250"/>
                <a:gd name="connsiteY123" fmla="*/ 474513 h 476250"/>
                <a:gd name="connsiteX124" fmla="*/ 138619 w 476250"/>
                <a:gd name="connsiteY124" fmla="*/ 474513 h 476250"/>
                <a:gd name="connsiteX125" fmla="*/ 138619 w 476250"/>
                <a:gd name="connsiteY125" fmla="*/ 470823 h 476250"/>
                <a:gd name="connsiteX126" fmla="*/ 142305 w 476250"/>
                <a:gd name="connsiteY126" fmla="*/ 470823 h 476250"/>
                <a:gd name="connsiteX127" fmla="*/ 146000 w 476250"/>
                <a:gd name="connsiteY127" fmla="*/ 470823 h 476250"/>
                <a:gd name="connsiteX128" fmla="*/ 146000 w 476250"/>
                <a:gd name="connsiteY128" fmla="*/ 467132 h 476250"/>
                <a:gd name="connsiteX129" fmla="*/ 149687 w 476250"/>
                <a:gd name="connsiteY129" fmla="*/ 467132 h 476250"/>
                <a:gd name="connsiteX130" fmla="*/ 149687 w 476250"/>
                <a:gd name="connsiteY130" fmla="*/ 470823 h 476250"/>
                <a:gd name="connsiteX131" fmla="*/ 153373 w 476250"/>
                <a:gd name="connsiteY131" fmla="*/ 470823 h 476250"/>
                <a:gd name="connsiteX132" fmla="*/ 153373 w 476250"/>
                <a:gd name="connsiteY132" fmla="*/ 467132 h 476250"/>
                <a:gd name="connsiteX133" fmla="*/ 157068 w 476250"/>
                <a:gd name="connsiteY133" fmla="*/ 463441 h 476250"/>
                <a:gd name="connsiteX134" fmla="*/ 160755 w 476250"/>
                <a:gd name="connsiteY134" fmla="*/ 463441 h 476250"/>
                <a:gd name="connsiteX135" fmla="*/ 160755 w 476250"/>
                <a:gd name="connsiteY135" fmla="*/ 467132 h 476250"/>
                <a:gd name="connsiteX136" fmla="*/ 160755 w 476250"/>
                <a:gd name="connsiteY136" fmla="*/ 470823 h 476250"/>
                <a:gd name="connsiteX137" fmla="*/ 164441 w 476250"/>
                <a:gd name="connsiteY137" fmla="*/ 470823 h 476250"/>
                <a:gd name="connsiteX138" fmla="*/ 168137 w 476250"/>
                <a:gd name="connsiteY138" fmla="*/ 474513 h 476250"/>
                <a:gd name="connsiteX139" fmla="*/ 171823 w 476250"/>
                <a:gd name="connsiteY139" fmla="*/ 470823 h 476250"/>
                <a:gd name="connsiteX140" fmla="*/ 175509 w 476250"/>
                <a:gd name="connsiteY140" fmla="*/ 467132 h 476250"/>
                <a:gd name="connsiteX141" fmla="*/ 175509 w 476250"/>
                <a:gd name="connsiteY141" fmla="*/ 463441 h 476250"/>
                <a:gd name="connsiteX142" fmla="*/ 179205 w 476250"/>
                <a:gd name="connsiteY142" fmla="*/ 467132 h 476250"/>
                <a:gd name="connsiteX143" fmla="*/ 182891 w 476250"/>
                <a:gd name="connsiteY143" fmla="*/ 470823 h 476250"/>
                <a:gd name="connsiteX144" fmla="*/ 190263 w 476250"/>
                <a:gd name="connsiteY144" fmla="*/ 470823 h 476250"/>
                <a:gd name="connsiteX145" fmla="*/ 193959 w 476250"/>
                <a:gd name="connsiteY145" fmla="*/ 470823 h 476250"/>
                <a:gd name="connsiteX146" fmla="*/ 197645 w 476250"/>
                <a:gd name="connsiteY146" fmla="*/ 474513 h 476250"/>
                <a:gd name="connsiteX147" fmla="*/ 201331 w 476250"/>
                <a:gd name="connsiteY147" fmla="*/ 474513 h 476250"/>
                <a:gd name="connsiteX148" fmla="*/ 201331 w 476250"/>
                <a:gd name="connsiteY148" fmla="*/ 470823 h 476250"/>
                <a:gd name="connsiteX149" fmla="*/ 197645 w 476250"/>
                <a:gd name="connsiteY149" fmla="*/ 448679 h 476250"/>
                <a:gd name="connsiteX150" fmla="*/ 205027 w 476250"/>
                <a:gd name="connsiteY150" fmla="*/ 441298 h 476250"/>
                <a:gd name="connsiteX151" fmla="*/ 212399 w 476250"/>
                <a:gd name="connsiteY151" fmla="*/ 433917 h 476250"/>
                <a:gd name="connsiteX152" fmla="*/ 216095 w 476250"/>
                <a:gd name="connsiteY152" fmla="*/ 430227 h 476250"/>
                <a:gd name="connsiteX153" fmla="*/ 230849 w 476250"/>
                <a:gd name="connsiteY153" fmla="*/ 430227 h 476250"/>
                <a:gd name="connsiteX154" fmla="*/ 241917 w 476250"/>
                <a:gd name="connsiteY154" fmla="*/ 426536 h 476250"/>
                <a:gd name="connsiteX155" fmla="*/ 245603 w 476250"/>
                <a:gd name="connsiteY155" fmla="*/ 426536 h 476250"/>
                <a:gd name="connsiteX156" fmla="*/ 245603 w 476250"/>
                <a:gd name="connsiteY156" fmla="*/ 422846 h 476250"/>
                <a:gd name="connsiteX157" fmla="*/ 252985 w 476250"/>
                <a:gd name="connsiteY157" fmla="*/ 426536 h 476250"/>
                <a:gd name="connsiteX158" fmla="*/ 260358 w 476250"/>
                <a:gd name="connsiteY158" fmla="*/ 430227 h 476250"/>
                <a:gd name="connsiteX159" fmla="*/ 267739 w 476250"/>
                <a:gd name="connsiteY159" fmla="*/ 433917 h 476250"/>
                <a:gd name="connsiteX160" fmla="*/ 282494 w 476250"/>
                <a:gd name="connsiteY160" fmla="*/ 441298 h 476250"/>
                <a:gd name="connsiteX161" fmla="*/ 289876 w 476250"/>
                <a:gd name="connsiteY161" fmla="*/ 441298 h 476250"/>
                <a:gd name="connsiteX162" fmla="*/ 293562 w 476250"/>
                <a:gd name="connsiteY162" fmla="*/ 444988 h 476250"/>
                <a:gd name="connsiteX163" fmla="*/ 289876 w 476250"/>
                <a:gd name="connsiteY163" fmla="*/ 448679 h 476250"/>
                <a:gd name="connsiteX164" fmla="*/ 289876 w 476250"/>
                <a:gd name="connsiteY164" fmla="*/ 452370 h 476250"/>
                <a:gd name="connsiteX165" fmla="*/ 289876 w 476250"/>
                <a:gd name="connsiteY165" fmla="*/ 456060 h 476250"/>
                <a:gd name="connsiteX166" fmla="*/ 289876 w 476250"/>
                <a:gd name="connsiteY166" fmla="*/ 459751 h 476250"/>
                <a:gd name="connsiteX167" fmla="*/ 293562 w 476250"/>
                <a:gd name="connsiteY167" fmla="*/ 459751 h 476250"/>
                <a:gd name="connsiteX168" fmla="*/ 297257 w 476250"/>
                <a:gd name="connsiteY168" fmla="*/ 456060 h 476250"/>
                <a:gd name="connsiteX169" fmla="*/ 300944 w 476250"/>
                <a:gd name="connsiteY169" fmla="*/ 456060 h 476250"/>
                <a:gd name="connsiteX170" fmla="*/ 304630 w 476250"/>
                <a:gd name="connsiteY170" fmla="*/ 452370 h 476250"/>
                <a:gd name="connsiteX171" fmla="*/ 308326 w 476250"/>
                <a:gd name="connsiteY171" fmla="*/ 444988 h 476250"/>
                <a:gd name="connsiteX172" fmla="*/ 315698 w 476250"/>
                <a:gd name="connsiteY172" fmla="*/ 444988 h 476250"/>
                <a:gd name="connsiteX173" fmla="*/ 319394 w 476250"/>
                <a:gd name="connsiteY173" fmla="*/ 444988 h 476250"/>
                <a:gd name="connsiteX174" fmla="*/ 323080 w 476250"/>
                <a:gd name="connsiteY174" fmla="*/ 441298 h 476250"/>
                <a:gd name="connsiteX175" fmla="*/ 326766 w 476250"/>
                <a:gd name="connsiteY175" fmla="*/ 441298 h 476250"/>
                <a:gd name="connsiteX176" fmla="*/ 330452 w 476250"/>
                <a:gd name="connsiteY176" fmla="*/ 441298 h 476250"/>
                <a:gd name="connsiteX177" fmla="*/ 334148 w 476250"/>
                <a:gd name="connsiteY177" fmla="*/ 441298 h 476250"/>
                <a:gd name="connsiteX178" fmla="*/ 337834 w 476250"/>
                <a:gd name="connsiteY178" fmla="*/ 441298 h 476250"/>
                <a:gd name="connsiteX179" fmla="*/ 341520 w 476250"/>
                <a:gd name="connsiteY179" fmla="*/ 441298 h 476250"/>
                <a:gd name="connsiteX180" fmla="*/ 345216 w 476250"/>
                <a:gd name="connsiteY180" fmla="*/ 444988 h 476250"/>
                <a:gd name="connsiteX181" fmla="*/ 348902 w 476250"/>
                <a:gd name="connsiteY181" fmla="*/ 441298 h 476250"/>
                <a:gd name="connsiteX182" fmla="*/ 352588 w 476250"/>
                <a:gd name="connsiteY182" fmla="*/ 441298 h 476250"/>
                <a:gd name="connsiteX183" fmla="*/ 359970 w 476250"/>
                <a:gd name="connsiteY183" fmla="*/ 441298 h 476250"/>
                <a:gd name="connsiteX184" fmla="*/ 367352 w 476250"/>
                <a:gd name="connsiteY184" fmla="*/ 441298 h 476250"/>
                <a:gd name="connsiteX185" fmla="*/ 371038 w 476250"/>
                <a:gd name="connsiteY185" fmla="*/ 437607 h 476250"/>
                <a:gd name="connsiteX186" fmla="*/ 374724 w 476250"/>
                <a:gd name="connsiteY186" fmla="*/ 441298 h 476250"/>
                <a:gd name="connsiteX187" fmla="*/ 382106 w 476250"/>
                <a:gd name="connsiteY187" fmla="*/ 441298 h 476250"/>
                <a:gd name="connsiteX188" fmla="*/ 385792 w 476250"/>
                <a:gd name="connsiteY188" fmla="*/ 441298 h 476250"/>
                <a:gd name="connsiteX189" fmla="*/ 393174 w 476250"/>
                <a:gd name="connsiteY189" fmla="*/ 444988 h 476250"/>
                <a:gd name="connsiteX190" fmla="*/ 393174 w 476250"/>
                <a:gd name="connsiteY190" fmla="*/ 448679 h 476250"/>
                <a:gd name="connsiteX191" fmla="*/ 396860 w 476250"/>
                <a:gd name="connsiteY191" fmla="*/ 448679 h 476250"/>
                <a:gd name="connsiteX192" fmla="*/ 404242 w 476250"/>
                <a:gd name="connsiteY192" fmla="*/ 448679 h 476250"/>
                <a:gd name="connsiteX193" fmla="*/ 407928 w 476250"/>
                <a:gd name="connsiteY193" fmla="*/ 448679 h 476250"/>
                <a:gd name="connsiteX194" fmla="*/ 411615 w 476250"/>
                <a:gd name="connsiteY194" fmla="*/ 448679 h 476250"/>
                <a:gd name="connsiteX195" fmla="*/ 418997 w 476250"/>
                <a:gd name="connsiteY195" fmla="*/ 448679 h 476250"/>
                <a:gd name="connsiteX196" fmla="*/ 422683 w 476250"/>
                <a:gd name="connsiteY196" fmla="*/ 444988 h 476250"/>
                <a:gd name="connsiteX197" fmla="*/ 426378 w 476250"/>
                <a:gd name="connsiteY197" fmla="*/ 444988 h 476250"/>
                <a:gd name="connsiteX198" fmla="*/ 430064 w 476250"/>
                <a:gd name="connsiteY198" fmla="*/ 448679 h 476250"/>
                <a:gd name="connsiteX199" fmla="*/ 433751 w 476250"/>
                <a:gd name="connsiteY199" fmla="*/ 444988 h 476250"/>
                <a:gd name="connsiteX200" fmla="*/ 433751 w 476250"/>
                <a:gd name="connsiteY200" fmla="*/ 448679 h 476250"/>
                <a:gd name="connsiteX201" fmla="*/ 437446 w 476250"/>
                <a:gd name="connsiteY201" fmla="*/ 448679 h 476250"/>
                <a:gd name="connsiteX202" fmla="*/ 448514 w 476250"/>
                <a:gd name="connsiteY202" fmla="*/ 452370 h 476250"/>
                <a:gd name="connsiteX203" fmla="*/ 452201 w 476250"/>
                <a:gd name="connsiteY203" fmla="*/ 452370 h 476250"/>
                <a:gd name="connsiteX204" fmla="*/ 459583 w 476250"/>
                <a:gd name="connsiteY204" fmla="*/ 444988 h 476250"/>
                <a:gd name="connsiteX205" fmla="*/ 459583 w 476250"/>
                <a:gd name="connsiteY205" fmla="*/ 441298 h 476250"/>
                <a:gd name="connsiteX206" fmla="*/ 459583 w 476250"/>
                <a:gd name="connsiteY206" fmla="*/ 433917 h 476250"/>
                <a:gd name="connsiteX207" fmla="*/ 459583 w 476250"/>
                <a:gd name="connsiteY207" fmla="*/ 419155 h 476250"/>
                <a:gd name="connsiteX208" fmla="*/ 463269 w 476250"/>
                <a:gd name="connsiteY208" fmla="*/ 382249 h 476250"/>
                <a:gd name="connsiteX209" fmla="*/ 463269 w 476250"/>
                <a:gd name="connsiteY209" fmla="*/ 334272 h 476250"/>
                <a:gd name="connsiteX210" fmla="*/ 463269 w 476250"/>
                <a:gd name="connsiteY210" fmla="*/ 312128 h 476250"/>
                <a:gd name="connsiteX211" fmla="*/ 474337 w 476250"/>
                <a:gd name="connsiteY211" fmla="*/ 289985 h 476250"/>
                <a:gd name="connsiteX212" fmla="*/ 463269 w 476250"/>
                <a:gd name="connsiteY212" fmla="*/ 289985 h 476250"/>
                <a:gd name="connsiteX213" fmla="*/ 463269 w 476250"/>
                <a:gd name="connsiteY213" fmla="*/ 282603 h 476250"/>
                <a:gd name="connsiteX214" fmla="*/ 459583 w 476250"/>
                <a:gd name="connsiteY214" fmla="*/ 278913 h 476250"/>
                <a:gd name="connsiteX215" fmla="*/ 452201 w 476250"/>
                <a:gd name="connsiteY215" fmla="*/ 267841 h 476250"/>
                <a:gd name="connsiteX216" fmla="*/ 448514 w 476250"/>
                <a:gd name="connsiteY216" fmla="*/ 267841 h 476250"/>
                <a:gd name="connsiteX217" fmla="*/ 448514 w 476250"/>
                <a:gd name="connsiteY217" fmla="*/ 264151 h 476250"/>
                <a:gd name="connsiteX218" fmla="*/ 437446 w 476250"/>
                <a:gd name="connsiteY218" fmla="*/ 264151 h 476250"/>
                <a:gd name="connsiteX219" fmla="*/ 437446 w 476250"/>
                <a:gd name="connsiteY219" fmla="*/ 260461 h 476250"/>
                <a:gd name="connsiteX220" fmla="*/ 444819 w 476250"/>
                <a:gd name="connsiteY220" fmla="*/ 238317 h 476250"/>
                <a:gd name="connsiteX221" fmla="*/ 448514 w 476250"/>
                <a:gd name="connsiteY221" fmla="*/ 234627 h 476250"/>
                <a:gd name="connsiteX222" fmla="*/ 448514 w 476250"/>
                <a:gd name="connsiteY222" fmla="*/ 227245 h 476250"/>
                <a:gd name="connsiteX223" fmla="*/ 441133 w 476250"/>
                <a:gd name="connsiteY223" fmla="*/ 227245 h 476250"/>
                <a:gd name="connsiteX224" fmla="*/ 437446 w 476250"/>
                <a:gd name="connsiteY224" fmla="*/ 223555 h 476250"/>
                <a:gd name="connsiteX225" fmla="*/ 433751 w 476250"/>
                <a:gd name="connsiteY225" fmla="*/ 219864 h 476250"/>
                <a:gd name="connsiteX226" fmla="*/ 430064 w 476250"/>
                <a:gd name="connsiteY226" fmla="*/ 212483 h 476250"/>
                <a:gd name="connsiteX227" fmla="*/ 422683 w 476250"/>
                <a:gd name="connsiteY227" fmla="*/ 201411 h 476250"/>
                <a:gd name="connsiteX228" fmla="*/ 418997 w 476250"/>
                <a:gd name="connsiteY228" fmla="*/ 201411 h 476250"/>
                <a:gd name="connsiteX229" fmla="*/ 418997 w 476250"/>
                <a:gd name="connsiteY229" fmla="*/ 197720 h 476250"/>
                <a:gd name="connsiteX230" fmla="*/ 415310 w 476250"/>
                <a:gd name="connsiteY230" fmla="*/ 197720 h 476250"/>
                <a:gd name="connsiteX231" fmla="*/ 411615 w 476250"/>
                <a:gd name="connsiteY231" fmla="*/ 190339 h 476250"/>
                <a:gd name="connsiteX232" fmla="*/ 407928 w 476250"/>
                <a:gd name="connsiteY232" fmla="*/ 182958 h 476250"/>
                <a:gd name="connsiteX233" fmla="*/ 404242 w 476250"/>
                <a:gd name="connsiteY233" fmla="*/ 179268 h 476250"/>
                <a:gd name="connsiteX234" fmla="*/ 400546 w 476250"/>
                <a:gd name="connsiteY234" fmla="*/ 175578 h 476250"/>
                <a:gd name="connsiteX235" fmla="*/ 400546 w 476250"/>
                <a:gd name="connsiteY235" fmla="*/ 171887 h 476250"/>
                <a:gd name="connsiteX236" fmla="*/ 396860 w 476250"/>
                <a:gd name="connsiteY236" fmla="*/ 168196 h 476250"/>
                <a:gd name="connsiteX237" fmla="*/ 389488 w 476250"/>
                <a:gd name="connsiteY237" fmla="*/ 160815 h 476250"/>
                <a:gd name="connsiteX238" fmla="*/ 382106 w 476250"/>
                <a:gd name="connsiteY238" fmla="*/ 153434 h 476250"/>
                <a:gd name="connsiteX239" fmla="*/ 378420 w 476250"/>
                <a:gd name="connsiteY239" fmla="*/ 149743 h 476250"/>
                <a:gd name="connsiteX240" fmla="*/ 359970 w 476250"/>
                <a:gd name="connsiteY240" fmla="*/ 131290 h 476250"/>
                <a:gd name="connsiteX241" fmla="*/ 348902 w 476250"/>
                <a:gd name="connsiteY241" fmla="*/ 120219 h 476250"/>
                <a:gd name="connsiteX242" fmla="*/ 337834 w 476250"/>
                <a:gd name="connsiteY242" fmla="*/ 109147 h 476250"/>
                <a:gd name="connsiteX243" fmla="*/ 337834 w 476250"/>
                <a:gd name="connsiteY243" fmla="*/ 105456 h 476250"/>
                <a:gd name="connsiteX244" fmla="*/ 323080 w 476250"/>
                <a:gd name="connsiteY244" fmla="*/ 94385 h 476250"/>
                <a:gd name="connsiteX245" fmla="*/ 319394 w 476250"/>
                <a:gd name="connsiteY245" fmla="*/ 87004 h 476250"/>
                <a:gd name="connsiteX246" fmla="*/ 304630 w 476250"/>
                <a:gd name="connsiteY246" fmla="*/ 75932 h 476250"/>
                <a:gd name="connsiteX247" fmla="*/ 304630 w 476250"/>
                <a:gd name="connsiteY247" fmla="*/ 72242 h 476250"/>
                <a:gd name="connsiteX248" fmla="*/ 300944 w 476250"/>
                <a:gd name="connsiteY248" fmla="*/ 72242 h 476250"/>
                <a:gd name="connsiteX249" fmla="*/ 297257 w 476250"/>
                <a:gd name="connsiteY249" fmla="*/ 68551 h 476250"/>
                <a:gd name="connsiteX250" fmla="*/ 293562 w 476250"/>
                <a:gd name="connsiteY250" fmla="*/ 68551 h 476250"/>
                <a:gd name="connsiteX251" fmla="*/ 289876 w 476250"/>
                <a:gd name="connsiteY251" fmla="*/ 68551 h 476250"/>
                <a:gd name="connsiteX252" fmla="*/ 278808 w 476250"/>
                <a:gd name="connsiteY252" fmla="*/ 68551 h 476250"/>
                <a:gd name="connsiteX253" fmla="*/ 271426 w 476250"/>
                <a:gd name="connsiteY253" fmla="*/ 72242 h 476250"/>
                <a:gd name="connsiteX254" fmla="*/ 267739 w 476250"/>
                <a:gd name="connsiteY254" fmla="*/ 72242 h 476250"/>
                <a:gd name="connsiteX255" fmla="*/ 249299 w 476250"/>
                <a:gd name="connsiteY255" fmla="*/ 79623 h 476250"/>
                <a:gd name="connsiteX256" fmla="*/ 249299 w 476250"/>
                <a:gd name="connsiteY256" fmla="*/ 75932 h 476250"/>
                <a:gd name="connsiteX257" fmla="*/ 245603 w 476250"/>
                <a:gd name="connsiteY257" fmla="*/ 72242 h 476250"/>
                <a:gd name="connsiteX258" fmla="*/ 249299 w 476250"/>
                <a:gd name="connsiteY258" fmla="*/ 68551 h 476250"/>
                <a:gd name="connsiteX259" fmla="*/ 245603 w 476250"/>
                <a:gd name="connsiteY259" fmla="*/ 68551 h 476250"/>
                <a:gd name="connsiteX260" fmla="*/ 245603 w 476250"/>
                <a:gd name="connsiteY260" fmla="*/ 64860 h 476250"/>
                <a:gd name="connsiteX261" fmla="*/ 241917 w 476250"/>
                <a:gd name="connsiteY261" fmla="*/ 61170 h 476250"/>
                <a:gd name="connsiteX262" fmla="*/ 238231 w 476250"/>
                <a:gd name="connsiteY262" fmla="*/ 57479 h 476250"/>
                <a:gd name="connsiteX263" fmla="*/ 234535 w 476250"/>
                <a:gd name="connsiteY263" fmla="*/ 53789 h 476250"/>
                <a:gd name="connsiteX264" fmla="*/ 234535 w 476250"/>
                <a:gd name="connsiteY264" fmla="*/ 50098 h 476250"/>
                <a:gd name="connsiteX265" fmla="*/ 227163 w 476250"/>
                <a:gd name="connsiteY265" fmla="*/ 50098 h 476250"/>
                <a:gd name="connsiteX266" fmla="*/ 227163 w 476250"/>
                <a:gd name="connsiteY266" fmla="*/ 46407 h 476250"/>
                <a:gd name="connsiteX267" fmla="*/ 223467 w 476250"/>
                <a:gd name="connsiteY267" fmla="*/ 42717 h 476250"/>
                <a:gd name="connsiteX268" fmla="*/ 223467 w 476250"/>
                <a:gd name="connsiteY268" fmla="*/ 39026 h 476250"/>
                <a:gd name="connsiteX269" fmla="*/ 223467 w 476250"/>
                <a:gd name="connsiteY269" fmla="*/ 35335 h 476250"/>
                <a:gd name="connsiteX270" fmla="*/ 216095 w 476250"/>
                <a:gd name="connsiteY270" fmla="*/ 39026 h 476250"/>
                <a:gd name="connsiteX271" fmla="*/ 212399 w 476250"/>
                <a:gd name="connsiteY271" fmla="*/ 35335 h 476250"/>
                <a:gd name="connsiteX272" fmla="*/ 212399 w 476250"/>
                <a:gd name="connsiteY272" fmla="*/ 31645 h 476250"/>
                <a:gd name="connsiteX273" fmla="*/ 208713 w 476250"/>
                <a:gd name="connsiteY273" fmla="*/ 20573 h 476250"/>
                <a:gd name="connsiteX274" fmla="*/ 205027 w 476250"/>
                <a:gd name="connsiteY274" fmla="*/ 24264 h 476250"/>
                <a:gd name="connsiteX275" fmla="*/ 201331 w 476250"/>
                <a:gd name="connsiteY275" fmla="*/ 20573 h 476250"/>
                <a:gd name="connsiteX276" fmla="*/ 197645 w 476250"/>
                <a:gd name="connsiteY276" fmla="*/ 9502 h 476250"/>
                <a:gd name="connsiteX277" fmla="*/ 190263 w 476250"/>
                <a:gd name="connsiteY277" fmla="*/ 9502 h 476250"/>
                <a:gd name="connsiteX278" fmla="*/ 186577 w 476250"/>
                <a:gd name="connsiteY278" fmla="*/ 5812 h 476250"/>
                <a:gd name="connsiteX279" fmla="*/ 182891 w 476250"/>
                <a:gd name="connsiteY279" fmla="*/ 9502 h 476250"/>
                <a:gd name="connsiteX280" fmla="*/ 179205 w 476250"/>
                <a:gd name="connsiteY280" fmla="*/ 5812 h 476250"/>
                <a:gd name="connsiteX281" fmla="*/ 175509 w 476250"/>
                <a:gd name="connsiteY281" fmla="*/ 5812 h 476250"/>
                <a:gd name="connsiteX282" fmla="*/ 168137 w 476250"/>
                <a:gd name="connsiteY282" fmla="*/ 5812 h 476250"/>
                <a:gd name="connsiteX283" fmla="*/ 463269 w 476250"/>
                <a:gd name="connsiteY283" fmla="*/ 282603 h 476250"/>
                <a:gd name="connsiteX284" fmla="*/ 466955 w 476250"/>
                <a:gd name="connsiteY284" fmla="*/ 282603 h 476250"/>
                <a:gd name="connsiteX285" fmla="*/ 466955 w 476250"/>
                <a:gd name="connsiteY285" fmla="*/ 278913 h 476250"/>
                <a:gd name="connsiteX286" fmla="*/ 463269 w 476250"/>
                <a:gd name="connsiteY286" fmla="*/ 282603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Lst>
              <a:rect l="l" t="t" r="r" b="b"/>
              <a:pathLst>
                <a:path w="476250" h="476250">
                  <a:moveTo>
                    <a:pt x="168137" y="5812"/>
                  </a:moveTo>
                  <a:lnTo>
                    <a:pt x="160755" y="9502"/>
                  </a:lnTo>
                  <a:lnTo>
                    <a:pt x="157068" y="13192"/>
                  </a:lnTo>
                  <a:lnTo>
                    <a:pt x="157068" y="16882"/>
                  </a:lnTo>
                  <a:lnTo>
                    <a:pt x="149687" y="20573"/>
                  </a:lnTo>
                  <a:lnTo>
                    <a:pt x="142305" y="24264"/>
                  </a:lnTo>
                  <a:lnTo>
                    <a:pt x="138619" y="27954"/>
                  </a:lnTo>
                  <a:lnTo>
                    <a:pt x="138619" y="31645"/>
                  </a:lnTo>
                  <a:lnTo>
                    <a:pt x="134932" y="35335"/>
                  </a:lnTo>
                  <a:lnTo>
                    <a:pt x="131237" y="42717"/>
                  </a:lnTo>
                  <a:lnTo>
                    <a:pt x="127550" y="46407"/>
                  </a:lnTo>
                  <a:lnTo>
                    <a:pt x="127550" y="50098"/>
                  </a:lnTo>
                  <a:lnTo>
                    <a:pt x="120169" y="68551"/>
                  </a:lnTo>
                  <a:lnTo>
                    <a:pt x="120169" y="72242"/>
                  </a:lnTo>
                  <a:lnTo>
                    <a:pt x="120169" y="83313"/>
                  </a:lnTo>
                  <a:lnTo>
                    <a:pt x="116482" y="83313"/>
                  </a:lnTo>
                  <a:lnTo>
                    <a:pt x="112796" y="98075"/>
                  </a:lnTo>
                  <a:lnTo>
                    <a:pt x="109110" y="98075"/>
                  </a:lnTo>
                  <a:lnTo>
                    <a:pt x="98042" y="94385"/>
                  </a:lnTo>
                  <a:lnTo>
                    <a:pt x="94346" y="101765"/>
                  </a:lnTo>
                  <a:lnTo>
                    <a:pt x="105414" y="109147"/>
                  </a:lnTo>
                  <a:lnTo>
                    <a:pt x="116482" y="109147"/>
                  </a:lnTo>
                  <a:lnTo>
                    <a:pt x="123864" y="112837"/>
                  </a:lnTo>
                  <a:lnTo>
                    <a:pt x="120169" y="123909"/>
                  </a:lnTo>
                  <a:lnTo>
                    <a:pt x="120169" y="134981"/>
                  </a:lnTo>
                  <a:lnTo>
                    <a:pt x="120169" y="138672"/>
                  </a:lnTo>
                  <a:lnTo>
                    <a:pt x="127550" y="149743"/>
                  </a:lnTo>
                  <a:lnTo>
                    <a:pt x="142305" y="171887"/>
                  </a:lnTo>
                  <a:lnTo>
                    <a:pt x="146000" y="179268"/>
                  </a:lnTo>
                  <a:lnTo>
                    <a:pt x="149687" y="186649"/>
                  </a:lnTo>
                  <a:lnTo>
                    <a:pt x="153373" y="190339"/>
                  </a:lnTo>
                  <a:lnTo>
                    <a:pt x="142305" y="208792"/>
                  </a:lnTo>
                  <a:lnTo>
                    <a:pt x="142305" y="212483"/>
                  </a:lnTo>
                  <a:lnTo>
                    <a:pt x="138619" y="216173"/>
                  </a:lnTo>
                  <a:lnTo>
                    <a:pt x="134932" y="219864"/>
                  </a:lnTo>
                  <a:lnTo>
                    <a:pt x="123864" y="230936"/>
                  </a:lnTo>
                  <a:lnTo>
                    <a:pt x="109110" y="242008"/>
                  </a:lnTo>
                  <a:lnTo>
                    <a:pt x="94346" y="227245"/>
                  </a:lnTo>
                  <a:lnTo>
                    <a:pt x="83278" y="227245"/>
                  </a:lnTo>
                  <a:lnTo>
                    <a:pt x="72210" y="223555"/>
                  </a:lnTo>
                  <a:lnTo>
                    <a:pt x="64838" y="227245"/>
                  </a:lnTo>
                  <a:lnTo>
                    <a:pt x="64838" y="230936"/>
                  </a:lnTo>
                  <a:lnTo>
                    <a:pt x="64838" y="234627"/>
                  </a:lnTo>
                  <a:lnTo>
                    <a:pt x="57456" y="238317"/>
                  </a:lnTo>
                  <a:lnTo>
                    <a:pt x="46388" y="253080"/>
                  </a:lnTo>
                  <a:lnTo>
                    <a:pt x="42702" y="256770"/>
                  </a:lnTo>
                  <a:lnTo>
                    <a:pt x="39006" y="260461"/>
                  </a:lnTo>
                  <a:lnTo>
                    <a:pt x="24252" y="267841"/>
                  </a:lnTo>
                  <a:lnTo>
                    <a:pt x="16879" y="275222"/>
                  </a:lnTo>
                  <a:lnTo>
                    <a:pt x="5812" y="282603"/>
                  </a:lnTo>
                  <a:lnTo>
                    <a:pt x="9498" y="289985"/>
                  </a:lnTo>
                  <a:lnTo>
                    <a:pt x="9498" y="293675"/>
                  </a:lnTo>
                  <a:lnTo>
                    <a:pt x="20566" y="304747"/>
                  </a:lnTo>
                  <a:lnTo>
                    <a:pt x="24252" y="308438"/>
                  </a:lnTo>
                  <a:lnTo>
                    <a:pt x="31634" y="315819"/>
                  </a:lnTo>
                  <a:lnTo>
                    <a:pt x="35320" y="319510"/>
                  </a:lnTo>
                  <a:lnTo>
                    <a:pt x="39006" y="323200"/>
                  </a:lnTo>
                  <a:lnTo>
                    <a:pt x="42702" y="330581"/>
                  </a:lnTo>
                  <a:lnTo>
                    <a:pt x="46388" y="330581"/>
                  </a:lnTo>
                  <a:lnTo>
                    <a:pt x="42702" y="337963"/>
                  </a:lnTo>
                  <a:lnTo>
                    <a:pt x="39006" y="341653"/>
                  </a:lnTo>
                  <a:lnTo>
                    <a:pt x="31634" y="349034"/>
                  </a:lnTo>
                  <a:lnTo>
                    <a:pt x="31634" y="352724"/>
                  </a:lnTo>
                  <a:lnTo>
                    <a:pt x="27948" y="352724"/>
                  </a:lnTo>
                  <a:lnTo>
                    <a:pt x="24252" y="356415"/>
                  </a:lnTo>
                  <a:lnTo>
                    <a:pt x="13184" y="360105"/>
                  </a:lnTo>
                  <a:lnTo>
                    <a:pt x="9498" y="363796"/>
                  </a:lnTo>
                  <a:lnTo>
                    <a:pt x="5812" y="363796"/>
                  </a:lnTo>
                  <a:lnTo>
                    <a:pt x="5812" y="367486"/>
                  </a:lnTo>
                  <a:lnTo>
                    <a:pt x="9498" y="374868"/>
                  </a:lnTo>
                  <a:lnTo>
                    <a:pt x="13184" y="382249"/>
                  </a:lnTo>
                  <a:lnTo>
                    <a:pt x="16879" y="389630"/>
                  </a:lnTo>
                  <a:lnTo>
                    <a:pt x="16879" y="393321"/>
                  </a:lnTo>
                  <a:lnTo>
                    <a:pt x="16879" y="397011"/>
                  </a:lnTo>
                  <a:lnTo>
                    <a:pt x="24252" y="408083"/>
                  </a:lnTo>
                  <a:lnTo>
                    <a:pt x="24252" y="411774"/>
                  </a:lnTo>
                  <a:lnTo>
                    <a:pt x="31634" y="415464"/>
                  </a:lnTo>
                  <a:lnTo>
                    <a:pt x="31634" y="419155"/>
                  </a:lnTo>
                  <a:lnTo>
                    <a:pt x="27948" y="422846"/>
                  </a:lnTo>
                  <a:lnTo>
                    <a:pt x="39006" y="426536"/>
                  </a:lnTo>
                  <a:lnTo>
                    <a:pt x="35320" y="422846"/>
                  </a:lnTo>
                  <a:lnTo>
                    <a:pt x="39006" y="419155"/>
                  </a:lnTo>
                  <a:lnTo>
                    <a:pt x="39006" y="422846"/>
                  </a:lnTo>
                  <a:lnTo>
                    <a:pt x="42702" y="426536"/>
                  </a:lnTo>
                  <a:lnTo>
                    <a:pt x="42702" y="422846"/>
                  </a:lnTo>
                  <a:lnTo>
                    <a:pt x="46388" y="419155"/>
                  </a:lnTo>
                  <a:lnTo>
                    <a:pt x="50074" y="419155"/>
                  </a:lnTo>
                  <a:lnTo>
                    <a:pt x="53770" y="419155"/>
                  </a:lnTo>
                  <a:lnTo>
                    <a:pt x="57456" y="419155"/>
                  </a:lnTo>
                  <a:lnTo>
                    <a:pt x="57456" y="422846"/>
                  </a:lnTo>
                  <a:lnTo>
                    <a:pt x="61142" y="422846"/>
                  </a:lnTo>
                  <a:lnTo>
                    <a:pt x="64838" y="422846"/>
                  </a:lnTo>
                  <a:lnTo>
                    <a:pt x="68524" y="422846"/>
                  </a:lnTo>
                  <a:lnTo>
                    <a:pt x="68524" y="426536"/>
                  </a:lnTo>
                  <a:lnTo>
                    <a:pt x="72210" y="430227"/>
                  </a:lnTo>
                  <a:lnTo>
                    <a:pt x="75906" y="430227"/>
                  </a:lnTo>
                  <a:lnTo>
                    <a:pt x="75906" y="433917"/>
                  </a:lnTo>
                  <a:lnTo>
                    <a:pt x="79592" y="433917"/>
                  </a:lnTo>
                  <a:lnTo>
                    <a:pt x="83278" y="433917"/>
                  </a:lnTo>
                  <a:lnTo>
                    <a:pt x="83278" y="430227"/>
                  </a:lnTo>
                  <a:lnTo>
                    <a:pt x="86974" y="430227"/>
                  </a:lnTo>
                  <a:lnTo>
                    <a:pt x="86974" y="433917"/>
                  </a:lnTo>
                  <a:lnTo>
                    <a:pt x="90660" y="433917"/>
                  </a:lnTo>
                  <a:lnTo>
                    <a:pt x="94346" y="433917"/>
                  </a:lnTo>
                  <a:lnTo>
                    <a:pt x="98042" y="433917"/>
                  </a:lnTo>
                  <a:lnTo>
                    <a:pt x="101728" y="430227"/>
                  </a:lnTo>
                  <a:lnTo>
                    <a:pt x="105414" y="430227"/>
                  </a:lnTo>
                  <a:lnTo>
                    <a:pt x="109110" y="430227"/>
                  </a:lnTo>
                  <a:lnTo>
                    <a:pt x="109110" y="433917"/>
                  </a:lnTo>
                  <a:lnTo>
                    <a:pt x="105414" y="433917"/>
                  </a:lnTo>
                  <a:lnTo>
                    <a:pt x="105414" y="437607"/>
                  </a:lnTo>
                  <a:lnTo>
                    <a:pt x="109110" y="437607"/>
                  </a:lnTo>
                  <a:lnTo>
                    <a:pt x="109110" y="441298"/>
                  </a:lnTo>
                  <a:lnTo>
                    <a:pt x="112796" y="444988"/>
                  </a:lnTo>
                  <a:lnTo>
                    <a:pt x="116482" y="444988"/>
                  </a:lnTo>
                  <a:lnTo>
                    <a:pt x="120169" y="448679"/>
                  </a:lnTo>
                  <a:lnTo>
                    <a:pt x="123864" y="448679"/>
                  </a:lnTo>
                  <a:lnTo>
                    <a:pt x="123864" y="452370"/>
                  </a:lnTo>
                  <a:lnTo>
                    <a:pt x="123864" y="456060"/>
                  </a:lnTo>
                  <a:lnTo>
                    <a:pt x="127550" y="456060"/>
                  </a:lnTo>
                  <a:lnTo>
                    <a:pt x="127550" y="459751"/>
                  </a:lnTo>
                  <a:lnTo>
                    <a:pt x="131237" y="463441"/>
                  </a:lnTo>
                  <a:lnTo>
                    <a:pt x="131237" y="470823"/>
                  </a:lnTo>
                  <a:lnTo>
                    <a:pt x="134932" y="474513"/>
                  </a:lnTo>
                  <a:lnTo>
                    <a:pt x="138619" y="474513"/>
                  </a:lnTo>
                  <a:lnTo>
                    <a:pt x="138619" y="470823"/>
                  </a:lnTo>
                  <a:lnTo>
                    <a:pt x="142305" y="470823"/>
                  </a:lnTo>
                  <a:lnTo>
                    <a:pt x="146000" y="470823"/>
                  </a:lnTo>
                  <a:lnTo>
                    <a:pt x="146000" y="467132"/>
                  </a:lnTo>
                  <a:lnTo>
                    <a:pt x="149687" y="467132"/>
                  </a:lnTo>
                  <a:lnTo>
                    <a:pt x="149687" y="470823"/>
                  </a:lnTo>
                  <a:lnTo>
                    <a:pt x="153373" y="470823"/>
                  </a:lnTo>
                  <a:lnTo>
                    <a:pt x="153373" y="467132"/>
                  </a:lnTo>
                  <a:lnTo>
                    <a:pt x="157068" y="463441"/>
                  </a:lnTo>
                  <a:lnTo>
                    <a:pt x="160755" y="463441"/>
                  </a:lnTo>
                  <a:lnTo>
                    <a:pt x="160755" y="467132"/>
                  </a:lnTo>
                  <a:lnTo>
                    <a:pt x="160755" y="470823"/>
                  </a:lnTo>
                  <a:lnTo>
                    <a:pt x="164441" y="470823"/>
                  </a:lnTo>
                  <a:lnTo>
                    <a:pt x="168137" y="474513"/>
                  </a:lnTo>
                  <a:lnTo>
                    <a:pt x="171823" y="470823"/>
                  </a:lnTo>
                  <a:lnTo>
                    <a:pt x="175509" y="467132"/>
                  </a:lnTo>
                  <a:lnTo>
                    <a:pt x="175509" y="463441"/>
                  </a:lnTo>
                  <a:lnTo>
                    <a:pt x="179205" y="467132"/>
                  </a:lnTo>
                  <a:lnTo>
                    <a:pt x="182891" y="470823"/>
                  </a:lnTo>
                  <a:lnTo>
                    <a:pt x="190263" y="470823"/>
                  </a:lnTo>
                  <a:lnTo>
                    <a:pt x="193959" y="470823"/>
                  </a:lnTo>
                  <a:lnTo>
                    <a:pt x="197645" y="474513"/>
                  </a:lnTo>
                  <a:lnTo>
                    <a:pt x="201331" y="474513"/>
                  </a:lnTo>
                  <a:lnTo>
                    <a:pt x="201331" y="470823"/>
                  </a:lnTo>
                  <a:lnTo>
                    <a:pt x="197645" y="448679"/>
                  </a:lnTo>
                  <a:lnTo>
                    <a:pt x="205027" y="441298"/>
                  </a:lnTo>
                  <a:lnTo>
                    <a:pt x="212399" y="433917"/>
                  </a:lnTo>
                  <a:lnTo>
                    <a:pt x="216095" y="430227"/>
                  </a:lnTo>
                  <a:lnTo>
                    <a:pt x="230849" y="430227"/>
                  </a:lnTo>
                  <a:lnTo>
                    <a:pt x="241917" y="426536"/>
                  </a:lnTo>
                  <a:lnTo>
                    <a:pt x="245603" y="426536"/>
                  </a:lnTo>
                  <a:lnTo>
                    <a:pt x="245603" y="422846"/>
                  </a:lnTo>
                  <a:lnTo>
                    <a:pt x="252985" y="426536"/>
                  </a:lnTo>
                  <a:lnTo>
                    <a:pt x="260358" y="430227"/>
                  </a:lnTo>
                  <a:lnTo>
                    <a:pt x="267739" y="433917"/>
                  </a:lnTo>
                  <a:lnTo>
                    <a:pt x="282494" y="441298"/>
                  </a:lnTo>
                  <a:lnTo>
                    <a:pt x="289876" y="441298"/>
                  </a:lnTo>
                  <a:lnTo>
                    <a:pt x="293562" y="444988"/>
                  </a:lnTo>
                  <a:lnTo>
                    <a:pt x="289876" y="448679"/>
                  </a:lnTo>
                  <a:lnTo>
                    <a:pt x="289876" y="452370"/>
                  </a:lnTo>
                  <a:lnTo>
                    <a:pt x="289876" y="456060"/>
                  </a:lnTo>
                  <a:lnTo>
                    <a:pt x="289876" y="459751"/>
                  </a:lnTo>
                  <a:lnTo>
                    <a:pt x="293562" y="459751"/>
                  </a:lnTo>
                  <a:lnTo>
                    <a:pt x="297257" y="456060"/>
                  </a:lnTo>
                  <a:lnTo>
                    <a:pt x="300944" y="456060"/>
                  </a:lnTo>
                  <a:lnTo>
                    <a:pt x="304630" y="452370"/>
                  </a:lnTo>
                  <a:lnTo>
                    <a:pt x="308326" y="444988"/>
                  </a:lnTo>
                  <a:lnTo>
                    <a:pt x="315698" y="444988"/>
                  </a:lnTo>
                  <a:lnTo>
                    <a:pt x="319394" y="444988"/>
                  </a:lnTo>
                  <a:lnTo>
                    <a:pt x="323080" y="441298"/>
                  </a:lnTo>
                  <a:lnTo>
                    <a:pt x="326766" y="441298"/>
                  </a:lnTo>
                  <a:lnTo>
                    <a:pt x="330452" y="441298"/>
                  </a:lnTo>
                  <a:lnTo>
                    <a:pt x="334148" y="441298"/>
                  </a:lnTo>
                  <a:lnTo>
                    <a:pt x="337834" y="441298"/>
                  </a:lnTo>
                  <a:lnTo>
                    <a:pt x="341520" y="441298"/>
                  </a:lnTo>
                  <a:lnTo>
                    <a:pt x="345216" y="444988"/>
                  </a:lnTo>
                  <a:lnTo>
                    <a:pt x="348902" y="441298"/>
                  </a:lnTo>
                  <a:lnTo>
                    <a:pt x="352588" y="441298"/>
                  </a:lnTo>
                  <a:lnTo>
                    <a:pt x="359970" y="441298"/>
                  </a:lnTo>
                  <a:lnTo>
                    <a:pt x="367352" y="441298"/>
                  </a:lnTo>
                  <a:lnTo>
                    <a:pt x="371038" y="437607"/>
                  </a:lnTo>
                  <a:lnTo>
                    <a:pt x="374724" y="441298"/>
                  </a:lnTo>
                  <a:lnTo>
                    <a:pt x="382106" y="441298"/>
                  </a:lnTo>
                  <a:lnTo>
                    <a:pt x="385792" y="441298"/>
                  </a:lnTo>
                  <a:lnTo>
                    <a:pt x="393174" y="444988"/>
                  </a:lnTo>
                  <a:lnTo>
                    <a:pt x="393174" y="448679"/>
                  </a:lnTo>
                  <a:lnTo>
                    <a:pt x="396860" y="448679"/>
                  </a:lnTo>
                  <a:lnTo>
                    <a:pt x="404242" y="448679"/>
                  </a:lnTo>
                  <a:lnTo>
                    <a:pt x="407928" y="448679"/>
                  </a:lnTo>
                  <a:lnTo>
                    <a:pt x="411615" y="448679"/>
                  </a:lnTo>
                  <a:lnTo>
                    <a:pt x="418997" y="448679"/>
                  </a:lnTo>
                  <a:lnTo>
                    <a:pt x="422683" y="444988"/>
                  </a:lnTo>
                  <a:lnTo>
                    <a:pt x="426378" y="444988"/>
                  </a:lnTo>
                  <a:lnTo>
                    <a:pt x="430064" y="448679"/>
                  </a:lnTo>
                  <a:lnTo>
                    <a:pt x="433751" y="444988"/>
                  </a:lnTo>
                  <a:lnTo>
                    <a:pt x="433751" y="448679"/>
                  </a:lnTo>
                  <a:lnTo>
                    <a:pt x="437446" y="448679"/>
                  </a:lnTo>
                  <a:lnTo>
                    <a:pt x="448514" y="452370"/>
                  </a:lnTo>
                  <a:lnTo>
                    <a:pt x="452201" y="452370"/>
                  </a:lnTo>
                  <a:lnTo>
                    <a:pt x="459583" y="444988"/>
                  </a:lnTo>
                  <a:lnTo>
                    <a:pt x="459583" y="441298"/>
                  </a:lnTo>
                  <a:lnTo>
                    <a:pt x="459583" y="433917"/>
                  </a:lnTo>
                  <a:lnTo>
                    <a:pt x="459583" y="419155"/>
                  </a:lnTo>
                  <a:lnTo>
                    <a:pt x="463269" y="382249"/>
                  </a:lnTo>
                  <a:lnTo>
                    <a:pt x="463269" y="334272"/>
                  </a:lnTo>
                  <a:lnTo>
                    <a:pt x="463269" y="312128"/>
                  </a:lnTo>
                  <a:lnTo>
                    <a:pt x="474337" y="289985"/>
                  </a:lnTo>
                  <a:lnTo>
                    <a:pt x="463269" y="289985"/>
                  </a:lnTo>
                  <a:lnTo>
                    <a:pt x="463269" y="282603"/>
                  </a:lnTo>
                  <a:lnTo>
                    <a:pt x="459583" y="278913"/>
                  </a:lnTo>
                  <a:lnTo>
                    <a:pt x="452201" y="267841"/>
                  </a:lnTo>
                  <a:lnTo>
                    <a:pt x="448514" y="267841"/>
                  </a:lnTo>
                  <a:lnTo>
                    <a:pt x="448514" y="264151"/>
                  </a:lnTo>
                  <a:lnTo>
                    <a:pt x="437446" y="264151"/>
                  </a:lnTo>
                  <a:lnTo>
                    <a:pt x="437446" y="260461"/>
                  </a:lnTo>
                  <a:lnTo>
                    <a:pt x="444819" y="238317"/>
                  </a:lnTo>
                  <a:lnTo>
                    <a:pt x="448514" y="234627"/>
                  </a:lnTo>
                  <a:lnTo>
                    <a:pt x="448514" y="227245"/>
                  </a:lnTo>
                  <a:lnTo>
                    <a:pt x="441133" y="227245"/>
                  </a:lnTo>
                  <a:lnTo>
                    <a:pt x="437446" y="223555"/>
                  </a:lnTo>
                  <a:lnTo>
                    <a:pt x="433751" y="219864"/>
                  </a:lnTo>
                  <a:lnTo>
                    <a:pt x="430064" y="212483"/>
                  </a:lnTo>
                  <a:lnTo>
                    <a:pt x="422683" y="201411"/>
                  </a:lnTo>
                  <a:lnTo>
                    <a:pt x="418997" y="201411"/>
                  </a:lnTo>
                  <a:lnTo>
                    <a:pt x="418997" y="197720"/>
                  </a:lnTo>
                  <a:lnTo>
                    <a:pt x="415310" y="197720"/>
                  </a:lnTo>
                  <a:lnTo>
                    <a:pt x="411615" y="190339"/>
                  </a:lnTo>
                  <a:lnTo>
                    <a:pt x="407928" y="182958"/>
                  </a:lnTo>
                  <a:lnTo>
                    <a:pt x="404242" y="179268"/>
                  </a:lnTo>
                  <a:lnTo>
                    <a:pt x="400546" y="175578"/>
                  </a:lnTo>
                  <a:lnTo>
                    <a:pt x="400546" y="171887"/>
                  </a:lnTo>
                  <a:lnTo>
                    <a:pt x="396860" y="168196"/>
                  </a:lnTo>
                  <a:lnTo>
                    <a:pt x="389488" y="160815"/>
                  </a:lnTo>
                  <a:lnTo>
                    <a:pt x="382106" y="153434"/>
                  </a:lnTo>
                  <a:lnTo>
                    <a:pt x="378420" y="149743"/>
                  </a:lnTo>
                  <a:lnTo>
                    <a:pt x="359970" y="131290"/>
                  </a:lnTo>
                  <a:lnTo>
                    <a:pt x="348902" y="120219"/>
                  </a:lnTo>
                  <a:lnTo>
                    <a:pt x="337834" y="109147"/>
                  </a:lnTo>
                  <a:lnTo>
                    <a:pt x="337834" y="105456"/>
                  </a:lnTo>
                  <a:lnTo>
                    <a:pt x="323080" y="94385"/>
                  </a:lnTo>
                  <a:lnTo>
                    <a:pt x="319394" y="87004"/>
                  </a:lnTo>
                  <a:lnTo>
                    <a:pt x="304630" y="75932"/>
                  </a:lnTo>
                  <a:lnTo>
                    <a:pt x="304630" y="72242"/>
                  </a:lnTo>
                  <a:lnTo>
                    <a:pt x="300944" y="72242"/>
                  </a:lnTo>
                  <a:lnTo>
                    <a:pt x="297257" y="68551"/>
                  </a:lnTo>
                  <a:lnTo>
                    <a:pt x="293562" y="68551"/>
                  </a:lnTo>
                  <a:lnTo>
                    <a:pt x="289876" y="68551"/>
                  </a:lnTo>
                  <a:lnTo>
                    <a:pt x="278808" y="68551"/>
                  </a:lnTo>
                  <a:lnTo>
                    <a:pt x="271426" y="72242"/>
                  </a:lnTo>
                  <a:lnTo>
                    <a:pt x="267739" y="72242"/>
                  </a:lnTo>
                  <a:lnTo>
                    <a:pt x="249299" y="79623"/>
                  </a:lnTo>
                  <a:lnTo>
                    <a:pt x="249299" y="75932"/>
                  </a:lnTo>
                  <a:lnTo>
                    <a:pt x="245603" y="72242"/>
                  </a:lnTo>
                  <a:lnTo>
                    <a:pt x="249299" y="68551"/>
                  </a:lnTo>
                  <a:lnTo>
                    <a:pt x="245603" y="68551"/>
                  </a:lnTo>
                  <a:lnTo>
                    <a:pt x="245603" y="64860"/>
                  </a:lnTo>
                  <a:lnTo>
                    <a:pt x="241917" y="61170"/>
                  </a:lnTo>
                  <a:lnTo>
                    <a:pt x="238231" y="57479"/>
                  </a:lnTo>
                  <a:lnTo>
                    <a:pt x="234535" y="53789"/>
                  </a:lnTo>
                  <a:lnTo>
                    <a:pt x="234535" y="50098"/>
                  </a:lnTo>
                  <a:lnTo>
                    <a:pt x="227163" y="50098"/>
                  </a:lnTo>
                  <a:lnTo>
                    <a:pt x="227163" y="46407"/>
                  </a:lnTo>
                  <a:lnTo>
                    <a:pt x="223467" y="42717"/>
                  </a:lnTo>
                  <a:lnTo>
                    <a:pt x="223467" y="39026"/>
                  </a:lnTo>
                  <a:lnTo>
                    <a:pt x="223467" y="35335"/>
                  </a:lnTo>
                  <a:lnTo>
                    <a:pt x="216095" y="39026"/>
                  </a:lnTo>
                  <a:lnTo>
                    <a:pt x="212399" y="35335"/>
                  </a:lnTo>
                  <a:lnTo>
                    <a:pt x="212399" y="31645"/>
                  </a:lnTo>
                  <a:lnTo>
                    <a:pt x="208713" y="20573"/>
                  </a:lnTo>
                  <a:lnTo>
                    <a:pt x="205027" y="24264"/>
                  </a:lnTo>
                  <a:lnTo>
                    <a:pt x="201331" y="20573"/>
                  </a:lnTo>
                  <a:lnTo>
                    <a:pt x="197645" y="9502"/>
                  </a:lnTo>
                  <a:lnTo>
                    <a:pt x="190263" y="9502"/>
                  </a:lnTo>
                  <a:lnTo>
                    <a:pt x="186577" y="5812"/>
                  </a:lnTo>
                  <a:lnTo>
                    <a:pt x="182891" y="9502"/>
                  </a:lnTo>
                  <a:lnTo>
                    <a:pt x="179205" y="5812"/>
                  </a:lnTo>
                  <a:lnTo>
                    <a:pt x="175509" y="5812"/>
                  </a:lnTo>
                  <a:lnTo>
                    <a:pt x="168137" y="5812"/>
                  </a:lnTo>
                  <a:close/>
                  <a:moveTo>
                    <a:pt x="463269" y="282603"/>
                  </a:moveTo>
                  <a:lnTo>
                    <a:pt x="466955" y="282603"/>
                  </a:lnTo>
                  <a:lnTo>
                    <a:pt x="466955" y="278913"/>
                  </a:lnTo>
                  <a:lnTo>
                    <a:pt x="463269" y="282603"/>
                  </a:lnTo>
                  <a:close/>
                </a:path>
              </a:pathLst>
            </a:custGeom>
            <a:solidFill>
              <a:srgbClr val="68ABB0"/>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59</a:t>
              </a:r>
            </a:p>
          </p:txBody>
        </p:sp>
        <p:sp>
          <p:nvSpPr>
            <p:cNvPr id="72" name="Freeform: Shape 71">
              <a:extLst>
                <a:ext uri="{FF2B5EF4-FFF2-40B4-BE49-F238E27FC236}">
                  <a16:creationId xmlns:a16="http://schemas.microsoft.com/office/drawing/2014/main" id="{461E1217-A1DB-4494-B3E1-BED21D10FC97}"/>
                </a:ext>
              </a:extLst>
            </p:cNvPr>
            <p:cNvSpPr/>
            <p:nvPr/>
          </p:nvSpPr>
          <p:spPr>
            <a:xfrm>
              <a:off x="2750491" y="3312712"/>
              <a:ext cx="1014597" cy="953106"/>
            </a:xfrm>
            <a:custGeom>
              <a:avLst/>
              <a:gdLst>
                <a:gd name="connsiteX0" fmla="*/ 160768 w 628650"/>
                <a:gd name="connsiteY0" fmla="*/ 5815 h 590550"/>
                <a:gd name="connsiteX1" fmla="*/ 149700 w 628650"/>
                <a:gd name="connsiteY1" fmla="*/ 13197 h 590550"/>
                <a:gd name="connsiteX2" fmla="*/ 146004 w 628650"/>
                <a:gd name="connsiteY2" fmla="*/ 16887 h 590550"/>
                <a:gd name="connsiteX3" fmla="*/ 142318 w 628650"/>
                <a:gd name="connsiteY3" fmla="*/ 20578 h 590550"/>
                <a:gd name="connsiteX4" fmla="*/ 131250 w 628650"/>
                <a:gd name="connsiteY4" fmla="*/ 20578 h 590550"/>
                <a:gd name="connsiteX5" fmla="*/ 127564 w 628650"/>
                <a:gd name="connsiteY5" fmla="*/ 20578 h 590550"/>
                <a:gd name="connsiteX6" fmla="*/ 131250 w 628650"/>
                <a:gd name="connsiteY6" fmla="*/ 27959 h 590550"/>
                <a:gd name="connsiteX7" fmla="*/ 131250 w 628650"/>
                <a:gd name="connsiteY7" fmla="*/ 31650 h 590550"/>
                <a:gd name="connsiteX8" fmla="*/ 127564 w 628650"/>
                <a:gd name="connsiteY8" fmla="*/ 31650 h 590550"/>
                <a:gd name="connsiteX9" fmla="*/ 123877 w 628650"/>
                <a:gd name="connsiteY9" fmla="*/ 35340 h 590550"/>
                <a:gd name="connsiteX10" fmla="*/ 116495 w 628650"/>
                <a:gd name="connsiteY10" fmla="*/ 39031 h 590550"/>
                <a:gd name="connsiteX11" fmla="*/ 116495 w 628650"/>
                <a:gd name="connsiteY11" fmla="*/ 31650 h 590550"/>
                <a:gd name="connsiteX12" fmla="*/ 105427 w 628650"/>
                <a:gd name="connsiteY12" fmla="*/ 35340 h 590550"/>
                <a:gd name="connsiteX13" fmla="*/ 101741 w 628650"/>
                <a:gd name="connsiteY13" fmla="*/ 39031 h 590550"/>
                <a:gd name="connsiteX14" fmla="*/ 101741 w 628650"/>
                <a:gd name="connsiteY14" fmla="*/ 35340 h 590550"/>
                <a:gd name="connsiteX15" fmla="*/ 98046 w 628650"/>
                <a:gd name="connsiteY15" fmla="*/ 35340 h 590550"/>
                <a:gd name="connsiteX16" fmla="*/ 94359 w 628650"/>
                <a:gd name="connsiteY16" fmla="*/ 31650 h 590550"/>
                <a:gd name="connsiteX17" fmla="*/ 90673 w 628650"/>
                <a:gd name="connsiteY17" fmla="*/ 24269 h 590550"/>
                <a:gd name="connsiteX18" fmla="*/ 90673 w 628650"/>
                <a:gd name="connsiteY18" fmla="*/ 16887 h 590550"/>
                <a:gd name="connsiteX19" fmla="*/ 83291 w 628650"/>
                <a:gd name="connsiteY19" fmla="*/ 20578 h 590550"/>
                <a:gd name="connsiteX20" fmla="*/ 83291 w 628650"/>
                <a:gd name="connsiteY20" fmla="*/ 24269 h 590550"/>
                <a:gd name="connsiteX21" fmla="*/ 75909 w 628650"/>
                <a:gd name="connsiteY21" fmla="*/ 20578 h 590550"/>
                <a:gd name="connsiteX22" fmla="*/ 75909 w 628650"/>
                <a:gd name="connsiteY22" fmla="*/ 24269 h 590550"/>
                <a:gd name="connsiteX23" fmla="*/ 68537 w 628650"/>
                <a:gd name="connsiteY23" fmla="*/ 24269 h 590550"/>
                <a:gd name="connsiteX24" fmla="*/ 64841 w 628650"/>
                <a:gd name="connsiteY24" fmla="*/ 27959 h 590550"/>
                <a:gd name="connsiteX25" fmla="*/ 64841 w 628650"/>
                <a:gd name="connsiteY25" fmla="*/ 31650 h 590550"/>
                <a:gd name="connsiteX26" fmla="*/ 61155 w 628650"/>
                <a:gd name="connsiteY26" fmla="*/ 35340 h 590550"/>
                <a:gd name="connsiteX27" fmla="*/ 61155 w 628650"/>
                <a:gd name="connsiteY27" fmla="*/ 39031 h 590550"/>
                <a:gd name="connsiteX28" fmla="*/ 57469 w 628650"/>
                <a:gd name="connsiteY28" fmla="*/ 42722 h 590550"/>
                <a:gd name="connsiteX29" fmla="*/ 53773 w 628650"/>
                <a:gd name="connsiteY29" fmla="*/ 42722 h 590550"/>
                <a:gd name="connsiteX30" fmla="*/ 53773 w 628650"/>
                <a:gd name="connsiteY30" fmla="*/ 46412 h 590550"/>
                <a:gd name="connsiteX31" fmla="*/ 50087 w 628650"/>
                <a:gd name="connsiteY31" fmla="*/ 46412 h 590550"/>
                <a:gd name="connsiteX32" fmla="*/ 46401 w 628650"/>
                <a:gd name="connsiteY32" fmla="*/ 50102 h 590550"/>
                <a:gd name="connsiteX33" fmla="*/ 42715 w 628650"/>
                <a:gd name="connsiteY33" fmla="*/ 50102 h 590550"/>
                <a:gd name="connsiteX34" fmla="*/ 39019 w 628650"/>
                <a:gd name="connsiteY34" fmla="*/ 50102 h 590550"/>
                <a:gd name="connsiteX35" fmla="*/ 35333 w 628650"/>
                <a:gd name="connsiteY35" fmla="*/ 50102 h 590550"/>
                <a:gd name="connsiteX36" fmla="*/ 31647 w 628650"/>
                <a:gd name="connsiteY36" fmla="*/ 46412 h 590550"/>
                <a:gd name="connsiteX37" fmla="*/ 27951 w 628650"/>
                <a:gd name="connsiteY37" fmla="*/ 46412 h 590550"/>
                <a:gd name="connsiteX38" fmla="*/ 24265 w 628650"/>
                <a:gd name="connsiteY38" fmla="*/ 46412 h 590550"/>
                <a:gd name="connsiteX39" fmla="*/ 24265 w 628650"/>
                <a:gd name="connsiteY39" fmla="*/ 42722 h 590550"/>
                <a:gd name="connsiteX40" fmla="*/ 20579 w 628650"/>
                <a:gd name="connsiteY40" fmla="*/ 42722 h 590550"/>
                <a:gd name="connsiteX41" fmla="*/ 16883 w 628650"/>
                <a:gd name="connsiteY41" fmla="*/ 42722 h 590550"/>
                <a:gd name="connsiteX42" fmla="*/ 16883 w 628650"/>
                <a:gd name="connsiteY42" fmla="*/ 39031 h 590550"/>
                <a:gd name="connsiteX43" fmla="*/ 13197 w 628650"/>
                <a:gd name="connsiteY43" fmla="*/ 39031 h 590550"/>
                <a:gd name="connsiteX44" fmla="*/ 5815 w 628650"/>
                <a:gd name="connsiteY44" fmla="*/ 46412 h 590550"/>
                <a:gd name="connsiteX45" fmla="*/ 9511 w 628650"/>
                <a:gd name="connsiteY45" fmla="*/ 53792 h 590550"/>
                <a:gd name="connsiteX46" fmla="*/ 13197 w 628650"/>
                <a:gd name="connsiteY46" fmla="*/ 57483 h 590550"/>
                <a:gd name="connsiteX47" fmla="*/ 16883 w 628650"/>
                <a:gd name="connsiteY47" fmla="*/ 61174 h 590550"/>
                <a:gd name="connsiteX48" fmla="*/ 16883 w 628650"/>
                <a:gd name="connsiteY48" fmla="*/ 64864 h 590550"/>
                <a:gd name="connsiteX49" fmla="*/ 24265 w 628650"/>
                <a:gd name="connsiteY49" fmla="*/ 64864 h 590550"/>
                <a:gd name="connsiteX50" fmla="*/ 31647 w 628650"/>
                <a:gd name="connsiteY50" fmla="*/ 64864 h 590550"/>
                <a:gd name="connsiteX51" fmla="*/ 35333 w 628650"/>
                <a:gd name="connsiteY51" fmla="*/ 68555 h 590550"/>
                <a:gd name="connsiteX52" fmla="*/ 46401 w 628650"/>
                <a:gd name="connsiteY52" fmla="*/ 72246 h 590550"/>
                <a:gd name="connsiteX53" fmla="*/ 50087 w 628650"/>
                <a:gd name="connsiteY53" fmla="*/ 79627 h 590550"/>
                <a:gd name="connsiteX54" fmla="*/ 53773 w 628650"/>
                <a:gd name="connsiteY54" fmla="*/ 83317 h 590550"/>
                <a:gd name="connsiteX55" fmla="*/ 57469 w 628650"/>
                <a:gd name="connsiteY55" fmla="*/ 83317 h 590550"/>
                <a:gd name="connsiteX56" fmla="*/ 64841 w 628650"/>
                <a:gd name="connsiteY56" fmla="*/ 90698 h 590550"/>
                <a:gd name="connsiteX57" fmla="*/ 68537 w 628650"/>
                <a:gd name="connsiteY57" fmla="*/ 101770 h 590550"/>
                <a:gd name="connsiteX58" fmla="*/ 75909 w 628650"/>
                <a:gd name="connsiteY58" fmla="*/ 116533 h 590550"/>
                <a:gd name="connsiteX59" fmla="*/ 75909 w 628650"/>
                <a:gd name="connsiteY59" fmla="*/ 120223 h 590550"/>
                <a:gd name="connsiteX60" fmla="*/ 79605 w 628650"/>
                <a:gd name="connsiteY60" fmla="*/ 120223 h 590550"/>
                <a:gd name="connsiteX61" fmla="*/ 83291 w 628650"/>
                <a:gd name="connsiteY61" fmla="*/ 123914 h 590550"/>
                <a:gd name="connsiteX62" fmla="*/ 83291 w 628650"/>
                <a:gd name="connsiteY62" fmla="*/ 127604 h 590550"/>
                <a:gd name="connsiteX63" fmla="*/ 86978 w 628650"/>
                <a:gd name="connsiteY63" fmla="*/ 131295 h 590550"/>
                <a:gd name="connsiteX64" fmla="*/ 86978 w 628650"/>
                <a:gd name="connsiteY64" fmla="*/ 134985 h 590550"/>
                <a:gd name="connsiteX65" fmla="*/ 86978 w 628650"/>
                <a:gd name="connsiteY65" fmla="*/ 138675 h 590550"/>
                <a:gd name="connsiteX66" fmla="*/ 79605 w 628650"/>
                <a:gd name="connsiteY66" fmla="*/ 142366 h 590550"/>
                <a:gd name="connsiteX67" fmla="*/ 75909 w 628650"/>
                <a:gd name="connsiteY67" fmla="*/ 146057 h 590550"/>
                <a:gd name="connsiteX68" fmla="*/ 72223 w 628650"/>
                <a:gd name="connsiteY68" fmla="*/ 149747 h 590550"/>
                <a:gd name="connsiteX69" fmla="*/ 72223 w 628650"/>
                <a:gd name="connsiteY69" fmla="*/ 153438 h 590550"/>
                <a:gd name="connsiteX70" fmla="*/ 72223 w 628650"/>
                <a:gd name="connsiteY70" fmla="*/ 157129 h 590550"/>
                <a:gd name="connsiteX71" fmla="*/ 75909 w 628650"/>
                <a:gd name="connsiteY71" fmla="*/ 157129 h 590550"/>
                <a:gd name="connsiteX72" fmla="*/ 75909 w 628650"/>
                <a:gd name="connsiteY72" fmla="*/ 153438 h 590550"/>
                <a:gd name="connsiteX73" fmla="*/ 83291 w 628650"/>
                <a:gd name="connsiteY73" fmla="*/ 157129 h 590550"/>
                <a:gd name="connsiteX74" fmla="*/ 86978 w 628650"/>
                <a:gd name="connsiteY74" fmla="*/ 157129 h 590550"/>
                <a:gd name="connsiteX75" fmla="*/ 94359 w 628650"/>
                <a:gd name="connsiteY75" fmla="*/ 160819 h 590550"/>
                <a:gd name="connsiteX76" fmla="*/ 98046 w 628650"/>
                <a:gd name="connsiteY76" fmla="*/ 164510 h 590550"/>
                <a:gd name="connsiteX77" fmla="*/ 101741 w 628650"/>
                <a:gd name="connsiteY77" fmla="*/ 168200 h 590550"/>
                <a:gd name="connsiteX78" fmla="*/ 109114 w 628650"/>
                <a:gd name="connsiteY78" fmla="*/ 168200 h 590550"/>
                <a:gd name="connsiteX79" fmla="*/ 112809 w 628650"/>
                <a:gd name="connsiteY79" fmla="*/ 175582 h 590550"/>
                <a:gd name="connsiteX80" fmla="*/ 109114 w 628650"/>
                <a:gd name="connsiteY80" fmla="*/ 179272 h 590550"/>
                <a:gd name="connsiteX81" fmla="*/ 98046 w 628650"/>
                <a:gd name="connsiteY81" fmla="*/ 186653 h 590550"/>
                <a:gd name="connsiteX82" fmla="*/ 94359 w 628650"/>
                <a:gd name="connsiteY82" fmla="*/ 186653 h 590550"/>
                <a:gd name="connsiteX83" fmla="*/ 83291 w 628650"/>
                <a:gd name="connsiteY83" fmla="*/ 190344 h 590550"/>
                <a:gd name="connsiteX84" fmla="*/ 83291 w 628650"/>
                <a:gd name="connsiteY84" fmla="*/ 194035 h 590550"/>
                <a:gd name="connsiteX85" fmla="*/ 75909 w 628650"/>
                <a:gd name="connsiteY85" fmla="*/ 197725 h 590550"/>
                <a:gd name="connsiteX86" fmla="*/ 72223 w 628650"/>
                <a:gd name="connsiteY86" fmla="*/ 197725 h 590550"/>
                <a:gd name="connsiteX87" fmla="*/ 64841 w 628650"/>
                <a:gd name="connsiteY87" fmla="*/ 201416 h 590550"/>
                <a:gd name="connsiteX88" fmla="*/ 61155 w 628650"/>
                <a:gd name="connsiteY88" fmla="*/ 197725 h 590550"/>
                <a:gd name="connsiteX89" fmla="*/ 57469 w 628650"/>
                <a:gd name="connsiteY89" fmla="*/ 194035 h 590550"/>
                <a:gd name="connsiteX90" fmla="*/ 27951 w 628650"/>
                <a:gd name="connsiteY90" fmla="*/ 201416 h 590550"/>
                <a:gd name="connsiteX91" fmla="*/ 24265 w 628650"/>
                <a:gd name="connsiteY91" fmla="*/ 205107 h 590550"/>
                <a:gd name="connsiteX92" fmla="*/ 24265 w 628650"/>
                <a:gd name="connsiteY92" fmla="*/ 212488 h 590550"/>
                <a:gd name="connsiteX93" fmla="*/ 24265 w 628650"/>
                <a:gd name="connsiteY93" fmla="*/ 216178 h 590550"/>
                <a:gd name="connsiteX94" fmla="*/ 24265 w 628650"/>
                <a:gd name="connsiteY94" fmla="*/ 219868 h 590550"/>
                <a:gd name="connsiteX95" fmla="*/ 27951 w 628650"/>
                <a:gd name="connsiteY95" fmla="*/ 223559 h 590550"/>
                <a:gd name="connsiteX96" fmla="*/ 27951 w 628650"/>
                <a:gd name="connsiteY96" fmla="*/ 227249 h 590550"/>
                <a:gd name="connsiteX97" fmla="*/ 13197 w 628650"/>
                <a:gd name="connsiteY97" fmla="*/ 223559 h 590550"/>
                <a:gd name="connsiteX98" fmla="*/ 16883 w 628650"/>
                <a:gd name="connsiteY98" fmla="*/ 227249 h 590550"/>
                <a:gd name="connsiteX99" fmla="*/ 20579 w 628650"/>
                <a:gd name="connsiteY99" fmla="*/ 227249 h 590550"/>
                <a:gd name="connsiteX100" fmla="*/ 24265 w 628650"/>
                <a:gd name="connsiteY100" fmla="*/ 227249 h 590550"/>
                <a:gd name="connsiteX101" fmla="*/ 24265 w 628650"/>
                <a:gd name="connsiteY101" fmla="*/ 230940 h 590550"/>
                <a:gd name="connsiteX102" fmla="*/ 27951 w 628650"/>
                <a:gd name="connsiteY102" fmla="*/ 234630 h 590550"/>
                <a:gd name="connsiteX103" fmla="*/ 27951 w 628650"/>
                <a:gd name="connsiteY103" fmla="*/ 238321 h 590550"/>
                <a:gd name="connsiteX104" fmla="*/ 27951 w 628650"/>
                <a:gd name="connsiteY104" fmla="*/ 242012 h 590550"/>
                <a:gd name="connsiteX105" fmla="*/ 31647 w 628650"/>
                <a:gd name="connsiteY105" fmla="*/ 245702 h 590550"/>
                <a:gd name="connsiteX106" fmla="*/ 35333 w 628650"/>
                <a:gd name="connsiteY106" fmla="*/ 249393 h 590550"/>
                <a:gd name="connsiteX107" fmla="*/ 35333 w 628650"/>
                <a:gd name="connsiteY107" fmla="*/ 253083 h 590550"/>
                <a:gd name="connsiteX108" fmla="*/ 35333 w 628650"/>
                <a:gd name="connsiteY108" fmla="*/ 256774 h 590550"/>
                <a:gd name="connsiteX109" fmla="*/ 39019 w 628650"/>
                <a:gd name="connsiteY109" fmla="*/ 260465 h 590550"/>
                <a:gd name="connsiteX110" fmla="*/ 39019 w 628650"/>
                <a:gd name="connsiteY110" fmla="*/ 267846 h 590550"/>
                <a:gd name="connsiteX111" fmla="*/ 39019 w 628650"/>
                <a:gd name="connsiteY111" fmla="*/ 275227 h 590550"/>
                <a:gd name="connsiteX112" fmla="*/ 46401 w 628650"/>
                <a:gd name="connsiteY112" fmla="*/ 271537 h 590550"/>
                <a:gd name="connsiteX113" fmla="*/ 50087 w 628650"/>
                <a:gd name="connsiteY113" fmla="*/ 275227 h 590550"/>
                <a:gd name="connsiteX114" fmla="*/ 57469 w 628650"/>
                <a:gd name="connsiteY114" fmla="*/ 286299 h 590550"/>
                <a:gd name="connsiteX115" fmla="*/ 61155 w 628650"/>
                <a:gd name="connsiteY115" fmla="*/ 293680 h 590550"/>
                <a:gd name="connsiteX116" fmla="*/ 68537 w 628650"/>
                <a:gd name="connsiteY116" fmla="*/ 304751 h 590550"/>
                <a:gd name="connsiteX117" fmla="*/ 68537 w 628650"/>
                <a:gd name="connsiteY117" fmla="*/ 312132 h 590550"/>
                <a:gd name="connsiteX118" fmla="*/ 75909 w 628650"/>
                <a:gd name="connsiteY118" fmla="*/ 308442 h 590550"/>
                <a:gd name="connsiteX119" fmla="*/ 79605 w 628650"/>
                <a:gd name="connsiteY119" fmla="*/ 304751 h 590550"/>
                <a:gd name="connsiteX120" fmla="*/ 83291 w 628650"/>
                <a:gd name="connsiteY120" fmla="*/ 301060 h 590550"/>
                <a:gd name="connsiteX121" fmla="*/ 83291 w 628650"/>
                <a:gd name="connsiteY121" fmla="*/ 304751 h 590550"/>
                <a:gd name="connsiteX122" fmla="*/ 86978 w 628650"/>
                <a:gd name="connsiteY122" fmla="*/ 308442 h 590550"/>
                <a:gd name="connsiteX123" fmla="*/ 90673 w 628650"/>
                <a:gd name="connsiteY123" fmla="*/ 304751 h 590550"/>
                <a:gd name="connsiteX124" fmla="*/ 98046 w 628650"/>
                <a:gd name="connsiteY124" fmla="*/ 297371 h 590550"/>
                <a:gd name="connsiteX125" fmla="*/ 105427 w 628650"/>
                <a:gd name="connsiteY125" fmla="*/ 289990 h 590550"/>
                <a:gd name="connsiteX126" fmla="*/ 109114 w 628650"/>
                <a:gd name="connsiteY126" fmla="*/ 286299 h 590550"/>
                <a:gd name="connsiteX127" fmla="*/ 112809 w 628650"/>
                <a:gd name="connsiteY127" fmla="*/ 286299 h 590550"/>
                <a:gd name="connsiteX128" fmla="*/ 116495 w 628650"/>
                <a:gd name="connsiteY128" fmla="*/ 286299 h 590550"/>
                <a:gd name="connsiteX129" fmla="*/ 120182 w 628650"/>
                <a:gd name="connsiteY129" fmla="*/ 282608 h 590550"/>
                <a:gd name="connsiteX130" fmla="*/ 123877 w 628650"/>
                <a:gd name="connsiteY130" fmla="*/ 286299 h 590550"/>
                <a:gd name="connsiteX131" fmla="*/ 127564 w 628650"/>
                <a:gd name="connsiteY131" fmla="*/ 286299 h 590550"/>
                <a:gd name="connsiteX132" fmla="*/ 131250 w 628650"/>
                <a:gd name="connsiteY132" fmla="*/ 289990 h 590550"/>
                <a:gd name="connsiteX133" fmla="*/ 134936 w 628650"/>
                <a:gd name="connsiteY133" fmla="*/ 293680 h 590550"/>
                <a:gd name="connsiteX134" fmla="*/ 134936 w 628650"/>
                <a:gd name="connsiteY134" fmla="*/ 297371 h 590550"/>
                <a:gd name="connsiteX135" fmla="*/ 134936 w 628650"/>
                <a:gd name="connsiteY135" fmla="*/ 301060 h 590550"/>
                <a:gd name="connsiteX136" fmla="*/ 138632 w 628650"/>
                <a:gd name="connsiteY136" fmla="*/ 304751 h 590550"/>
                <a:gd name="connsiteX137" fmla="*/ 149700 w 628650"/>
                <a:gd name="connsiteY137" fmla="*/ 308442 h 590550"/>
                <a:gd name="connsiteX138" fmla="*/ 153386 w 628650"/>
                <a:gd name="connsiteY138" fmla="*/ 312132 h 590550"/>
                <a:gd name="connsiteX139" fmla="*/ 153386 w 628650"/>
                <a:gd name="connsiteY139" fmla="*/ 315823 h 590550"/>
                <a:gd name="connsiteX140" fmla="*/ 157072 w 628650"/>
                <a:gd name="connsiteY140" fmla="*/ 326895 h 590550"/>
                <a:gd name="connsiteX141" fmla="*/ 157072 w 628650"/>
                <a:gd name="connsiteY141" fmla="*/ 334276 h 590550"/>
                <a:gd name="connsiteX142" fmla="*/ 160768 w 628650"/>
                <a:gd name="connsiteY142" fmla="*/ 337967 h 590550"/>
                <a:gd name="connsiteX143" fmla="*/ 164454 w 628650"/>
                <a:gd name="connsiteY143" fmla="*/ 341657 h 590550"/>
                <a:gd name="connsiteX144" fmla="*/ 164454 w 628650"/>
                <a:gd name="connsiteY144" fmla="*/ 349038 h 590550"/>
                <a:gd name="connsiteX145" fmla="*/ 160768 w 628650"/>
                <a:gd name="connsiteY145" fmla="*/ 352729 h 590550"/>
                <a:gd name="connsiteX146" fmla="*/ 160768 w 628650"/>
                <a:gd name="connsiteY146" fmla="*/ 356420 h 590550"/>
                <a:gd name="connsiteX147" fmla="*/ 160768 w 628650"/>
                <a:gd name="connsiteY147" fmla="*/ 363801 h 590550"/>
                <a:gd name="connsiteX148" fmla="*/ 164454 w 628650"/>
                <a:gd name="connsiteY148" fmla="*/ 367491 h 590550"/>
                <a:gd name="connsiteX149" fmla="*/ 168140 w 628650"/>
                <a:gd name="connsiteY149" fmla="*/ 367491 h 590550"/>
                <a:gd name="connsiteX150" fmla="*/ 168140 w 628650"/>
                <a:gd name="connsiteY150" fmla="*/ 371182 h 590550"/>
                <a:gd name="connsiteX151" fmla="*/ 168140 w 628650"/>
                <a:gd name="connsiteY151" fmla="*/ 374873 h 590550"/>
                <a:gd name="connsiteX152" fmla="*/ 168140 w 628650"/>
                <a:gd name="connsiteY152" fmla="*/ 382253 h 590550"/>
                <a:gd name="connsiteX153" fmla="*/ 164454 w 628650"/>
                <a:gd name="connsiteY153" fmla="*/ 382253 h 590550"/>
                <a:gd name="connsiteX154" fmla="*/ 164454 w 628650"/>
                <a:gd name="connsiteY154" fmla="*/ 385943 h 590550"/>
                <a:gd name="connsiteX155" fmla="*/ 160768 w 628650"/>
                <a:gd name="connsiteY155" fmla="*/ 385943 h 590550"/>
                <a:gd name="connsiteX156" fmla="*/ 153386 w 628650"/>
                <a:gd name="connsiteY156" fmla="*/ 389634 h 590550"/>
                <a:gd name="connsiteX157" fmla="*/ 146004 w 628650"/>
                <a:gd name="connsiteY157" fmla="*/ 389634 h 590550"/>
                <a:gd name="connsiteX158" fmla="*/ 146004 w 628650"/>
                <a:gd name="connsiteY158" fmla="*/ 393323 h 590550"/>
                <a:gd name="connsiteX159" fmla="*/ 142318 w 628650"/>
                <a:gd name="connsiteY159" fmla="*/ 393323 h 590550"/>
                <a:gd name="connsiteX160" fmla="*/ 142318 w 628650"/>
                <a:gd name="connsiteY160" fmla="*/ 397018 h 590550"/>
                <a:gd name="connsiteX161" fmla="*/ 146004 w 628650"/>
                <a:gd name="connsiteY161" fmla="*/ 400704 h 590550"/>
                <a:gd name="connsiteX162" fmla="*/ 149700 w 628650"/>
                <a:gd name="connsiteY162" fmla="*/ 400704 h 590550"/>
                <a:gd name="connsiteX163" fmla="*/ 153386 w 628650"/>
                <a:gd name="connsiteY163" fmla="*/ 404400 h 590550"/>
                <a:gd name="connsiteX164" fmla="*/ 149700 w 628650"/>
                <a:gd name="connsiteY164" fmla="*/ 404400 h 590550"/>
                <a:gd name="connsiteX165" fmla="*/ 146004 w 628650"/>
                <a:gd name="connsiteY165" fmla="*/ 408086 h 590550"/>
                <a:gd name="connsiteX166" fmla="*/ 142318 w 628650"/>
                <a:gd name="connsiteY166" fmla="*/ 408086 h 590550"/>
                <a:gd name="connsiteX167" fmla="*/ 142318 w 628650"/>
                <a:gd name="connsiteY167" fmla="*/ 415468 h 590550"/>
                <a:gd name="connsiteX168" fmla="*/ 142318 w 628650"/>
                <a:gd name="connsiteY168" fmla="*/ 422850 h 590550"/>
                <a:gd name="connsiteX169" fmla="*/ 142318 w 628650"/>
                <a:gd name="connsiteY169" fmla="*/ 430232 h 590550"/>
                <a:gd name="connsiteX170" fmla="*/ 138632 w 628650"/>
                <a:gd name="connsiteY170" fmla="*/ 430232 h 590550"/>
                <a:gd name="connsiteX171" fmla="*/ 138632 w 628650"/>
                <a:gd name="connsiteY171" fmla="*/ 433918 h 590550"/>
                <a:gd name="connsiteX172" fmla="*/ 142318 w 628650"/>
                <a:gd name="connsiteY172" fmla="*/ 433918 h 590550"/>
                <a:gd name="connsiteX173" fmla="*/ 146004 w 628650"/>
                <a:gd name="connsiteY173" fmla="*/ 433918 h 590550"/>
                <a:gd name="connsiteX174" fmla="*/ 146004 w 628650"/>
                <a:gd name="connsiteY174" fmla="*/ 437614 h 590550"/>
                <a:gd name="connsiteX175" fmla="*/ 146004 w 628650"/>
                <a:gd name="connsiteY175" fmla="*/ 448682 h 590550"/>
                <a:gd name="connsiteX176" fmla="*/ 149700 w 628650"/>
                <a:gd name="connsiteY176" fmla="*/ 448682 h 590550"/>
                <a:gd name="connsiteX177" fmla="*/ 153386 w 628650"/>
                <a:gd name="connsiteY177" fmla="*/ 448682 h 590550"/>
                <a:gd name="connsiteX178" fmla="*/ 157072 w 628650"/>
                <a:gd name="connsiteY178" fmla="*/ 448682 h 590550"/>
                <a:gd name="connsiteX179" fmla="*/ 157072 w 628650"/>
                <a:gd name="connsiteY179" fmla="*/ 452377 h 590550"/>
                <a:gd name="connsiteX180" fmla="*/ 157072 w 628650"/>
                <a:gd name="connsiteY180" fmla="*/ 456064 h 590550"/>
                <a:gd name="connsiteX181" fmla="*/ 160768 w 628650"/>
                <a:gd name="connsiteY181" fmla="*/ 456064 h 590550"/>
                <a:gd name="connsiteX182" fmla="*/ 160768 w 628650"/>
                <a:gd name="connsiteY182" fmla="*/ 467132 h 590550"/>
                <a:gd name="connsiteX183" fmla="*/ 164454 w 628650"/>
                <a:gd name="connsiteY183" fmla="*/ 470827 h 590550"/>
                <a:gd name="connsiteX184" fmla="*/ 168140 w 628650"/>
                <a:gd name="connsiteY184" fmla="*/ 474514 h 590550"/>
                <a:gd name="connsiteX185" fmla="*/ 168140 w 628650"/>
                <a:gd name="connsiteY185" fmla="*/ 478209 h 590550"/>
                <a:gd name="connsiteX186" fmla="*/ 168140 w 628650"/>
                <a:gd name="connsiteY186" fmla="*/ 481895 h 590550"/>
                <a:gd name="connsiteX187" fmla="*/ 168140 w 628650"/>
                <a:gd name="connsiteY187" fmla="*/ 485591 h 590550"/>
                <a:gd name="connsiteX188" fmla="*/ 171836 w 628650"/>
                <a:gd name="connsiteY188" fmla="*/ 489277 h 590550"/>
                <a:gd name="connsiteX189" fmla="*/ 175522 w 628650"/>
                <a:gd name="connsiteY189" fmla="*/ 489277 h 590550"/>
                <a:gd name="connsiteX190" fmla="*/ 179208 w 628650"/>
                <a:gd name="connsiteY190" fmla="*/ 489277 h 590550"/>
                <a:gd name="connsiteX191" fmla="*/ 182904 w 628650"/>
                <a:gd name="connsiteY191" fmla="*/ 489277 h 590550"/>
                <a:gd name="connsiteX192" fmla="*/ 182904 w 628650"/>
                <a:gd name="connsiteY192" fmla="*/ 492973 h 590550"/>
                <a:gd name="connsiteX193" fmla="*/ 179208 w 628650"/>
                <a:gd name="connsiteY193" fmla="*/ 492973 h 590550"/>
                <a:gd name="connsiteX194" fmla="*/ 175522 w 628650"/>
                <a:gd name="connsiteY194" fmla="*/ 496659 h 590550"/>
                <a:gd name="connsiteX195" fmla="*/ 175522 w 628650"/>
                <a:gd name="connsiteY195" fmla="*/ 500355 h 590550"/>
                <a:gd name="connsiteX196" fmla="*/ 179208 w 628650"/>
                <a:gd name="connsiteY196" fmla="*/ 507737 h 590550"/>
                <a:gd name="connsiteX197" fmla="*/ 182904 w 628650"/>
                <a:gd name="connsiteY197" fmla="*/ 507737 h 590550"/>
                <a:gd name="connsiteX198" fmla="*/ 186590 w 628650"/>
                <a:gd name="connsiteY198" fmla="*/ 507737 h 590550"/>
                <a:gd name="connsiteX199" fmla="*/ 186590 w 628650"/>
                <a:gd name="connsiteY199" fmla="*/ 504041 h 590550"/>
                <a:gd name="connsiteX200" fmla="*/ 193962 w 628650"/>
                <a:gd name="connsiteY200" fmla="*/ 500355 h 590550"/>
                <a:gd name="connsiteX201" fmla="*/ 197658 w 628650"/>
                <a:gd name="connsiteY201" fmla="*/ 500355 h 590550"/>
                <a:gd name="connsiteX202" fmla="*/ 197658 w 628650"/>
                <a:gd name="connsiteY202" fmla="*/ 504041 h 590550"/>
                <a:gd name="connsiteX203" fmla="*/ 205030 w 628650"/>
                <a:gd name="connsiteY203" fmla="*/ 504041 h 590550"/>
                <a:gd name="connsiteX204" fmla="*/ 208726 w 628650"/>
                <a:gd name="connsiteY204" fmla="*/ 504041 h 590550"/>
                <a:gd name="connsiteX205" fmla="*/ 212412 w 628650"/>
                <a:gd name="connsiteY205" fmla="*/ 507737 h 590550"/>
                <a:gd name="connsiteX206" fmla="*/ 212412 w 628650"/>
                <a:gd name="connsiteY206" fmla="*/ 504041 h 590550"/>
                <a:gd name="connsiteX207" fmla="*/ 216098 w 628650"/>
                <a:gd name="connsiteY207" fmla="*/ 504041 h 590550"/>
                <a:gd name="connsiteX208" fmla="*/ 219794 w 628650"/>
                <a:gd name="connsiteY208" fmla="*/ 504041 h 590550"/>
                <a:gd name="connsiteX209" fmla="*/ 223480 w 628650"/>
                <a:gd name="connsiteY209" fmla="*/ 504041 h 590550"/>
                <a:gd name="connsiteX210" fmla="*/ 230862 w 628650"/>
                <a:gd name="connsiteY210" fmla="*/ 504041 h 590550"/>
                <a:gd name="connsiteX211" fmla="*/ 234548 w 628650"/>
                <a:gd name="connsiteY211" fmla="*/ 504041 h 590550"/>
                <a:gd name="connsiteX212" fmla="*/ 238235 w 628650"/>
                <a:gd name="connsiteY212" fmla="*/ 507737 h 590550"/>
                <a:gd name="connsiteX213" fmla="*/ 241930 w 628650"/>
                <a:gd name="connsiteY213" fmla="*/ 504041 h 590550"/>
                <a:gd name="connsiteX214" fmla="*/ 245616 w 628650"/>
                <a:gd name="connsiteY214" fmla="*/ 504041 h 590550"/>
                <a:gd name="connsiteX215" fmla="*/ 249303 w 628650"/>
                <a:gd name="connsiteY215" fmla="*/ 504041 h 590550"/>
                <a:gd name="connsiteX216" fmla="*/ 252998 w 628650"/>
                <a:gd name="connsiteY216" fmla="*/ 504041 h 590550"/>
                <a:gd name="connsiteX217" fmla="*/ 252998 w 628650"/>
                <a:gd name="connsiteY217" fmla="*/ 507737 h 590550"/>
                <a:gd name="connsiteX218" fmla="*/ 264066 w 628650"/>
                <a:gd name="connsiteY218" fmla="*/ 507737 h 590550"/>
                <a:gd name="connsiteX219" fmla="*/ 264066 w 628650"/>
                <a:gd name="connsiteY219" fmla="*/ 504041 h 590550"/>
                <a:gd name="connsiteX220" fmla="*/ 271439 w 628650"/>
                <a:gd name="connsiteY220" fmla="*/ 504041 h 590550"/>
                <a:gd name="connsiteX221" fmla="*/ 271439 w 628650"/>
                <a:gd name="connsiteY221" fmla="*/ 496659 h 590550"/>
                <a:gd name="connsiteX222" fmla="*/ 275125 w 628650"/>
                <a:gd name="connsiteY222" fmla="*/ 496659 h 590550"/>
                <a:gd name="connsiteX223" fmla="*/ 278821 w 628650"/>
                <a:gd name="connsiteY223" fmla="*/ 492973 h 590550"/>
                <a:gd name="connsiteX224" fmla="*/ 286193 w 628650"/>
                <a:gd name="connsiteY224" fmla="*/ 492973 h 590550"/>
                <a:gd name="connsiteX225" fmla="*/ 289889 w 628650"/>
                <a:gd name="connsiteY225" fmla="*/ 492973 h 590550"/>
                <a:gd name="connsiteX226" fmla="*/ 293575 w 628650"/>
                <a:gd name="connsiteY226" fmla="*/ 489277 h 590550"/>
                <a:gd name="connsiteX227" fmla="*/ 293575 w 628650"/>
                <a:gd name="connsiteY227" fmla="*/ 492973 h 590550"/>
                <a:gd name="connsiteX228" fmla="*/ 297261 w 628650"/>
                <a:gd name="connsiteY228" fmla="*/ 492973 h 590550"/>
                <a:gd name="connsiteX229" fmla="*/ 300957 w 628650"/>
                <a:gd name="connsiteY229" fmla="*/ 492973 h 590550"/>
                <a:gd name="connsiteX230" fmla="*/ 308329 w 628650"/>
                <a:gd name="connsiteY230" fmla="*/ 492973 h 590550"/>
                <a:gd name="connsiteX231" fmla="*/ 312025 w 628650"/>
                <a:gd name="connsiteY231" fmla="*/ 492973 h 590550"/>
                <a:gd name="connsiteX232" fmla="*/ 312025 w 628650"/>
                <a:gd name="connsiteY232" fmla="*/ 496659 h 590550"/>
                <a:gd name="connsiteX233" fmla="*/ 312025 w 628650"/>
                <a:gd name="connsiteY233" fmla="*/ 500355 h 590550"/>
                <a:gd name="connsiteX234" fmla="*/ 315711 w 628650"/>
                <a:gd name="connsiteY234" fmla="*/ 507737 h 590550"/>
                <a:gd name="connsiteX235" fmla="*/ 326779 w 628650"/>
                <a:gd name="connsiteY235" fmla="*/ 515109 h 590550"/>
                <a:gd name="connsiteX236" fmla="*/ 326779 w 628650"/>
                <a:gd name="connsiteY236" fmla="*/ 522491 h 590550"/>
                <a:gd name="connsiteX237" fmla="*/ 330465 w 628650"/>
                <a:gd name="connsiteY237" fmla="*/ 522491 h 590550"/>
                <a:gd name="connsiteX238" fmla="*/ 330465 w 628650"/>
                <a:gd name="connsiteY238" fmla="*/ 526187 h 590550"/>
                <a:gd name="connsiteX239" fmla="*/ 337847 w 628650"/>
                <a:gd name="connsiteY239" fmla="*/ 526187 h 590550"/>
                <a:gd name="connsiteX240" fmla="*/ 337847 w 628650"/>
                <a:gd name="connsiteY240" fmla="*/ 533569 h 590550"/>
                <a:gd name="connsiteX241" fmla="*/ 341533 w 628650"/>
                <a:gd name="connsiteY241" fmla="*/ 537255 h 590550"/>
                <a:gd name="connsiteX242" fmla="*/ 341533 w 628650"/>
                <a:gd name="connsiteY242" fmla="*/ 540951 h 590550"/>
                <a:gd name="connsiteX243" fmla="*/ 345219 w 628650"/>
                <a:gd name="connsiteY243" fmla="*/ 540951 h 590550"/>
                <a:gd name="connsiteX244" fmla="*/ 348915 w 628650"/>
                <a:gd name="connsiteY244" fmla="*/ 544637 h 590550"/>
                <a:gd name="connsiteX245" fmla="*/ 356287 w 628650"/>
                <a:gd name="connsiteY245" fmla="*/ 540951 h 590550"/>
                <a:gd name="connsiteX246" fmla="*/ 359983 w 628650"/>
                <a:gd name="connsiteY246" fmla="*/ 540951 h 590550"/>
                <a:gd name="connsiteX247" fmla="*/ 378424 w 628650"/>
                <a:gd name="connsiteY247" fmla="*/ 544637 h 590550"/>
                <a:gd name="connsiteX248" fmla="*/ 393187 w 628650"/>
                <a:gd name="connsiteY248" fmla="*/ 540951 h 590550"/>
                <a:gd name="connsiteX249" fmla="*/ 396873 w 628650"/>
                <a:gd name="connsiteY249" fmla="*/ 540951 h 590550"/>
                <a:gd name="connsiteX250" fmla="*/ 404255 w 628650"/>
                <a:gd name="connsiteY250" fmla="*/ 544637 h 590550"/>
                <a:gd name="connsiteX251" fmla="*/ 400560 w 628650"/>
                <a:gd name="connsiteY251" fmla="*/ 548332 h 590550"/>
                <a:gd name="connsiteX252" fmla="*/ 404255 w 628650"/>
                <a:gd name="connsiteY252" fmla="*/ 552019 h 590550"/>
                <a:gd name="connsiteX253" fmla="*/ 407942 w 628650"/>
                <a:gd name="connsiteY253" fmla="*/ 555714 h 590550"/>
                <a:gd name="connsiteX254" fmla="*/ 407942 w 628650"/>
                <a:gd name="connsiteY254" fmla="*/ 552019 h 590550"/>
                <a:gd name="connsiteX255" fmla="*/ 411628 w 628650"/>
                <a:gd name="connsiteY255" fmla="*/ 548332 h 590550"/>
                <a:gd name="connsiteX256" fmla="*/ 415314 w 628650"/>
                <a:gd name="connsiteY256" fmla="*/ 544637 h 590550"/>
                <a:gd name="connsiteX257" fmla="*/ 419010 w 628650"/>
                <a:gd name="connsiteY257" fmla="*/ 548332 h 590550"/>
                <a:gd name="connsiteX258" fmla="*/ 419010 w 628650"/>
                <a:gd name="connsiteY258" fmla="*/ 552019 h 590550"/>
                <a:gd name="connsiteX259" fmla="*/ 422696 w 628650"/>
                <a:gd name="connsiteY259" fmla="*/ 544637 h 590550"/>
                <a:gd name="connsiteX260" fmla="*/ 426382 w 628650"/>
                <a:gd name="connsiteY260" fmla="*/ 544637 h 590550"/>
                <a:gd name="connsiteX261" fmla="*/ 437450 w 628650"/>
                <a:gd name="connsiteY261" fmla="*/ 552019 h 590550"/>
                <a:gd name="connsiteX262" fmla="*/ 437450 w 628650"/>
                <a:gd name="connsiteY262" fmla="*/ 555714 h 590550"/>
                <a:gd name="connsiteX263" fmla="*/ 437450 w 628650"/>
                <a:gd name="connsiteY263" fmla="*/ 559400 h 590550"/>
                <a:gd name="connsiteX264" fmla="*/ 437450 w 628650"/>
                <a:gd name="connsiteY264" fmla="*/ 570468 h 590550"/>
                <a:gd name="connsiteX265" fmla="*/ 430078 w 628650"/>
                <a:gd name="connsiteY265" fmla="*/ 581546 h 590550"/>
                <a:gd name="connsiteX266" fmla="*/ 437450 w 628650"/>
                <a:gd name="connsiteY266" fmla="*/ 581546 h 590550"/>
                <a:gd name="connsiteX267" fmla="*/ 441146 w 628650"/>
                <a:gd name="connsiteY267" fmla="*/ 581546 h 590550"/>
                <a:gd name="connsiteX268" fmla="*/ 448518 w 628650"/>
                <a:gd name="connsiteY268" fmla="*/ 585232 h 590550"/>
                <a:gd name="connsiteX269" fmla="*/ 455900 w 628650"/>
                <a:gd name="connsiteY269" fmla="*/ 588928 h 590550"/>
                <a:gd name="connsiteX270" fmla="*/ 459586 w 628650"/>
                <a:gd name="connsiteY270" fmla="*/ 588928 h 590550"/>
                <a:gd name="connsiteX271" fmla="*/ 481722 w 628650"/>
                <a:gd name="connsiteY271" fmla="*/ 588928 h 590550"/>
                <a:gd name="connsiteX272" fmla="*/ 511240 w 628650"/>
                <a:gd name="connsiteY272" fmla="*/ 588928 h 590550"/>
                <a:gd name="connsiteX273" fmla="*/ 522308 w 628650"/>
                <a:gd name="connsiteY273" fmla="*/ 588928 h 590550"/>
                <a:gd name="connsiteX274" fmla="*/ 525994 w 628650"/>
                <a:gd name="connsiteY274" fmla="*/ 585232 h 590550"/>
                <a:gd name="connsiteX275" fmla="*/ 529680 w 628650"/>
                <a:gd name="connsiteY275" fmla="*/ 581546 h 590550"/>
                <a:gd name="connsiteX276" fmla="*/ 533376 w 628650"/>
                <a:gd name="connsiteY276" fmla="*/ 577850 h 590550"/>
                <a:gd name="connsiteX277" fmla="*/ 533376 w 628650"/>
                <a:gd name="connsiteY277" fmla="*/ 574164 h 590550"/>
                <a:gd name="connsiteX278" fmla="*/ 537062 w 628650"/>
                <a:gd name="connsiteY278" fmla="*/ 555714 h 590550"/>
                <a:gd name="connsiteX279" fmla="*/ 540749 w 628650"/>
                <a:gd name="connsiteY279" fmla="*/ 555714 h 590550"/>
                <a:gd name="connsiteX280" fmla="*/ 540749 w 628650"/>
                <a:gd name="connsiteY280" fmla="*/ 552019 h 590550"/>
                <a:gd name="connsiteX281" fmla="*/ 551817 w 628650"/>
                <a:gd name="connsiteY281" fmla="*/ 544637 h 590550"/>
                <a:gd name="connsiteX282" fmla="*/ 551817 w 628650"/>
                <a:gd name="connsiteY282" fmla="*/ 540951 h 590550"/>
                <a:gd name="connsiteX283" fmla="*/ 562885 w 628650"/>
                <a:gd name="connsiteY283" fmla="*/ 537255 h 590550"/>
                <a:gd name="connsiteX284" fmla="*/ 573953 w 628650"/>
                <a:gd name="connsiteY284" fmla="*/ 537255 h 590550"/>
                <a:gd name="connsiteX285" fmla="*/ 577639 w 628650"/>
                <a:gd name="connsiteY285" fmla="*/ 529873 h 590550"/>
                <a:gd name="connsiteX286" fmla="*/ 577639 w 628650"/>
                <a:gd name="connsiteY286" fmla="*/ 526187 h 590550"/>
                <a:gd name="connsiteX287" fmla="*/ 581335 w 628650"/>
                <a:gd name="connsiteY287" fmla="*/ 522491 h 590550"/>
                <a:gd name="connsiteX288" fmla="*/ 581335 w 628650"/>
                <a:gd name="connsiteY288" fmla="*/ 518805 h 590550"/>
                <a:gd name="connsiteX289" fmla="*/ 585021 w 628650"/>
                <a:gd name="connsiteY289" fmla="*/ 515109 h 590550"/>
                <a:gd name="connsiteX290" fmla="*/ 585021 w 628650"/>
                <a:gd name="connsiteY290" fmla="*/ 511423 h 590550"/>
                <a:gd name="connsiteX291" fmla="*/ 585021 w 628650"/>
                <a:gd name="connsiteY291" fmla="*/ 507737 h 590550"/>
                <a:gd name="connsiteX292" fmla="*/ 585021 w 628650"/>
                <a:gd name="connsiteY292" fmla="*/ 504041 h 590550"/>
                <a:gd name="connsiteX293" fmla="*/ 588707 w 628650"/>
                <a:gd name="connsiteY293" fmla="*/ 500355 h 590550"/>
                <a:gd name="connsiteX294" fmla="*/ 596089 w 628650"/>
                <a:gd name="connsiteY294" fmla="*/ 496659 h 590550"/>
                <a:gd name="connsiteX295" fmla="*/ 599775 w 628650"/>
                <a:gd name="connsiteY295" fmla="*/ 500355 h 590550"/>
                <a:gd name="connsiteX296" fmla="*/ 603471 w 628650"/>
                <a:gd name="connsiteY296" fmla="*/ 500355 h 590550"/>
                <a:gd name="connsiteX297" fmla="*/ 607157 w 628650"/>
                <a:gd name="connsiteY297" fmla="*/ 500355 h 590550"/>
                <a:gd name="connsiteX298" fmla="*/ 614539 w 628650"/>
                <a:gd name="connsiteY298" fmla="*/ 500355 h 590550"/>
                <a:gd name="connsiteX299" fmla="*/ 625597 w 628650"/>
                <a:gd name="connsiteY299" fmla="*/ 492973 h 590550"/>
                <a:gd name="connsiteX300" fmla="*/ 625597 w 628650"/>
                <a:gd name="connsiteY300" fmla="*/ 489277 h 590550"/>
                <a:gd name="connsiteX301" fmla="*/ 614539 w 628650"/>
                <a:gd name="connsiteY301" fmla="*/ 474514 h 590550"/>
                <a:gd name="connsiteX302" fmla="*/ 610843 w 628650"/>
                <a:gd name="connsiteY302" fmla="*/ 470827 h 590550"/>
                <a:gd name="connsiteX303" fmla="*/ 610843 w 628650"/>
                <a:gd name="connsiteY303" fmla="*/ 463446 h 590550"/>
                <a:gd name="connsiteX304" fmla="*/ 607157 w 628650"/>
                <a:gd name="connsiteY304" fmla="*/ 463446 h 590550"/>
                <a:gd name="connsiteX305" fmla="*/ 607157 w 628650"/>
                <a:gd name="connsiteY305" fmla="*/ 459759 h 590550"/>
                <a:gd name="connsiteX306" fmla="*/ 607157 w 628650"/>
                <a:gd name="connsiteY306" fmla="*/ 456064 h 590550"/>
                <a:gd name="connsiteX307" fmla="*/ 607157 w 628650"/>
                <a:gd name="connsiteY307" fmla="*/ 452377 h 590550"/>
                <a:gd name="connsiteX308" fmla="*/ 607157 w 628650"/>
                <a:gd name="connsiteY308" fmla="*/ 448682 h 590550"/>
                <a:gd name="connsiteX309" fmla="*/ 610843 w 628650"/>
                <a:gd name="connsiteY309" fmla="*/ 437614 h 590550"/>
                <a:gd name="connsiteX310" fmla="*/ 610843 w 628650"/>
                <a:gd name="connsiteY310" fmla="*/ 433918 h 590550"/>
                <a:gd name="connsiteX311" fmla="*/ 614539 w 628650"/>
                <a:gd name="connsiteY311" fmla="*/ 433918 h 590550"/>
                <a:gd name="connsiteX312" fmla="*/ 614539 w 628650"/>
                <a:gd name="connsiteY312" fmla="*/ 430232 h 590550"/>
                <a:gd name="connsiteX313" fmla="*/ 618225 w 628650"/>
                <a:gd name="connsiteY313" fmla="*/ 430232 h 590550"/>
                <a:gd name="connsiteX314" fmla="*/ 618225 w 628650"/>
                <a:gd name="connsiteY314" fmla="*/ 426536 h 590550"/>
                <a:gd name="connsiteX315" fmla="*/ 618225 w 628650"/>
                <a:gd name="connsiteY315" fmla="*/ 422850 h 590550"/>
                <a:gd name="connsiteX316" fmla="*/ 621911 w 628650"/>
                <a:gd name="connsiteY316" fmla="*/ 415468 h 590550"/>
                <a:gd name="connsiteX317" fmla="*/ 621911 w 628650"/>
                <a:gd name="connsiteY317" fmla="*/ 411782 h 590550"/>
                <a:gd name="connsiteX318" fmla="*/ 629293 w 628650"/>
                <a:gd name="connsiteY318" fmla="*/ 400704 h 590550"/>
                <a:gd name="connsiteX319" fmla="*/ 629293 w 628650"/>
                <a:gd name="connsiteY319" fmla="*/ 382253 h 590550"/>
                <a:gd name="connsiteX320" fmla="*/ 621911 w 628650"/>
                <a:gd name="connsiteY320" fmla="*/ 367491 h 590550"/>
                <a:gd name="connsiteX321" fmla="*/ 621911 w 628650"/>
                <a:gd name="connsiteY321" fmla="*/ 363801 h 590550"/>
                <a:gd name="connsiteX322" fmla="*/ 621911 w 628650"/>
                <a:gd name="connsiteY322" fmla="*/ 360110 h 590550"/>
                <a:gd name="connsiteX323" fmla="*/ 618225 w 628650"/>
                <a:gd name="connsiteY323" fmla="*/ 360110 h 590550"/>
                <a:gd name="connsiteX324" fmla="*/ 614539 w 628650"/>
                <a:gd name="connsiteY324" fmla="*/ 360110 h 590550"/>
                <a:gd name="connsiteX325" fmla="*/ 610843 w 628650"/>
                <a:gd name="connsiteY325" fmla="*/ 360110 h 590550"/>
                <a:gd name="connsiteX326" fmla="*/ 607157 w 628650"/>
                <a:gd name="connsiteY326" fmla="*/ 352729 h 590550"/>
                <a:gd name="connsiteX327" fmla="*/ 603471 w 628650"/>
                <a:gd name="connsiteY327" fmla="*/ 345348 h 590550"/>
                <a:gd name="connsiteX328" fmla="*/ 596089 w 628650"/>
                <a:gd name="connsiteY328" fmla="*/ 337967 h 590550"/>
                <a:gd name="connsiteX329" fmla="*/ 596089 w 628650"/>
                <a:gd name="connsiteY329" fmla="*/ 334276 h 590550"/>
                <a:gd name="connsiteX330" fmla="*/ 592403 w 628650"/>
                <a:gd name="connsiteY330" fmla="*/ 326895 h 590550"/>
                <a:gd name="connsiteX331" fmla="*/ 592403 w 628650"/>
                <a:gd name="connsiteY331" fmla="*/ 319514 h 590550"/>
                <a:gd name="connsiteX332" fmla="*/ 588707 w 628650"/>
                <a:gd name="connsiteY332" fmla="*/ 312132 h 590550"/>
                <a:gd name="connsiteX333" fmla="*/ 588707 w 628650"/>
                <a:gd name="connsiteY333" fmla="*/ 308442 h 590550"/>
                <a:gd name="connsiteX334" fmla="*/ 585021 w 628650"/>
                <a:gd name="connsiteY334" fmla="*/ 308442 h 590550"/>
                <a:gd name="connsiteX335" fmla="*/ 581335 w 628650"/>
                <a:gd name="connsiteY335" fmla="*/ 308442 h 590550"/>
                <a:gd name="connsiteX336" fmla="*/ 577639 w 628650"/>
                <a:gd name="connsiteY336" fmla="*/ 315823 h 590550"/>
                <a:gd name="connsiteX337" fmla="*/ 573953 w 628650"/>
                <a:gd name="connsiteY337" fmla="*/ 326895 h 590550"/>
                <a:gd name="connsiteX338" fmla="*/ 566571 w 628650"/>
                <a:gd name="connsiteY338" fmla="*/ 330585 h 590550"/>
                <a:gd name="connsiteX339" fmla="*/ 566571 w 628650"/>
                <a:gd name="connsiteY339" fmla="*/ 334276 h 590550"/>
                <a:gd name="connsiteX340" fmla="*/ 562885 w 628650"/>
                <a:gd name="connsiteY340" fmla="*/ 334276 h 590550"/>
                <a:gd name="connsiteX341" fmla="*/ 544444 w 628650"/>
                <a:gd name="connsiteY341" fmla="*/ 330585 h 590550"/>
                <a:gd name="connsiteX342" fmla="*/ 537062 w 628650"/>
                <a:gd name="connsiteY342" fmla="*/ 326895 h 590550"/>
                <a:gd name="connsiteX343" fmla="*/ 525994 w 628650"/>
                <a:gd name="connsiteY343" fmla="*/ 323204 h 590550"/>
                <a:gd name="connsiteX344" fmla="*/ 518612 w 628650"/>
                <a:gd name="connsiteY344" fmla="*/ 323204 h 590550"/>
                <a:gd name="connsiteX345" fmla="*/ 522308 w 628650"/>
                <a:gd name="connsiteY345" fmla="*/ 315823 h 590550"/>
                <a:gd name="connsiteX346" fmla="*/ 514926 w 628650"/>
                <a:gd name="connsiteY346" fmla="*/ 315823 h 590550"/>
                <a:gd name="connsiteX347" fmla="*/ 503858 w 628650"/>
                <a:gd name="connsiteY347" fmla="*/ 315823 h 590550"/>
                <a:gd name="connsiteX348" fmla="*/ 481722 w 628650"/>
                <a:gd name="connsiteY348" fmla="*/ 315823 h 590550"/>
                <a:gd name="connsiteX349" fmla="*/ 474350 w 628650"/>
                <a:gd name="connsiteY349" fmla="*/ 315823 h 590550"/>
                <a:gd name="connsiteX350" fmla="*/ 470654 w 628650"/>
                <a:gd name="connsiteY350" fmla="*/ 312132 h 590550"/>
                <a:gd name="connsiteX351" fmla="*/ 455900 w 628650"/>
                <a:gd name="connsiteY351" fmla="*/ 304751 h 590550"/>
                <a:gd name="connsiteX352" fmla="*/ 452214 w 628650"/>
                <a:gd name="connsiteY352" fmla="*/ 301060 h 590550"/>
                <a:gd name="connsiteX353" fmla="*/ 444832 w 628650"/>
                <a:gd name="connsiteY353" fmla="*/ 297371 h 590550"/>
                <a:gd name="connsiteX354" fmla="*/ 448518 w 628650"/>
                <a:gd name="connsiteY354" fmla="*/ 267846 h 590550"/>
                <a:gd name="connsiteX355" fmla="*/ 441146 w 628650"/>
                <a:gd name="connsiteY355" fmla="*/ 256774 h 590550"/>
                <a:gd name="connsiteX356" fmla="*/ 433764 w 628650"/>
                <a:gd name="connsiteY356" fmla="*/ 242012 h 590550"/>
                <a:gd name="connsiteX357" fmla="*/ 437450 w 628650"/>
                <a:gd name="connsiteY357" fmla="*/ 242012 h 590550"/>
                <a:gd name="connsiteX358" fmla="*/ 444832 w 628650"/>
                <a:gd name="connsiteY358" fmla="*/ 245702 h 590550"/>
                <a:gd name="connsiteX359" fmla="*/ 452214 w 628650"/>
                <a:gd name="connsiteY359" fmla="*/ 245702 h 590550"/>
                <a:gd name="connsiteX360" fmla="*/ 455900 w 628650"/>
                <a:gd name="connsiteY360" fmla="*/ 234630 h 590550"/>
                <a:gd name="connsiteX361" fmla="*/ 463282 w 628650"/>
                <a:gd name="connsiteY361" fmla="*/ 234630 h 590550"/>
                <a:gd name="connsiteX362" fmla="*/ 470654 w 628650"/>
                <a:gd name="connsiteY362" fmla="*/ 238321 h 590550"/>
                <a:gd name="connsiteX363" fmla="*/ 474350 w 628650"/>
                <a:gd name="connsiteY363" fmla="*/ 234630 h 590550"/>
                <a:gd name="connsiteX364" fmla="*/ 452214 w 628650"/>
                <a:gd name="connsiteY364" fmla="*/ 216178 h 590550"/>
                <a:gd name="connsiteX365" fmla="*/ 452214 w 628650"/>
                <a:gd name="connsiteY365" fmla="*/ 208797 h 590550"/>
                <a:gd name="connsiteX366" fmla="*/ 455900 w 628650"/>
                <a:gd name="connsiteY366" fmla="*/ 194035 h 590550"/>
                <a:gd name="connsiteX367" fmla="*/ 455900 w 628650"/>
                <a:gd name="connsiteY367" fmla="*/ 190344 h 590550"/>
                <a:gd name="connsiteX368" fmla="*/ 452214 w 628650"/>
                <a:gd name="connsiteY368" fmla="*/ 186653 h 590550"/>
                <a:gd name="connsiteX369" fmla="*/ 448518 w 628650"/>
                <a:gd name="connsiteY369" fmla="*/ 182963 h 590550"/>
                <a:gd name="connsiteX370" fmla="*/ 444832 w 628650"/>
                <a:gd name="connsiteY370" fmla="*/ 182963 h 590550"/>
                <a:gd name="connsiteX371" fmla="*/ 444832 w 628650"/>
                <a:gd name="connsiteY371" fmla="*/ 179272 h 590550"/>
                <a:gd name="connsiteX372" fmla="*/ 444832 w 628650"/>
                <a:gd name="connsiteY372" fmla="*/ 175582 h 590550"/>
                <a:gd name="connsiteX373" fmla="*/ 444832 w 628650"/>
                <a:gd name="connsiteY373" fmla="*/ 171891 h 590550"/>
                <a:gd name="connsiteX374" fmla="*/ 448518 w 628650"/>
                <a:gd name="connsiteY374" fmla="*/ 168200 h 590550"/>
                <a:gd name="connsiteX375" fmla="*/ 444832 w 628650"/>
                <a:gd name="connsiteY375" fmla="*/ 164510 h 590550"/>
                <a:gd name="connsiteX376" fmla="*/ 437450 w 628650"/>
                <a:gd name="connsiteY376" fmla="*/ 164510 h 590550"/>
                <a:gd name="connsiteX377" fmla="*/ 422696 w 628650"/>
                <a:gd name="connsiteY377" fmla="*/ 157129 h 590550"/>
                <a:gd name="connsiteX378" fmla="*/ 415314 w 628650"/>
                <a:gd name="connsiteY378" fmla="*/ 153438 h 590550"/>
                <a:gd name="connsiteX379" fmla="*/ 407942 w 628650"/>
                <a:gd name="connsiteY379" fmla="*/ 149747 h 590550"/>
                <a:gd name="connsiteX380" fmla="*/ 400560 w 628650"/>
                <a:gd name="connsiteY380" fmla="*/ 146057 h 590550"/>
                <a:gd name="connsiteX381" fmla="*/ 400560 w 628650"/>
                <a:gd name="connsiteY381" fmla="*/ 149747 h 590550"/>
                <a:gd name="connsiteX382" fmla="*/ 396873 w 628650"/>
                <a:gd name="connsiteY382" fmla="*/ 149747 h 590550"/>
                <a:gd name="connsiteX383" fmla="*/ 385805 w 628650"/>
                <a:gd name="connsiteY383" fmla="*/ 153438 h 590550"/>
                <a:gd name="connsiteX384" fmla="*/ 371051 w 628650"/>
                <a:gd name="connsiteY384" fmla="*/ 153438 h 590550"/>
                <a:gd name="connsiteX385" fmla="*/ 367355 w 628650"/>
                <a:gd name="connsiteY385" fmla="*/ 157129 h 590550"/>
                <a:gd name="connsiteX386" fmla="*/ 359983 w 628650"/>
                <a:gd name="connsiteY386" fmla="*/ 164510 h 590550"/>
                <a:gd name="connsiteX387" fmla="*/ 352601 w 628650"/>
                <a:gd name="connsiteY387" fmla="*/ 171891 h 590550"/>
                <a:gd name="connsiteX388" fmla="*/ 356287 w 628650"/>
                <a:gd name="connsiteY388" fmla="*/ 194035 h 590550"/>
                <a:gd name="connsiteX389" fmla="*/ 356287 w 628650"/>
                <a:gd name="connsiteY389" fmla="*/ 197725 h 590550"/>
                <a:gd name="connsiteX390" fmla="*/ 352601 w 628650"/>
                <a:gd name="connsiteY390" fmla="*/ 197725 h 590550"/>
                <a:gd name="connsiteX391" fmla="*/ 348915 w 628650"/>
                <a:gd name="connsiteY391" fmla="*/ 194035 h 590550"/>
                <a:gd name="connsiteX392" fmla="*/ 345219 w 628650"/>
                <a:gd name="connsiteY392" fmla="*/ 194035 h 590550"/>
                <a:gd name="connsiteX393" fmla="*/ 337847 w 628650"/>
                <a:gd name="connsiteY393" fmla="*/ 194035 h 590550"/>
                <a:gd name="connsiteX394" fmla="*/ 334161 w 628650"/>
                <a:gd name="connsiteY394" fmla="*/ 190344 h 590550"/>
                <a:gd name="connsiteX395" fmla="*/ 330465 w 628650"/>
                <a:gd name="connsiteY395" fmla="*/ 186653 h 590550"/>
                <a:gd name="connsiteX396" fmla="*/ 330465 w 628650"/>
                <a:gd name="connsiteY396" fmla="*/ 190344 h 590550"/>
                <a:gd name="connsiteX397" fmla="*/ 326779 w 628650"/>
                <a:gd name="connsiteY397" fmla="*/ 194035 h 590550"/>
                <a:gd name="connsiteX398" fmla="*/ 323093 w 628650"/>
                <a:gd name="connsiteY398" fmla="*/ 197725 h 590550"/>
                <a:gd name="connsiteX399" fmla="*/ 319397 w 628650"/>
                <a:gd name="connsiteY399" fmla="*/ 194035 h 590550"/>
                <a:gd name="connsiteX400" fmla="*/ 315711 w 628650"/>
                <a:gd name="connsiteY400" fmla="*/ 194035 h 590550"/>
                <a:gd name="connsiteX401" fmla="*/ 315711 w 628650"/>
                <a:gd name="connsiteY401" fmla="*/ 190344 h 590550"/>
                <a:gd name="connsiteX402" fmla="*/ 315711 w 628650"/>
                <a:gd name="connsiteY402" fmla="*/ 186653 h 590550"/>
                <a:gd name="connsiteX403" fmla="*/ 312025 w 628650"/>
                <a:gd name="connsiteY403" fmla="*/ 186653 h 590550"/>
                <a:gd name="connsiteX404" fmla="*/ 308329 w 628650"/>
                <a:gd name="connsiteY404" fmla="*/ 190344 h 590550"/>
                <a:gd name="connsiteX405" fmla="*/ 308329 w 628650"/>
                <a:gd name="connsiteY405" fmla="*/ 194035 h 590550"/>
                <a:gd name="connsiteX406" fmla="*/ 304643 w 628650"/>
                <a:gd name="connsiteY406" fmla="*/ 194035 h 590550"/>
                <a:gd name="connsiteX407" fmla="*/ 304643 w 628650"/>
                <a:gd name="connsiteY407" fmla="*/ 190344 h 590550"/>
                <a:gd name="connsiteX408" fmla="*/ 300957 w 628650"/>
                <a:gd name="connsiteY408" fmla="*/ 190344 h 590550"/>
                <a:gd name="connsiteX409" fmla="*/ 300957 w 628650"/>
                <a:gd name="connsiteY409" fmla="*/ 194035 h 590550"/>
                <a:gd name="connsiteX410" fmla="*/ 297261 w 628650"/>
                <a:gd name="connsiteY410" fmla="*/ 194035 h 590550"/>
                <a:gd name="connsiteX411" fmla="*/ 293575 w 628650"/>
                <a:gd name="connsiteY411" fmla="*/ 194035 h 590550"/>
                <a:gd name="connsiteX412" fmla="*/ 293575 w 628650"/>
                <a:gd name="connsiteY412" fmla="*/ 197725 h 590550"/>
                <a:gd name="connsiteX413" fmla="*/ 289889 w 628650"/>
                <a:gd name="connsiteY413" fmla="*/ 197725 h 590550"/>
                <a:gd name="connsiteX414" fmla="*/ 286193 w 628650"/>
                <a:gd name="connsiteY414" fmla="*/ 194035 h 590550"/>
                <a:gd name="connsiteX415" fmla="*/ 286193 w 628650"/>
                <a:gd name="connsiteY415" fmla="*/ 186653 h 590550"/>
                <a:gd name="connsiteX416" fmla="*/ 282507 w 628650"/>
                <a:gd name="connsiteY416" fmla="*/ 182963 h 590550"/>
                <a:gd name="connsiteX417" fmla="*/ 282507 w 628650"/>
                <a:gd name="connsiteY417" fmla="*/ 179272 h 590550"/>
                <a:gd name="connsiteX418" fmla="*/ 278821 w 628650"/>
                <a:gd name="connsiteY418" fmla="*/ 179272 h 590550"/>
                <a:gd name="connsiteX419" fmla="*/ 278821 w 628650"/>
                <a:gd name="connsiteY419" fmla="*/ 175582 h 590550"/>
                <a:gd name="connsiteX420" fmla="*/ 278821 w 628650"/>
                <a:gd name="connsiteY420" fmla="*/ 171891 h 590550"/>
                <a:gd name="connsiteX421" fmla="*/ 275125 w 628650"/>
                <a:gd name="connsiteY421" fmla="*/ 171891 h 590550"/>
                <a:gd name="connsiteX422" fmla="*/ 271439 w 628650"/>
                <a:gd name="connsiteY422" fmla="*/ 168200 h 590550"/>
                <a:gd name="connsiteX423" fmla="*/ 267753 w 628650"/>
                <a:gd name="connsiteY423" fmla="*/ 168200 h 590550"/>
                <a:gd name="connsiteX424" fmla="*/ 264066 w 628650"/>
                <a:gd name="connsiteY424" fmla="*/ 164510 h 590550"/>
                <a:gd name="connsiteX425" fmla="*/ 264066 w 628650"/>
                <a:gd name="connsiteY425" fmla="*/ 160819 h 590550"/>
                <a:gd name="connsiteX426" fmla="*/ 260371 w 628650"/>
                <a:gd name="connsiteY426" fmla="*/ 160819 h 590550"/>
                <a:gd name="connsiteX427" fmla="*/ 260371 w 628650"/>
                <a:gd name="connsiteY427" fmla="*/ 157129 h 590550"/>
                <a:gd name="connsiteX428" fmla="*/ 264066 w 628650"/>
                <a:gd name="connsiteY428" fmla="*/ 157129 h 590550"/>
                <a:gd name="connsiteX429" fmla="*/ 264066 w 628650"/>
                <a:gd name="connsiteY429" fmla="*/ 153438 h 590550"/>
                <a:gd name="connsiteX430" fmla="*/ 260371 w 628650"/>
                <a:gd name="connsiteY430" fmla="*/ 153438 h 590550"/>
                <a:gd name="connsiteX431" fmla="*/ 256684 w 628650"/>
                <a:gd name="connsiteY431" fmla="*/ 153438 h 590550"/>
                <a:gd name="connsiteX432" fmla="*/ 252998 w 628650"/>
                <a:gd name="connsiteY432" fmla="*/ 157129 h 590550"/>
                <a:gd name="connsiteX433" fmla="*/ 249303 w 628650"/>
                <a:gd name="connsiteY433" fmla="*/ 157129 h 590550"/>
                <a:gd name="connsiteX434" fmla="*/ 245616 w 628650"/>
                <a:gd name="connsiteY434" fmla="*/ 157129 h 590550"/>
                <a:gd name="connsiteX435" fmla="*/ 241930 w 628650"/>
                <a:gd name="connsiteY435" fmla="*/ 157129 h 590550"/>
                <a:gd name="connsiteX436" fmla="*/ 241930 w 628650"/>
                <a:gd name="connsiteY436" fmla="*/ 153438 h 590550"/>
                <a:gd name="connsiteX437" fmla="*/ 238235 w 628650"/>
                <a:gd name="connsiteY437" fmla="*/ 153438 h 590550"/>
                <a:gd name="connsiteX438" fmla="*/ 238235 w 628650"/>
                <a:gd name="connsiteY438" fmla="*/ 157129 h 590550"/>
                <a:gd name="connsiteX439" fmla="*/ 234548 w 628650"/>
                <a:gd name="connsiteY439" fmla="*/ 157129 h 590550"/>
                <a:gd name="connsiteX440" fmla="*/ 230862 w 628650"/>
                <a:gd name="connsiteY440" fmla="*/ 157129 h 590550"/>
                <a:gd name="connsiteX441" fmla="*/ 230862 w 628650"/>
                <a:gd name="connsiteY441" fmla="*/ 153438 h 590550"/>
                <a:gd name="connsiteX442" fmla="*/ 227166 w 628650"/>
                <a:gd name="connsiteY442" fmla="*/ 153438 h 590550"/>
                <a:gd name="connsiteX443" fmla="*/ 223480 w 628650"/>
                <a:gd name="connsiteY443" fmla="*/ 149747 h 590550"/>
                <a:gd name="connsiteX444" fmla="*/ 223480 w 628650"/>
                <a:gd name="connsiteY444" fmla="*/ 146057 h 590550"/>
                <a:gd name="connsiteX445" fmla="*/ 219794 w 628650"/>
                <a:gd name="connsiteY445" fmla="*/ 146057 h 590550"/>
                <a:gd name="connsiteX446" fmla="*/ 216098 w 628650"/>
                <a:gd name="connsiteY446" fmla="*/ 146057 h 590550"/>
                <a:gd name="connsiteX447" fmla="*/ 212412 w 628650"/>
                <a:gd name="connsiteY447" fmla="*/ 146057 h 590550"/>
                <a:gd name="connsiteX448" fmla="*/ 212412 w 628650"/>
                <a:gd name="connsiteY448" fmla="*/ 142366 h 590550"/>
                <a:gd name="connsiteX449" fmla="*/ 208726 w 628650"/>
                <a:gd name="connsiteY449" fmla="*/ 142366 h 590550"/>
                <a:gd name="connsiteX450" fmla="*/ 205030 w 628650"/>
                <a:gd name="connsiteY450" fmla="*/ 142366 h 590550"/>
                <a:gd name="connsiteX451" fmla="*/ 201344 w 628650"/>
                <a:gd name="connsiteY451" fmla="*/ 142366 h 590550"/>
                <a:gd name="connsiteX452" fmla="*/ 197658 w 628650"/>
                <a:gd name="connsiteY452" fmla="*/ 146057 h 590550"/>
                <a:gd name="connsiteX453" fmla="*/ 197658 w 628650"/>
                <a:gd name="connsiteY453" fmla="*/ 149747 h 590550"/>
                <a:gd name="connsiteX454" fmla="*/ 193962 w 628650"/>
                <a:gd name="connsiteY454" fmla="*/ 146057 h 590550"/>
                <a:gd name="connsiteX455" fmla="*/ 193962 w 628650"/>
                <a:gd name="connsiteY455" fmla="*/ 142366 h 590550"/>
                <a:gd name="connsiteX456" fmla="*/ 190276 w 628650"/>
                <a:gd name="connsiteY456" fmla="*/ 146057 h 590550"/>
                <a:gd name="connsiteX457" fmla="*/ 193962 w 628650"/>
                <a:gd name="connsiteY457" fmla="*/ 149747 h 590550"/>
                <a:gd name="connsiteX458" fmla="*/ 182904 w 628650"/>
                <a:gd name="connsiteY458" fmla="*/ 146057 h 590550"/>
                <a:gd name="connsiteX459" fmla="*/ 186590 w 628650"/>
                <a:gd name="connsiteY459" fmla="*/ 142366 h 590550"/>
                <a:gd name="connsiteX460" fmla="*/ 186590 w 628650"/>
                <a:gd name="connsiteY460" fmla="*/ 138675 h 590550"/>
                <a:gd name="connsiteX461" fmla="*/ 179208 w 628650"/>
                <a:gd name="connsiteY461" fmla="*/ 134985 h 590550"/>
                <a:gd name="connsiteX462" fmla="*/ 179208 w 628650"/>
                <a:gd name="connsiteY462" fmla="*/ 131295 h 590550"/>
                <a:gd name="connsiteX463" fmla="*/ 171836 w 628650"/>
                <a:gd name="connsiteY463" fmla="*/ 120223 h 590550"/>
                <a:gd name="connsiteX464" fmla="*/ 171836 w 628650"/>
                <a:gd name="connsiteY464" fmla="*/ 116533 h 590550"/>
                <a:gd name="connsiteX465" fmla="*/ 171836 w 628650"/>
                <a:gd name="connsiteY465" fmla="*/ 112842 h 590550"/>
                <a:gd name="connsiteX466" fmla="*/ 168140 w 628650"/>
                <a:gd name="connsiteY466" fmla="*/ 105461 h 590550"/>
                <a:gd name="connsiteX467" fmla="*/ 164454 w 628650"/>
                <a:gd name="connsiteY467" fmla="*/ 98080 h 590550"/>
                <a:gd name="connsiteX468" fmla="*/ 160768 w 628650"/>
                <a:gd name="connsiteY468" fmla="*/ 90698 h 590550"/>
                <a:gd name="connsiteX469" fmla="*/ 160768 w 628650"/>
                <a:gd name="connsiteY469" fmla="*/ 87008 h 590550"/>
                <a:gd name="connsiteX470" fmla="*/ 164454 w 628650"/>
                <a:gd name="connsiteY470" fmla="*/ 87008 h 590550"/>
                <a:gd name="connsiteX471" fmla="*/ 168140 w 628650"/>
                <a:gd name="connsiteY471" fmla="*/ 83317 h 590550"/>
                <a:gd name="connsiteX472" fmla="*/ 179208 w 628650"/>
                <a:gd name="connsiteY472" fmla="*/ 79627 h 590550"/>
                <a:gd name="connsiteX473" fmla="*/ 182904 w 628650"/>
                <a:gd name="connsiteY473" fmla="*/ 75936 h 590550"/>
                <a:gd name="connsiteX474" fmla="*/ 186590 w 628650"/>
                <a:gd name="connsiteY474" fmla="*/ 75936 h 590550"/>
                <a:gd name="connsiteX475" fmla="*/ 186590 w 628650"/>
                <a:gd name="connsiteY475" fmla="*/ 72246 h 590550"/>
                <a:gd name="connsiteX476" fmla="*/ 193962 w 628650"/>
                <a:gd name="connsiteY476" fmla="*/ 64864 h 590550"/>
                <a:gd name="connsiteX477" fmla="*/ 197658 w 628650"/>
                <a:gd name="connsiteY477" fmla="*/ 61174 h 590550"/>
                <a:gd name="connsiteX478" fmla="*/ 201344 w 628650"/>
                <a:gd name="connsiteY478" fmla="*/ 53792 h 590550"/>
                <a:gd name="connsiteX479" fmla="*/ 197658 w 628650"/>
                <a:gd name="connsiteY479" fmla="*/ 53792 h 590550"/>
                <a:gd name="connsiteX480" fmla="*/ 193962 w 628650"/>
                <a:gd name="connsiteY480" fmla="*/ 46412 h 590550"/>
                <a:gd name="connsiteX481" fmla="*/ 190276 w 628650"/>
                <a:gd name="connsiteY481" fmla="*/ 42722 h 590550"/>
                <a:gd name="connsiteX482" fmla="*/ 186590 w 628650"/>
                <a:gd name="connsiteY482" fmla="*/ 39031 h 590550"/>
                <a:gd name="connsiteX483" fmla="*/ 179208 w 628650"/>
                <a:gd name="connsiteY483" fmla="*/ 31650 h 590550"/>
                <a:gd name="connsiteX484" fmla="*/ 175522 w 628650"/>
                <a:gd name="connsiteY484" fmla="*/ 27959 h 590550"/>
                <a:gd name="connsiteX485" fmla="*/ 164454 w 628650"/>
                <a:gd name="connsiteY485" fmla="*/ 16887 h 590550"/>
                <a:gd name="connsiteX486" fmla="*/ 164454 w 628650"/>
                <a:gd name="connsiteY486" fmla="*/ 13197 h 590550"/>
                <a:gd name="connsiteX487" fmla="*/ 160768 w 628650"/>
                <a:gd name="connsiteY487" fmla="*/ 5815 h 590550"/>
                <a:gd name="connsiteX488" fmla="*/ 186590 w 628650"/>
                <a:gd name="connsiteY488" fmla="*/ 507737 h 590550"/>
                <a:gd name="connsiteX489" fmla="*/ 186590 w 628650"/>
                <a:gd name="connsiteY489" fmla="*/ 511423 h 590550"/>
                <a:gd name="connsiteX490" fmla="*/ 186590 w 628650"/>
                <a:gd name="connsiteY490" fmla="*/ 515109 h 590550"/>
                <a:gd name="connsiteX491" fmla="*/ 190276 w 628650"/>
                <a:gd name="connsiteY491" fmla="*/ 511423 h 590550"/>
                <a:gd name="connsiteX492" fmla="*/ 186590 w 628650"/>
                <a:gd name="connsiteY492" fmla="*/ 507737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Lst>
              <a:rect l="l" t="t" r="r" b="b"/>
              <a:pathLst>
                <a:path w="628650" h="590550">
                  <a:moveTo>
                    <a:pt x="160768" y="5815"/>
                  </a:moveTo>
                  <a:lnTo>
                    <a:pt x="149700" y="13197"/>
                  </a:lnTo>
                  <a:lnTo>
                    <a:pt x="146004" y="16887"/>
                  </a:lnTo>
                  <a:lnTo>
                    <a:pt x="142318" y="20578"/>
                  </a:lnTo>
                  <a:lnTo>
                    <a:pt x="131250" y="20578"/>
                  </a:lnTo>
                  <a:lnTo>
                    <a:pt x="127564" y="20578"/>
                  </a:lnTo>
                  <a:lnTo>
                    <a:pt x="131250" y="27959"/>
                  </a:lnTo>
                  <a:lnTo>
                    <a:pt x="131250" y="31650"/>
                  </a:lnTo>
                  <a:lnTo>
                    <a:pt x="127564" y="31650"/>
                  </a:lnTo>
                  <a:lnTo>
                    <a:pt x="123877" y="35340"/>
                  </a:lnTo>
                  <a:lnTo>
                    <a:pt x="116495" y="39031"/>
                  </a:lnTo>
                  <a:lnTo>
                    <a:pt x="116495" y="31650"/>
                  </a:lnTo>
                  <a:lnTo>
                    <a:pt x="105427" y="35340"/>
                  </a:lnTo>
                  <a:lnTo>
                    <a:pt x="101741" y="39031"/>
                  </a:lnTo>
                  <a:lnTo>
                    <a:pt x="101741" y="35340"/>
                  </a:lnTo>
                  <a:lnTo>
                    <a:pt x="98046" y="35340"/>
                  </a:lnTo>
                  <a:lnTo>
                    <a:pt x="94359" y="31650"/>
                  </a:lnTo>
                  <a:lnTo>
                    <a:pt x="90673" y="24269"/>
                  </a:lnTo>
                  <a:lnTo>
                    <a:pt x="90673" y="16887"/>
                  </a:lnTo>
                  <a:lnTo>
                    <a:pt x="83291" y="20578"/>
                  </a:lnTo>
                  <a:lnTo>
                    <a:pt x="83291" y="24269"/>
                  </a:lnTo>
                  <a:lnTo>
                    <a:pt x="75909" y="20578"/>
                  </a:lnTo>
                  <a:lnTo>
                    <a:pt x="75909" y="24269"/>
                  </a:lnTo>
                  <a:lnTo>
                    <a:pt x="68537" y="24269"/>
                  </a:lnTo>
                  <a:lnTo>
                    <a:pt x="64841" y="27959"/>
                  </a:lnTo>
                  <a:lnTo>
                    <a:pt x="64841" y="31650"/>
                  </a:lnTo>
                  <a:lnTo>
                    <a:pt x="61155" y="35340"/>
                  </a:lnTo>
                  <a:lnTo>
                    <a:pt x="61155" y="39031"/>
                  </a:lnTo>
                  <a:lnTo>
                    <a:pt x="57469" y="42722"/>
                  </a:lnTo>
                  <a:lnTo>
                    <a:pt x="53773" y="42722"/>
                  </a:lnTo>
                  <a:lnTo>
                    <a:pt x="53773" y="46412"/>
                  </a:lnTo>
                  <a:lnTo>
                    <a:pt x="50087" y="46412"/>
                  </a:lnTo>
                  <a:lnTo>
                    <a:pt x="46401" y="50102"/>
                  </a:lnTo>
                  <a:lnTo>
                    <a:pt x="42715" y="50102"/>
                  </a:lnTo>
                  <a:lnTo>
                    <a:pt x="39019" y="50102"/>
                  </a:lnTo>
                  <a:lnTo>
                    <a:pt x="35333" y="50102"/>
                  </a:lnTo>
                  <a:lnTo>
                    <a:pt x="31647" y="46412"/>
                  </a:lnTo>
                  <a:lnTo>
                    <a:pt x="27951" y="46412"/>
                  </a:lnTo>
                  <a:lnTo>
                    <a:pt x="24265" y="46412"/>
                  </a:lnTo>
                  <a:lnTo>
                    <a:pt x="24265" y="42722"/>
                  </a:lnTo>
                  <a:lnTo>
                    <a:pt x="20579" y="42722"/>
                  </a:lnTo>
                  <a:lnTo>
                    <a:pt x="16883" y="42722"/>
                  </a:lnTo>
                  <a:lnTo>
                    <a:pt x="16883" y="39031"/>
                  </a:lnTo>
                  <a:lnTo>
                    <a:pt x="13197" y="39031"/>
                  </a:lnTo>
                  <a:lnTo>
                    <a:pt x="5815" y="46412"/>
                  </a:lnTo>
                  <a:lnTo>
                    <a:pt x="9511" y="53792"/>
                  </a:lnTo>
                  <a:lnTo>
                    <a:pt x="13197" y="57483"/>
                  </a:lnTo>
                  <a:lnTo>
                    <a:pt x="16883" y="61174"/>
                  </a:lnTo>
                  <a:lnTo>
                    <a:pt x="16883" y="64864"/>
                  </a:lnTo>
                  <a:lnTo>
                    <a:pt x="24265" y="64864"/>
                  </a:lnTo>
                  <a:lnTo>
                    <a:pt x="31647" y="64864"/>
                  </a:lnTo>
                  <a:lnTo>
                    <a:pt x="35333" y="68555"/>
                  </a:lnTo>
                  <a:lnTo>
                    <a:pt x="46401" y="72246"/>
                  </a:lnTo>
                  <a:lnTo>
                    <a:pt x="50087" y="79627"/>
                  </a:lnTo>
                  <a:lnTo>
                    <a:pt x="53773" y="83317"/>
                  </a:lnTo>
                  <a:lnTo>
                    <a:pt x="57469" y="83317"/>
                  </a:lnTo>
                  <a:lnTo>
                    <a:pt x="64841" y="90698"/>
                  </a:lnTo>
                  <a:lnTo>
                    <a:pt x="68537" y="101770"/>
                  </a:lnTo>
                  <a:lnTo>
                    <a:pt x="75909" y="116533"/>
                  </a:lnTo>
                  <a:lnTo>
                    <a:pt x="75909" y="120223"/>
                  </a:lnTo>
                  <a:lnTo>
                    <a:pt x="79605" y="120223"/>
                  </a:lnTo>
                  <a:lnTo>
                    <a:pt x="83291" y="123914"/>
                  </a:lnTo>
                  <a:lnTo>
                    <a:pt x="83291" y="127604"/>
                  </a:lnTo>
                  <a:lnTo>
                    <a:pt x="86978" y="131295"/>
                  </a:lnTo>
                  <a:lnTo>
                    <a:pt x="86978" y="134985"/>
                  </a:lnTo>
                  <a:lnTo>
                    <a:pt x="86978" y="138675"/>
                  </a:lnTo>
                  <a:lnTo>
                    <a:pt x="79605" y="142366"/>
                  </a:lnTo>
                  <a:lnTo>
                    <a:pt x="75909" y="146057"/>
                  </a:lnTo>
                  <a:lnTo>
                    <a:pt x="72223" y="149747"/>
                  </a:lnTo>
                  <a:lnTo>
                    <a:pt x="72223" y="153438"/>
                  </a:lnTo>
                  <a:lnTo>
                    <a:pt x="72223" y="157129"/>
                  </a:lnTo>
                  <a:lnTo>
                    <a:pt x="75909" y="157129"/>
                  </a:lnTo>
                  <a:lnTo>
                    <a:pt x="75909" y="153438"/>
                  </a:lnTo>
                  <a:lnTo>
                    <a:pt x="83291" y="157129"/>
                  </a:lnTo>
                  <a:lnTo>
                    <a:pt x="86978" y="157129"/>
                  </a:lnTo>
                  <a:lnTo>
                    <a:pt x="94359" y="160819"/>
                  </a:lnTo>
                  <a:lnTo>
                    <a:pt x="98046" y="164510"/>
                  </a:lnTo>
                  <a:lnTo>
                    <a:pt x="101741" y="168200"/>
                  </a:lnTo>
                  <a:lnTo>
                    <a:pt x="109114" y="168200"/>
                  </a:lnTo>
                  <a:lnTo>
                    <a:pt x="112809" y="175582"/>
                  </a:lnTo>
                  <a:lnTo>
                    <a:pt x="109114" y="179272"/>
                  </a:lnTo>
                  <a:lnTo>
                    <a:pt x="98046" y="186653"/>
                  </a:lnTo>
                  <a:lnTo>
                    <a:pt x="94359" y="186653"/>
                  </a:lnTo>
                  <a:lnTo>
                    <a:pt x="83291" y="190344"/>
                  </a:lnTo>
                  <a:lnTo>
                    <a:pt x="83291" y="194035"/>
                  </a:lnTo>
                  <a:lnTo>
                    <a:pt x="75909" y="197725"/>
                  </a:lnTo>
                  <a:lnTo>
                    <a:pt x="72223" y="197725"/>
                  </a:lnTo>
                  <a:lnTo>
                    <a:pt x="64841" y="201416"/>
                  </a:lnTo>
                  <a:lnTo>
                    <a:pt x="61155" y="197725"/>
                  </a:lnTo>
                  <a:lnTo>
                    <a:pt x="57469" y="194035"/>
                  </a:lnTo>
                  <a:lnTo>
                    <a:pt x="27951" y="201416"/>
                  </a:lnTo>
                  <a:lnTo>
                    <a:pt x="24265" y="205107"/>
                  </a:lnTo>
                  <a:lnTo>
                    <a:pt x="24265" y="212488"/>
                  </a:lnTo>
                  <a:lnTo>
                    <a:pt x="24265" y="216178"/>
                  </a:lnTo>
                  <a:lnTo>
                    <a:pt x="24265" y="219868"/>
                  </a:lnTo>
                  <a:lnTo>
                    <a:pt x="27951" y="223559"/>
                  </a:lnTo>
                  <a:lnTo>
                    <a:pt x="27951" y="227249"/>
                  </a:lnTo>
                  <a:lnTo>
                    <a:pt x="13197" y="223559"/>
                  </a:lnTo>
                  <a:lnTo>
                    <a:pt x="16883" y="227249"/>
                  </a:lnTo>
                  <a:lnTo>
                    <a:pt x="20579" y="227249"/>
                  </a:lnTo>
                  <a:lnTo>
                    <a:pt x="24265" y="227249"/>
                  </a:lnTo>
                  <a:lnTo>
                    <a:pt x="24265" y="230940"/>
                  </a:lnTo>
                  <a:lnTo>
                    <a:pt x="27951" y="234630"/>
                  </a:lnTo>
                  <a:lnTo>
                    <a:pt x="27951" y="238321"/>
                  </a:lnTo>
                  <a:lnTo>
                    <a:pt x="27951" y="242012"/>
                  </a:lnTo>
                  <a:lnTo>
                    <a:pt x="31647" y="245702"/>
                  </a:lnTo>
                  <a:lnTo>
                    <a:pt x="35333" y="249393"/>
                  </a:lnTo>
                  <a:lnTo>
                    <a:pt x="35333" y="253083"/>
                  </a:lnTo>
                  <a:lnTo>
                    <a:pt x="35333" y="256774"/>
                  </a:lnTo>
                  <a:lnTo>
                    <a:pt x="39019" y="260465"/>
                  </a:lnTo>
                  <a:lnTo>
                    <a:pt x="39019" y="267846"/>
                  </a:lnTo>
                  <a:lnTo>
                    <a:pt x="39019" y="275227"/>
                  </a:lnTo>
                  <a:lnTo>
                    <a:pt x="46401" y="271537"/>
                  </a:lnTo>
                  <a:lnTo>
                    <a:pt x="50087" y="275227"/>
                  </a:lnTo>
                  <a:lnTo>
                    <a:pt x="57469" y="286299"/>
                  </a:lnTo>
                  <a:lnTo>
                    <a:pt x="61155" y="293680"/>
                  </a:lnTo>
                  <a:lnTo>
                    <a:pt x="68537" y="304751"/>
                  </a:lnTo>
                  <a:lnTo>
                    <a:pt x="68537" y="312132"/>
                  </a:lnTo>
                  <a:lnTo>
                    <a:pt x="75909" y="308442"/>
                  </a:lnTo>
                  <a:lnTo>
                    <a:pt x="79605" y="304751"/>
                  </a:lnTo>
                  <a:lnTo>
                    <a:pt x="83291" y="301060"/>
                  </a:lnTo>
                  <a:lnTo>
                    <a:pt x="83291" y="304751"/>
                  </a:lnTo>
                  <a:lnTo>
                    <a:pt x="86978" y="308442"/>
                  </a:lnTo>
                  <a:lnTo>
                    <a:pt x="90673" y="304751"/>
                  </a:lnTo>
                  <a:lnTo>
                    <a:pt x="98046" y="297371"/>
                  </a:lnTo>
                  <a:lnTo>
                    <a:pt x="105427" y="289990"/>
                  </a:lnTo>
                  <a:lnTo>
                    <a:pt x="109114" y="286299"/>
                  </a:lnTo>
                  <a:lnTo>
                    <a:pt x="112809" y="286299"/>
                  </a:lnTo>
                  <a:lnTo>
                    <a:pt x="116495" y="286299"/>
                  </a:lnTo>
                  <a:lnTo>
                    <a:pt x="120182" y="282608"/>
                  </a:lnTo>
                  <a:lnTo>
                    <a:pt x="123877" y="286299"/>
                  </a:lnTo>
                  <a:lnTo>
                    <a:pt x="127564" y="286299"/>
                  </a:lnTo>
                  <a:lnTo>
                    <a:pt x="131250" y="289990"/>
                  </a:lnTo>
                  <a:lnTo>
                    <a:pt x="134936" y="293680"/>
                  </a:lnTo>
                  <a:lnTo>
                    <a:pt x="134936" y="297371"/>
                  </a:lnTo>
                  <a:lnTo>
                    <a:pt x="134936" y="301060"/>
                  </a:lnTo>
                  <a:lnTo>
                    <a:pt x="138632" y="304751"/>
                  </a:lnTo>
                  <a:lnTo>
                    <a:pt x="149700" y="308442"/>
                  </a:lnTo>
                  <a:lnTo>
                    <a:pt x="153386" y="312132"/>
                  </a:lnTo>
                  <a:lnTo>
                    <a:pt x="153386" y="315823"/>
                  </a:lnTo>
                  <a:lnTo>
                    <a:pt x="157072" y="326895"/>
                  </a:lnTo>
                  <a:lnTo>
                    <a:pt x="157072" y="334276"/>
                  </a:lnTo>
                  <a:lnTo>
                    <a:pt x="160768" y="337967"/>
                  </a:lnTo>
                  <a:lnTo>
                    <a:pt x="164454" y="341657"/>
                  </a:lnTo>
                  <a:lnTo>
                    <a:pt x="164454" y="349038"/>
                  </a:lnTo>
                  <a:lnTo>
                    <a:pt x="160768" y="352729"/>
                  </a:lnTo>
                  <a:lnTo>
                    <a:pt x="160768" y="356420"/>
                  </a:lnTo>
                  <a:lnTo>
                    <a:pt x="160768" y="363801"/>
                  </a:lnTo>
                  <a:lnTo>
                    <a:pt x="164454" y="367491"/>
                  </a:lnTo>
                  <a:lnTo>
                    <a:pt x="168140" y="367491"/>
                  </a:lnTo>
                  <a:lnTo>
                    <a:pt x="168140" y="371182"/>
                  </a:lnTo>
                  <a:lnTo>
                    <a:pt x="168140" y="374873"/>
                  </a:lnTo>
                  <a:lnTo>
                    <a:pt x="168140" y="382253"/>
                  </a:lnTo>
                  <a:lnTo>
                    <a:pt x="164454" y="382253"/>
                  </a:lnTo>
                  <a:lnTo>
                    <a:pt x="164454" y="385943"/>
                  </a:lnTo>
                  <a:lnTo>
                    <a:pt x="160768" y="385943"/>
                  </a:lnTo>
                  <a:lnTo>
                    <a:pt x="153386" y="389634"/>
                  </a:lnTo>
                  <a:lnTo>
                    <a:pt x="146004" y="389634"/>
                  </a:lnTo>
                  <a:lnTo>
                    <a:pt x="146004" y="393323"/>
                  </a:lnTo>
                  <a:lnTo>
                    <a:pt x="142318" y="393323"/>
                  </a:lnTo>
                  <a:lnTo>
                    <a:pt x="142318" y="397018"/>
                  </a:lnTo>
                  <a:lnTo>
                    <a:pt x="146004" y="400704"/>
                  </a:lnTo>
                  <a:lnTo>
                    <a:pt x="149700" y="400704"/>
                  </a:lnTo>
                  <a:lnTo>
                    <a:pt x="153386" y="404400"/>
                  </a:lnTo>
                  <a:lnTo>
                    <a:pt x="149700" y="404400"/>
                  </a:lnTo>
                  <a:lnTo>
                    <a:pt x="146004" y="408086"/>
                  </a:lnTo>
                  <a:lnTo>
                    <a:pt x="142318" y="408086"/>
                  </a:lnTo>
                  <a:lnTo>
                    <a:pt x="142318" y="415468"/>
                  </a:lnTo>
                  <a:lnTo>
                    <a:pt x="142318" y="422850"/>
                  </a:lnTo>
                  <a:lnTo>
                    <a:pt x="142318" y="430232"/>
                  </a:lnTo>
                  <a:lnTo>
                    <a:pt x="138632" y="430232"/>
                  </a:lnTo>
                  <a:lnTo>
                    <a:pt x="138632" y="433918"/>
                  </a:lnTo>
                  <a:lnTo>
                    <a:pt x="142318" y="433918"/>
                  </a:lnTo>
                  <a:lnTo>
                    <a:pt x="146004" y="433918"/>
                  </a:lnTo>
                  <a:lnTo>
                    <a:pt x="146004" y="437614"/>
                  </a:lnTo>
                  <a:lnTo>
                    <a:pt x="146004" y="448682"/>
                  </a:lnTo>
                  <a:lnTo>
                    <a:pt x="149700" y="448682"/>
                  </a:lnTo>
                  <a:lnTo>
                    <a:pt x="153386" y="448682"/>
                  </a:lnTo>
                  <a:lnTo>
                    <a:pt x="157072" y="448682"/>
                  </a:lnTo>
                  <a:lnTo>
                    <a:pt x="157072" y="452377"/>
                  </a:lnTo>
                  <a:lnTo>
                    <a:pt x="157072" y="456064"/>
                  </a:lnTo>
                  <a:lnTo>
                    <a:pt x="160768" y="456064"/>
                  </a:lnTo>
                  <a:lnTo>
                    <a:pt x="160768" y="467132"/>
                  </a:lnTo>
                  <a:lnTo>
                    <a:pt x="164454" y="470827"/>
                  </a:lnTo>
                  <a:lnTo>
                    <a:pt x="168140" y="474514"/>
                  </a:lnTo>
                  <a:lnTo>
                    <a:pt x="168140" y="478209"/>
                  </a:lnTo>
                  <a:lnTo>
                    <a:pt x="168140" y="481895"/>
                  </a:lnTo>
                  <a:lnTo>
                    <a:pt x="168140" y="485591"/>
                  </a:lnTo>
                  <a:lnTo>
                    <a:pt x="171836" y="489277"/>
                  </a:lnTo>
                  <a:lnTo>
                    <a:pt x="175522" y="489277"/>
                  </a:lnTo>
                  <a:lnTo>
                    <a:pt x="179208" y="489277"/>
                  </a:lnTo>
                  <a:lnTo>
                    <a:pt x="182904" y="489277"/>
                  </a:lnTo>
                  <a:lnTo>
                    <a:pt x="182904" y="492973"/>
                  </a:lnTo>
                  <a:lnTo>
                    <a:pt x="179208" y="492973"/>
                  </a:lnTo>
                  <a:lnTo>
                    <a:pt x="175522" y="496659"/>
                  </a:lnTo>
                  <a:lnTo>
                    <a:pt x="175522" y="500355"/>
                  </a:lnTo>
                  <a:lnTo>
                    <a:pt x="179208" y="507737"/>
                  </a:lnTo>
                  <a:lnTo>
                    <a:pt x="182904" y="507737"/>
                  </a:lnTo>
                  <a:lnTo>
                    <a:pt x="186590" y="507737"/>
                  </a:lnTo>
                  <a:lnTo>
                    <a:pt x="186590" y="504041"/>
                  </a:lnTo>
                  <a:lnTo>
                    <a:pt x="193962" y="500355"/>
                  </a:lnTo>
                  <a:lnTo>
                    <a:pt x="197658" y="500355"/>
                  </a:lnTo>
                  <a:lnTo>
                    <a:pt x="197658" y="504041"/>
                  </a:lnTo>
                  <a:lnTo>
                    <a:pt x="205030" y="504041"/>
                  </a:lnTo>
                  <a:lnTo>
                    <a:pt x="208726" y="504041"/>
                  </a:lnTo>
                  <a:lnTo>
                    <a:pt x="212412" y="507737"/>
                  </a:lnTo>
                  <a:lnTo>
                    <a:pt x="212412" y="504041"/>
                  </a:lnTo>
                  <a:lnTo>
                    <a:pt x="216098" y="504041"/>
                  </a:lnTo>
                  <a:lnTo>
                    <a:pt x="219794" y="504041"/>
                  </a:lnTo>
                  <a:lnTo>
                    <a:pt x="223480" y="504041"/>
                  </a:lnTo>
                  <a:lnTo>
                    <a:pt x="230862" y="504041"/>
                  </a:lnTo>
                  <a:lnTo>
                    <a:pt x="234548" y="504041"/>
                  </a:lnTo>
                  <a:lnTo>
                    <a:pt x="238235" y="507737"/>
                  </a:lnTo>
                  <a:lnTo>
                    <a:pt x="241930" y="504041"/>
                  </a:lnTo>
                  <a:lnTo>
                    <a:pt x="245616" y="504041"/>
                  </a:lnTo>
                  <a:lnTo>
                    <a:pt x="249303" y="504041"/>
                  </a:lnTo>
                  <a:lnTo>
                    <a:pt x="252998" y="504041"/>
                  </a:lnTo>
                  <a:lnTo>
                    <a:pt x="252998" y="507737"/>
                  </a:lnTo>
                  <a:lnTo>
                    <a:pt x="264066" y="507737"/>
                  </a:lnTo>
                  <a:lnTo>
                    <a:pt x="264066" y="504041"/>
                  </a:lnTo>
                  <a:lnTo>
                    <a:pt x="271439" y="504041"/>
                  </a:lnTo>
                  <a:lnTo>
                    <a:pt x="271439" y="496659"/>
                  </a:lnTo>
                  <a:lnTo>
                    <a:pt x="275125" y="496659"/>
                  </a:lnTo>
                  <a:lnTo>
                    <a:pt x="278821" y="492973"/>
                  </a:lnTo>
                  <a:lnTo>
                    <a:pt x="286193" y="492973"/>
                  </a:lnTo>
                  <a:lnTo>
                    <a:pt x="289889" y="492973"/>
                  </a:lnTo>
                  <a:lnTo>
                    <a:pt x="293575" y="489277"/>
                  </a:lnTo>
                  <a:lnTo>
                    <a:pt x="293575" y="492973"/>
                  </a:lnTo>
                  <a:lnTo>
                    <a:pt x="297261" y="492973"/>
                  </a:lnTo>
                  <a:lnTo>
                    <a:pt x="300957" y="492973"/>
                  </a:lnTo>
                  <a:lnTo>
                    <a:pt x="308329" y="492973"/>
                  </a:lnTo>
                  <a:lnTo>
                    <a:pt x="312025" y="492973"/>
                  </a:lnTo>
                  <a:lnTo>
                    <a:pt x="312025" y="496659"/>
                  </a:lnTo>
                  <a:lnTo>
                    <a:pt x="312025" y="500355"/>
                  </a:lnTo>
                  <a:lnTo>
                    <a:pt x="315711" y="507737"/>
                  </a:lnTo>
                  <a:lnTo>
                    <a:pt x="326779" y="515109"/>
                  </a:lnTo>
                  <a:lnTo>
                    <a:pt x="326779" y="522491"/>
                  </a:lnTo>
                  <a:lnTo>
                    <a:pt x="330465" y="522491"/>
                  </a:lnTo>
                  <a:lnTo>
                    <a:pt x="330465" y="526187"/>
                  </a:lnTo>
                  <a:lnTo>
                    <a:pt x="337847" y="526187"/>
                  </a:lnTo>
                  <a:lnTo>
                    <a:pt x="337847" y="533569"/>
                  </a:lnTo>
                  <a:lnTo>
                    <a:pt x="341533" y="537255"/>
                  </a:lnTo>
                  <a:lnTo>
                    <a:pt x="341533" y="540951"/>
                  </a:lnTo>
                  <a:lnTo>
                    <a:pt x="345219" y="540951"/>
                  </a:lnTo>
                  <a:lnTo>
                    <a:pt x="348915" y="544637"/>
                  </a:lnTo>
                  <a:lnTo>
                    <a:pt x="356287" y="540951"/>
                  </a:lnTo>
                  <a:lnTo>
                    <a:pt x="359983" y="540951"/>
                  </a:lnTo>
                  <a:lnTo>
                    <a:pt x="378424" y="544637"/>
                  </a:lnTo>
                  <a:lnTo>
                    <a:pt x="393187" y="540951"/>
                  </a:lnTo>
                  <a:lnTo>
                    <a:pt x="396873" y="540951"/>
                  </a:lnTo>
                  <a:lnTo>
                    <a:pt x="404255" y="544637"/>
                  </a:lnTo>
                  <a:lnTo>
                    <a:pt x="400560" y="548332"/>
                  </a:lnTo>
                  <a:lnTo>
                    <a:pt x="404255" y="552019"/>
                  </a:lnTo>
                  <a:lnTo>
                    <a:pt x="407942" y="555714"/>
                  </a:lnTo>
                  <a:lnTo>
                    <a:pt x="407942" y="552019"/>
                  </a:lnTo>
                  <a:lnTo>
                    <a:pt x="411628" y="548332"/>
                  </a:lnTo>
                  <a:lnTo>
                    <a:pt x="415314" y="544637"/>
                  </a:lnTo>
                  <a:lnTo>
                    <a:pt x="419010" y="548332"/>
                  </a:lnTo>
                  <a:lnTo>
                    <a:pt x="419010" y="552019"/>
                  </a:lnTo>
                  <a:lnTo>
                    <a:pt x="422696" y="544637"/>
                  </a:lnTo>
                  <a:lnTo>
                    <a:pt x="426382" y="544637"/>
                  </a:lnTo>
                  <a:lnTo>
                    <a:pt x="437450" y="552019"/>
                  </a:lnTo>
                  <a:lnTo>
                    <a:pt x="437450" y="555714"/>
                  </a:lnTo>
                  <a:lnTo>
                    <a:pt x="437450" y="559400"/>
                  </a:lnTo>
                  <a:lnTo>
                    <a:pt x="437450" y="570468"/>
                  </a:lnTo>
                  <a:lnTo>
                    <a:pt x="430078" y="581546"/>
                  </a:lnTo>
                  <a:lnTo>
                    <a:pt x="437450" y="581546"/>
                  </a:lnTo>
                  <a:lnTo>
                    <a:pt x="441146" y="581546"/>
                  </a:lnTo>
                  <a:lnTo>
                    <a:pt x="448518" y="585232"/>
                  </a:lnTo>
                  <a:lnTo>
                    <a:pt x="455900" y="588928"/>
                  </a:lnTo>
                  <a:lnTo>
                    <a:pt x="459586" y="588928"/>
                  </a:lnTo>
                  <a:lnTo>
                    <a:pt x="481722" y="588928"/>
                  </a:lnTo>
                  <a:lnTo>
                    <a:pt x="511240" y="588928"/>
                  </a:lnTo>
                  <a:lnTo>
                    <a:pt x="522308" y="588928"/>
                  </a:lnTo>
                  <a:lnTo>
                    <a:pt x="525994" y="585232"/>
                  </a:lnTo>
                  <a:lnTo>
                    <a:pt x="529680" y="581546"/>
                  </a:lnTo>
                  <a:lnTo>
                    <a:pt x="533376" y="577850"/>
                  </a:lnTo>
                  <a:lnTo>
                    <a:pt x="533376" y="574164"/>
                  </a:lnTo>
                  <a:lnTo>
                    <a:pt x="537062" y="555714"/>
                  </a:lnTo>
                  <a:lnTo>
                    <a:pt x="540749" y="555714"/>
                  </a:lnTo>
                  <a:lnTo>
                    <a:pt x="540749" y="552019"/>
                  </a:lnTo>
                  <a:lnTo>
                    <a:pt x="551817" y="544637"/>
                  </a:lnTo>
                  <a:lnTo>
                    <a:pt x="551817" y="540951"/>
                  </a:lnTo>
                  <a:lnTo>
                    <a:pt x="562885" y="537255"/>
                  </a:lnTo>
                  <a:lnTo>
                    <a:pt x="573953" y="537255"/>
                  </a:lnTo>
                  <a:lnTo>
                    <a:pt x="577639" y="529873"/>
                  </a:lnTo>
                  <a:lnTo>
                    <a:pt x="577639" y="526187"/>
                  </a:lnTo>
                  <a:lnTo>
                    <a:pt x="581335" y="522491"/>
                  </a:lnTo>
                  <a:lnTo>
                    <a:pt x="581335" y="518805"/>
                  </a:lnTo>
                  <a:lnTo>
                    <a:pt x="585021" y="515109"/>
                  </a:lnTo>
                  <a:lnTo>
                    <a:pt x="585021" y="511423"/>
                  </a:lnTo>
                  <a:lnTo>
                    <a:pt x="585021" y="507737"/>
                  </a:lnTo>
                  <a:lnTo>
                    <a:pt x="585021" y="504041"/>
                  </a:lnTo>
                  <a:lnTo>
                    <a:pt x="588707" y="500355"/>
                  </a:lnTo>
                  <a:lnTo>
                    <a:pt x="596089" y="496659"/>
                  </a:lnTo>
                  <a:lnTo>
                    <a:pt x="599775" y="500355"/>
                  </a:lnTo>
                  <a:lnTo>
                    <a:pt x="603471" y="500355"/>
                  </a:lnTo>
                  <a:lnTo>
                    <a:pt x="607157" y="500355"/>
                  </a:lnTo>
                  <a:lnTo>
                    <a:pt x="614539" y="500355"/>
                  </a:lnTo>
                  <a:lnTo>
                    <a:pt x="625597" y="492973"/>
                  </a:lnTo>
                  <a:lnTo>
                    <a:pt x="625597" y="489277"/>
                  </a:lnTo>
                  <a:lnTo>
                    <a:pt x="614539" y="474514"/>
                  </a:lnTo>
                  <a:lnTo>
                    <a:pt x="610843" y="470827"/>
                  </a:lnTo>
                  <a:lnTo>
                    <a:pt x="610843" y="463446"/>
                  </a:lnTo>
                  <a:lnTo>
                    <a:pt x="607157" y="463446"/>
                  </a:lnTo>
                  <a:lnTo>
                    <a:pt x="607157" y="459759"/>
                  </a:lnTo>
                  <a:lnTo>
                    <a:pt x="607157" y="456064"/>
                  </a:lnTo>
                  <a:lnTo>
                    <a:pt x="607157" y="452377"/>
                  </a:lnTo>
                  <a:lnTo>
                    <a:pt x="607157" y="448682"/>
                  </a:lnTo>
                  <a:lnTo>
                    <a:pt x="610843" y="437614"/>
                  </a:lnTo>
                  <a:lnTo>
                    <a:pt x="610843" y="433918"/>
                  </a:lnTo>
                  <a:lnTo>
                    <a:pt x="614539" y="433918"/>
                  </a:lnTo>
                  <a:lnTo>
                    <a:pt x="614539" y="430232"/>
                  </a:lnTo>
                  <a:lnTo>
                    <a:pt x="618225" y="430232"/>
                  </a:lnTo>
                  <a:lnTo>
                    <a:pt x="618225" y="426536"/>
                  </a:lnTo>
                  <a:lnTo>
                    <a:pt x="618225" y="422850"/>
                  </a:lnTo>
                  <a:lnTo>
                    <a:pt x="621911" y="415468"/>
                  </a:lnTo>
                  <a:lnTo>
                    <a:pt x="621911" y="411782"/>
                  </a:lnTo>
                  <a:lnTo>
                    <a:pt x="629293" y="400704"/>
                  </a:lnTo>
                  <a:lnTo>
                    <a:pt x="629293" y="382253"/>
                  </a:lnTo>
                  <a:lnTo>
                    <a:pt x="621911" y="367491"/>
                  </a:lnTo>
                  <a:lnTo>
                    <a:pt x="621911" y="363801"/>
                  </a:lnTo>
                  <a:lnTo>
                    <a:pt x="621911" y="360110"/>
                  </a:lnTo>
                  <a:lnTo>
                    <a:pt x="618225" y="360110"/>
                  </a:lnTo>
                  <a:lnTo>
                    <a:pt x="614539" y="360110"/>
                  </a:lnTo>
                  <a:lnTo>
                    <a:pt x="610843" y="360110"/>
                  </a:lnTo>
                  <a:lnTo>
                    <a:pt x="607157" y="352729"/>
                  </a:lnTo>
                  <a:lnTo>
                    <a:pt x="603471" y="345348"/>
                  </a:lnTo>
                  <a:lnTo>
                    <a:pt x="596089" y="337967"/>
                  </a:lnTo>
                  <a:lnTo>
                    <a:pt x="596089" y="334276"/>
                  </a:lnTo>
                  <a:lnTo>
                    <a:pt x="592403" y="326895"/>
                  </a:lnTo>
                  <a:lnTo>
                    <a:pt x="592403" y="319514"/>
                  </a:lnTo>
                  <a:lnTo>
                    <a:pt x="588707" y="312132"/>
                  </a:lnTo>
                  <a:lnTo>
                    <a:pt x="588707" y="308442"/>
                  </a:lnTo>
                  <a:lnTo>
                    <a:pt x="585021" y="308442"/>
                  </a:lnTo>
                  <a:lnTo>
                    <a:pt x="581335" y="308442"/>
                  </a:lnTo>
                  <a:lnTo>
                    <a:pt x="577639" y="315823"/>
                  </a:lnTo>
                  <a:lnTo>
                    <a:pt x="573953" y="326895"/>
                  </a:lnTo>
                  <a:lnTo>
                    <a:pt x="566571" y="330585"/>
                  </a:lnTo>
                  <a:lnTo>
                    <a:pt x="566571" y="334276"/>
                  </a:lnTo>
                  <a:lnTo>
                    <a:pt x="562885" y="334276"/>
                  </a:lnTo>
                  <a:lnTo>
                    <a:pt x="544444" y="330585"/>
                  </a:lnTo>
                  <a:lnTo>
                    <a:pt x="537062" y="326895"/>
                  </a:lnTo>
                  <a:lnTo>
                    <a:pt x="525994" y="323204"/>
                  </a:lnTo>
                  <a:lnTo>
                    <a:pt x="518612" y="323204"/>
                  </a:lnTo>
                  <a:lnTo>
                    <a:pt x="522308" y="315823"/>
                  </a:lnTo>
                  <a:lnTo>
                    <a:pt x="514926" y="315823"/>
                  </a:lnTo>
                  <a:lnTo>
                    <a:pt x="503858" y="315823"/>
                  </a:lnTo>
                  <a:lnTo>
                    <a:pt x="481722" y="315823"/>
                  </a:lnTo>
                  <a:lnTo>
                    <a:pt x="474350" y="315823"/>
                  </a:lnTo>
                  <a:lnTo>
                    <a:pt x="470654" y="312132"/>
                  </a:lnTo>
                  <a:lnTo>
                    <a:pt x="455900" y="304751"/>
                  </a:lnTo>
                  <a:lnTo>
                    <a:pt x="452214" y="301060"/>
                  </a:lnTo>
                  <a:lnTo>
                    <a:pt x="444832" y="297371"/>
                  </a:lnTo>
                  <a:lnTo>
                    <a:pt x="448518" y="267846"/>
                  </a:lnTo>
                  <a:lnTo>
                    <a:pt x="441146" y="256774"/>
                  </a:lnTo>
                  <a:lnTo>
                    <a:pt x="433764" y="242012"/>
                  </a:lnTo>
                  <a:lnTo>
                    <a:pt x="437450" y="242012"/>
                  </a:lnTo>
                  <a:lnTo>
                    <a:pt x="444832" y="245702"/>
                  </a:lnTo>
                  <a:lnTo>
                    <a:pt x="452214" y="245702"/>
                  </a:lnTo>
                  <a:lnTo>
                    <a:pt x="455900" y="234630"/>
                  </a:lnTo>
                  <a:lnTo>
                    <a:pt x="463282" y="234630"/>
                  </a:lnTo>
                  <a:lnTo>
                    <a:pt x="470654" y="238321"/>
                  </a:lnTo>
                  <a:lnTo>
                    <a:pt x="474350" y="234630"/>
                  </a:lnTo>
                  <a:lnTo>
                    <a:pt x="452214" y="216178"/>
                  </a:lnTo>
                  <a:lnTo>
                    <a:pt x="452214" y="208797"/>
                  </a:lnTo>
                  <a:lnTo>
                    <a:pt x="455900" y="194035"/>
                  </a:lnTo>
                  <a:lnTo>
                    <a:pt x="455900" y="190344"/>
                  </a:lnTo>
                  <a:lnTo>
                    <a:pt x="452214" y="186653"/>
                  </a:lnTo>
                  <a:lnTo>
                    <a:pt x="448518" y="182963"/>
                  </a:lnTo>
                  <a:lnTo>
                    <a:pt x="444832" y="182963"/>
                  </a:lnTo>
                  <a:lnTo>
                    <a:pt x="444832" y="179272"/>
                  </a:lnTo>
                  <a:lnTo>
                    <a:pt x="444832" y="175582"/>
                  </a:lnTo>
                  <a:lnTo>
                    <a:pt x="444832" y="171891"/>
                  </a:lnTo>
                  <a:lnTo>
                    <a:pt x="448518" y="168200"/>
                  </a:lnTo>
                  <a:lnTo>
                    <a:pt x="444832" y="164510"/>
                  </a:lnTo>
                  <a:lnTo>
                    <a:pt x="437450" y="164510"/>
                  </a:lnTo>
                  <a:lnTo>
                    <a:pt x="422696" y="157129"/>
                  </a:lnTo>
                  <a:lnTo>
                    <a:pt x="415314" y="153438"/>
                  </a:lnTo>
                  <a:lnTo>
                    <a:pt x="407942" y="149747"/>
                  </a:lnTo>
                  <a:lnTo>
                    <a:pt x="400560" y="146057"/>
                  </a:lnTo>
                  <a:lnTo>
                    <a:pt x="400560" y="149747"/>
                  </a:lnTo>
                  <a:lnTo>
                    <a:pt x="396873" y="149747"/>
                  </a:lnTo>
                  <a:lnTo>
                    <a:pt x="385805" y="153438"/>
                  </a:lnTo>
                  <a:lnTo>
                    <a:pt x="371051" y="153438"/>
                  </a:lnTo>
                  <a:lnTo>
                    <a:pt x="367355" y="157129"/>
                  </a:lnTo>
                  <a:lnTo>
                    <a:pt x="359983" y="164510"/>
                  </a:lnTo>
                  <a:lnTo>
                    <a:pt x="352601" y="171891"/>
                  </a:lnTo>
                  <a:lnTo>
                    <a:pt x="356287" y="194035"/>
                  </a:lnTo>
                  <a:lnTo>
                    <a:pt x="356287" y="197725"/>
                  </a:lnTo>
                  <a:lnTo>
                    <a:pt x="352601" y="197725"/>
                  </a:lnTo>
                  <a:lnTo>
                    <a:pt x="348915" y="194035"/>
                  </a:lnTo>
                  <a:lnTo>
                    <a:pt x="345219" y="194035"/>
                  </a:lnTo>
                  <a:lnTo>
                    <a:pt x="337847" y="194035"/>
                  </a:lnTo>
                  <a:lnTo>
                    <a:pt x="334161" y="190344"/>
                  </a:lnTo>
                  <a:lnTo>
                    <a:pt x="330465" y="186653"/>
                  </a:lnTo>
                  <a:lnTo>
                    <a:pt x="330465" y="190344"/>
                  </a:lnTo>
                  <a:lnTo>
                    <a:pt x="326779" y="194035"/>
                  </a:lnTo>
                  <a:lnTo>
                    <a:pt x="323093" y="197725"/>
                  </a:lnTo>
                  <a:lnTo>
                    <a:pt x="319397" y="194035"/>
                  </a:lnTo>
                  <a:lnTo>
                    <a:pt x="315711" y="194035"/>
                  </a:lnTo>
                  <a:lnTo>
                    <a:pt x="315711" y="190344"/>
                  </a:lnTo>
                  <a:lnTo>
                    <a:pt x="315711" y="186653"/>
                  </a:lnTo>
                  <a:lnTo>
                    <a:pt x="312025" y="186653"/>
                  </a:lnTo>
                  <a:lnTo>
                    <a:pt x="308329" y="190344"/>
                  </a:lnTo>
                  <a:lnTo>
                    <a:pt x="308329" y="194035"/>
                  </a:lnTo>
                  <a:lnTo>
                    <a:pt x="304643" y="194035"/>
                  </a:lnTo>
                  <a:lnTo>
                    <a:pt x="304643" y="190344"/>
                  </a:lnTo>
                  <a:lnTo>
                    <a:pt x="300957" y="190344"/>
                  </a:lnTo>
                  <a:lnTo>
                    <a:pt x="300957" y="194035"/>
                  </a:lnTo>
                  <a:lnTo>
                    <a:pt x="297261" y="194035"/>
                  </a:lnTo>
                  <a:lnTo>
                    <a:pt x="293575" y="194035"/>
                  </a:lnTo>
                  <a:lnTo>
                    <a:pt x="293575" y="197725"/>
                  </a:lnTo>
                  <a:lnTo>
                    <a:pt x="289889" y="197725"/>
                  </a:lnTo>
                  <a:lnTo>
                    <a:pt x="286193" y="194035"/>
                  </a:lnTo>
                  <a:lnTo>
                    <a:pt x="286193" y="186653"/>
                  </a:lnTo>
                  <a:lnTo>
                    <a:pt x="282507" y="182963"/>
                  </a:lnTo>
                  <a:lnTo>
                    <a:pt x="282507" y="179272"/>
                  </a:lnTo>
                  <a:lnTo>
                    <a:pt x="278821" y="179272"/>
                  </a:lnTo>
                  <a:lnTo>
                    <a:pt x="278821" y="175582"/>
                  </a:lnTo>
                  <a:lnTo>
                    <a:pt x="278821" y="171891"/>
                  </a:lnTo>
                  <a:lnTo>
                    <a:pt x="275125" y="171891"/>
                  </a:lnTo>
                  <a:lnTo>
                    <a:pt x="271439" y="168200"/>
                  </a:lnTo>
                  <a:lnTo>
                    <a:pt x="267753" y="168200"/>
                  </a:lnTo>
                  <a:lnTo>
                    <a:pt x="264066" y="164510"/>
                  </a:lnTo>
                  <a:lnTo>
                    <a:pt x="264066" y="160819"/>
                  </a:lnTo>
                  <a:lnTo>
                    <a:pt x="260371" y="160819"/>
                  </a:lnTo>
                  <a:lnTo>
                    <a:pt x="260371" y="157129"/>
                  </a:lnTo>
                  <a:lnTo>
                    <a:pt x="264066" y="157129"/>
                  </a:lnTo>
                  <a:lnTo>
                    <a:pt x="264066" y="153438"/>
                  </a:lnTo>
                  <a:lnTo>
                    <a:pt x="260371" y="153438"/>
                  </a:lnTo>
                  <a:lnTo>
                    <a:pt x="256684" y="153438"/>
                  </a:lnTo>
                  <a:lnTo>
                    <a:pt x="252998" y="157129"/>
                  </a:lnTo>
                  <a:lnTo>
                    <a:pt x="249303" y="157129"/>
                  </a:lnTo>
                  <a:lnTo>
                    <a:pt x="245616" y="157129"/>
                  </a:lnTo>
                  <a:lnTo>
                    <a:pt x="241930" y="157129"/>
                  </a:lnTo>
                  <a:lnTo>
                    <a:pt x="241930" y="153438"/>
                  </a:lnTo>
                  <a:lnTo>
                    <a:pt x="238235" y="153438"/>
                  </a:lnTo>
                  <a:lnTo>
                    <a:pt x="238235" y="157129"/>
                  </a:lnTo>
                  <a:lnTo>
                    <a:pt x="234548" y="157129"/>
                  </a:lnTo>
                  <a:lnTo>
                    <a:pt x="230862" y="157129"/>
                  </a:lnTo>
                  <a:lnTo>
                    <a:pt x="230862" y="153438"/>
                  </a:lnTo>
                  <a:lnTo>
                    <a:pt x="227166" y="153438"/>
                  </a:lnTo>
                  <a:lnTo>
                    <a:pt x="223480" y="149747"/>
                  </a:lnTo>
                  <a:lnTo>
                    <a:pt x="223480" y="146057"/>
                  </a:lnTo>
                  <a:lnTo>
                    <a:pt x="219794" y="146057"/>
                  </a:lnTo>
                  <a:lnTo>
                    <a:pt x="216098" y="146057"/>
                  </a:lnTo>
                  <a:lnTo>
                    <a:pt x="212412" y="146057"/>
                  </a:lnTo>
                  <a:lnTo>
                    <a:pt x="212412" y="142366"/>
                  </a:lnTo>
                  <a:lnTo>
                    <a:pt x="208726" y="142366"/>
                  </a:lnTo>
                  <a:lnTo>
                    <a:pt x="205030" y="142366"/>
                  </a:lnTo>
                  <a:lnTo>
                    <a:pt x="201344" y="142366"/>
                  </a:lnTo>
                  <a:lnTo>
                    <a:pt x="197658" y="146057"/>
                  </a:lnTo>
                  <a:lnTo>
                    <a:pt x="197658" y="149747"/>
                  </a:lnTo>
                  <a:lnTo>
                    <a:pt x="193962" y="146057"/>
                  </a:lnTo>
                  <a:lnTo>
                    <a:pt x="193962" y="142366"/>
                  </a:lnTo>
                  <a:lnTo>
                    <a:pt x="190276" y="146057"/>
                  </a:lnTo>
                  <a:lnTo>
                    <a:pt x="193962" y="149747"/>
                  </a:lnTo>
                  <a:lnTo>
                    <a:pt x="182904" y="146057"/>
                  </a:lnTo>
                  <a:lnTo>
                    <a:pt x="186590" y="142366"/>
                  </a:lnTo>
                  <a:lnTo>
                    <a:pt x="186590" y="138675"/>
                  </a:lnTo>
                  <a:lnTo>
                    <a:pt x="179208" y="134985"/>
                  </a:lnTo>
                  <a:lnTo>
                    <a:pt x="179208" y="131295"/>
                  </a:lnTo>
                  <a:lnTo>
                    <a:pt x="171836" y="120223"/>
                  </a:lnTo>
                  <a:lnTo>
                    <a:pt x="171836" y="116533"/>
                  </a:lnTo>
                  <a:lnTo>
                    <a:pt x="171836" y="112842"/>
                  </a:lnTo>
                  <a:lnTo>
                    <a:pt x="168140" y="105461"/>
                  </a:lnTo>
                  <a:lnTo>
                    <a:pt x="164454" y="98080"/>
                  </a:lnTo>
                  <a:lnTo>
                    <a:pt x="160768" y="90698"/>
                  </a:lnTo>
                  <a:lnTo>
                    <a:pt x="160768" y="87008"/>
                  </a:lnTo>
                  <a:lnTo>
                    <a:pt x="164454" y="87008"/>
                  </a:lnTo>
                  <a:lnTo>
                    <a:pt x="168140" y="83317"/>
                  </a:lnTo>
                  <a:lnTo>
                    <a:pt x="179208" y="79627"/>
                  </a:lnTo>
                  <a:lnTo>
                    <a:pt x="182904" y="75936"/>
                  </a:lnTo>
                  <a:lnTo>
                    <a:pt x="186590" y="75936"/>
                  </a:lnTo>
                  <a:lnTo>
                    <a:pt x="186590" y="72246"/>
                  </a:lnTo>
                  <a:lnTo>
                    <a:pt x="193962" y="64864"/>
                  </a:lnTo>
                  <a:lnTo>
                    <a:pt x="197658" y="61174"/>
                  </a:lnTo>
                  <a:lnTo>
                    <a:pt x="201344" y="53792"/>
                  </a:lnTo>
                  <a:lnTo>
                    <a:pt x="197658" y="53792"/>
                  </a:lnTo>
                  <a:lnTo>
                    <a:pt x="193962" y="46412"/>
                  </a:lnTo>
                  <a:lnTo>
                    <a:pt x="190276" y="42722"/>
                  </a:lnTo>
                  <a:lnTo>
                    <a:pt x="186590" y="39031"/>
                  </a:lnTo>
                  <a:lnTo>
                    <a:pt x="179208" y="31650"/>
                  </a:lnTo>
                  <a:lnTo>
                    <a:pt x="175522" y="27959"/>
                  </a:lnTo>
                  <a:lnTo>
                    <a:pt x="164454" y="16887"/>
                  </a:lnTo>
                  <a:lnTo>
                    <a:pt x="164454" y="13197"/>
                  </a:lnTo>
                  <a:lnTo>
                    <a:pt x="160768" y="5815"/>
                  </a:lnTo>
                  <a:close/>
                  <a:moveTo>
                    <a:pt x="186590" y="507737"/>
                  </a:moveTo>
                  <a:lnTo>
                    <a:pt x="186590" y="511423"/>
                  </a:lnTo>
                  <a:lnTo>
                    <a:pt x="186590" y="515109"/>
                  </a:lnTo>
                  <a:lnTo>
                    <a:pt x="190276" y="511423"/>
                  </a:lnTo>
                  <a:lnTo>
                    <a:pt x="186590" y="507737"/>
                  </a:lnTo>
                  <a:close/>
                </a:path>
              </a:pathLst>
            </a:custGeom>
            <a:solidFill>
              <a:schemeClr val="accent5"/>
            </a:solidFill>
            <a:ln w="12821" cap="flat">
              <a:solidFill>
                <a:schemeClr val="bg1"/>
              </a:solidFill>
              <a:prstDash val="solid"/>
              <a:round/>
            </a:ln>
          </p:spPr>
          <p:txBody>
            <a:bodyPr rot="0" spcFirstLastPara="0" vertOverflow="overflow" horzOverflow="overflow" vert="horz" wrap="square" lIns="91440" tIns="180000" rIns="91440" bIns="4572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49</a:t>
              </a:r>
            </a:p>
          </p:txBody>
        </p:sp>
        <p:sp>
          <p:nvSpPr>
            <p:cNvPr id="73" name="Freeform: Shape 72">
              <a:extLst>
                <a:ext uri="{FF2B5EF4-FFF2-40B4-BE49-F238E27FC236}">
                  <a16:creationId xmlns:a16="http://schemas.microsoft.com/office/drawing/2014/main" id="{68E035CC-860F-4E4C-A10E-3E4051A43F46}"/>
                </a:ext>
              </a:extLst>
            </p:cNvPr>
            <p:cNvSpPr/>
            <p:nvPr/>
          </p:nvSpPr>
          <p:spPr>
            <a:xfrm>
              <a:off x="2119370" y="3741575"/>
              <a:ext cx="1475776" cy="1029969"/>
            </a:xfrm>
            <a:custGeom>
              <a:avLst/>
              <a:gdLst>
                <a:gd name="connsiteX0" fmla="*/ 437447 w 914400"/>
                <a:gd name="connsiteY0" fmla="*/ 5812 h 638175"/>
                <a:gd name="connsiteX1" fmla="*/ 430065 w 914400"/>
                <a:gd name="connsiteY1" fmla="*/ 9502 h 638175"/>
                <a:gd name="connsiteX2" fmla="*/ 430065 w 914400"/>
                <a:gd name="connsiteY2" fmla="*/ 13193 h 638175"/>
                <a:gd name="connsiteX3" fmla="*/ 426379 w 914400"/>
                <a:gd name="connsiteY3" fmla="*/ 24264 h 638175"/>
                <a:gd name="connsiteX4" fmla="*/ 422693 w 914400"/>
                <a:gd name="connsiteY4" fmla="*/ 31645 h 638175"/>
                <a:gd name="connsiteX5" fmla="*/ 422693 w 914400"/>
                <a:gd name="connsiteY5" fmla="*/ 35335 h 638175"/>
                <a:gd name="connsiteX6" fmla="*/ 422693 w 914400"/>
                <a:gd name="connsiteY6" fmla="*/ 39026 h 638175"/>
                <a:gd name="connsiteX7" fmla="*/ 418998 w 914400"/>
                <a:gd name="connsiteY7" fmla="*/ 46407 h 638175"/>
                <a:gd name="connsiteX8" fmla="*/ 418998 w 914400"/>
                <a:gd name="connsiteY8" fmla="*/ 50098 h 638175"/>
                <a:gd name="connsiteX9" fmla="*/ 418998 w 914400"/>
                <a:gd name="connsiteY9" fmla="*/ 53789 h 638175"/>
                <a:gd name="connsiteX10" fmla="*/ 415311 w 914400"/>
                <a:gd name="connsiteY10" fmla="*/ 50098 h 638175"/>
                <a:gd name="connsiteX11" fmla="*/ 415311 w 914400"/>
                <a:gd name="connsiteY11" fmla="*/ 57479 h 638175"/>
                <a:gd name="connsiteX12" fmla="*/ 411625 w 914400"/>
                <a:gd name="connsiteY12" fmla="*/ 57479 h 638175"/>
                <a:gd name="connsiteX13" fmla="*/ 411625 w 914400"/>
                <a:gd name="connsiteY13" fmla="*/ 53789 h 638175"/>
                <a:gd name="connsiteX14" fmla="*/ 411625 w 914400"/>
                <a:gd name="connsiteY14" fmla="*/ 50098 h 638175"/>
                <a:gd name="connsiteX15" fmla="*/ 407929 w 914400"/>
                <a:gd name="connsiteY15" fmla="*/ 57479 h 638175"/>
                <a:gd name="connsiteX16" fmla="*/ 407929 w 914400"/>
                <a:gd name="connsiteY16" fmla="*/ 61170 h 638175"/>
                <a:gd name="connsiteX17" fmla="*/ 411625 w 914400"/>
                <a:gd name="connsiteY17" fmla="*/ 61170 h 638175"/>
                <a:gd name="connsiteX18" fmla="*/ 411625 w 914400"/>
                <a:gd name="connsiteY18" fmla="*/ 64860 h 638175"/>
                <a:gd name="connsiteX19" fmla="*/ 407929 w 914400"/>
                <a:gd name="connsiteY19" fmla="*/ 64860 h 638175"/>
                <a:gd name="connsiteX20" fmla="*/ 411625 w 914400"/>
                <a:gd name="connsiteY20" fmla="*/ 68551 h 638175"/>
                <a:gd name="connsiteX21" fmla="*/ 407929 w 914400"/>
                <a:gd name="connsiteY21" fmla="*/ 72242 h 638175"/>
                <a:gd name="connsiteX22" fmla="*/ 404243 w 914400"/>
                <a:gd name="connsiteY22" fmla="*/ 75932 h 638175"/>
                <a:gd name="connsiteX23" fmla="*/ 393175 w 914400"/>
                <a:gd name="connsiteY23" fmla="*/ 87004 h 638175"/>
                <a:gd name="connsiteX24" fmla="*/ 385793 w 914400"/>
                <a:gd name="connsiteY24" fmla="*/ 94385 h 638175"/>
                <a:gd name="connsiteX25" fmla="*/ 378421 w 914400"/>
                <a:gd name="connsiteY25" fmla="*/ 98075 h 638175"/>
                <a:gd name="connsiteX26" fmla="*/ 378421 w 914400"/>
                <a:gd name="connsiteY26" fmla="*/ 101766 h 638175"/>
                <a:gd name="connsiteX27" fmla="*/ 374725 w 914400"/>
                <a:gd name="connsiteY27" fmla="*/ 101766 h 638175"/>
                <a:gd name="connsiteX28" fmla="*/ 371039 w 914400"/>
                <a:gd name="connsiteY28" fmla="*/ 105456 h 638175"/>
                <a:gd name="connsiteX29" fmla="*/ 367353 w 914400"/>
                <a:gd name="connsiteY29" fmla="*/ 105456 h 638175"/>
                <a:gd name="connsiteX30" fmla="*/ 363667 w 914400"/>
                <a:gd name="connsiteY30" fmla="*/ 109147 h 638175"/>
                <a:gd name="connsiteX31" fmla="*/ 363667 w 914400"/>
                <a:gd name="connsiteY31" fmla="*/ 112837 h 638175"/>
                <a:gd name="connsiteX32" fmla="*/ 359971 w 914400"/>
                <a:gd name="connsiteY32" fmla="*/ 112837 h 638175"/>
                <a:gd name="connsiteX33" fmla="*/ 359971 w 914400"/>
                <a:gd name="connsiteY33" fmla="*/ 116528 h 638175"/>
                <a:gd name="connsiteX34" fmla="*/ 356285 w 914400"/>
                <a:gd name="connsiteY34" fmla="*/ 116528 h 638175"/>
                <a:gd name="connsiteX35" fmla="*/ 352599 w 914400"/>
                <a:gd name="connsiteY35" fmla="*/ 116528 h 638175"/>
                <a:gd name="connsiteX36" fmla="*/ 345217 w 914400"/>
                <a:gd name="connsiteY36" fmla="*/ 120218 h 638175"/>
                <a:gd name="connsiteX37" fmla="*/ 341531 w 914400"/>
                <a:gd name="connsiteY37" fmla="*/ 123909 h 638175"/>
                <a:gd name="connsiteX38" fmla="*/ 337835 w 914400"/>
                <a:gd name="connsiteY38" fmla="*/ 123909 h 638175"/>
                <a:gd name="connsiteX39" fmla="*/ 334149 w 914400"/>
                <a:gd name="connsiteY39" fmla="*/ 127597 h 638175"/>
                <a:gd name="connsiteX40" fmla="*/ 326767 w 914400"/>
                <a:gd name="connsiteY40" fmla="*/ 131293 h 638175"/>
                <a:gd name="connsiteX41" fmla="*/ 323081 w 914400"/>
                <a:gd name="connsiteY41" fmla="*/ 131293 h 638175"/>
                <a:gd name="connsiteX42" fmla="*/ 319395 w 914400"/>
                <a:gd name="connsiteY42" fmla="*/ 134979 h 638175"/>
                <a:gd name="connsiteX43" fmla="*/ 315699 w 914400"/>
                <a:gd name="connsiteY43" fmla="*/ 138675 h 638175"/>
                <a:gd name="connsiteX44" fmla="*/ 315699 w 914400"/>
                <a:gd name="connsiteY44" fmla="*/ 142361 h 638175"/>
                <a:gd name="connsiteX45" fmla="*/ 312013 w 914400"/>
                <a:gd name="connsiteY45" fmla="*/ 142361 h 638175"/>
                <a:gd name="connsiteX46" fmla="*/ 308326 w 914400"/>
                <a:gd name="connsiteY46" fmla="*/ 142361 h 638175"/>
                <a:gd name="connsiteX47" fmla="*/ 308326 w 914400"/>
                <a:gd name="connsiteY47" fmla="*/ 146057 h 638175"/>
                <a:gd name="connsiteX48" fmla="*/ 308326 w 914400"/>
                <a:gd name="connsiteY48" fmla="*/ 149743 h 638175"/>
                <a:gd name="connsiteX49" fmla="*/ 304631 w 914400"/>
                <a:gd name="connsiteY49" fmla="*/ 149743 h 638175"/>
                <a:gd name="connsiteX50" fmla="*/ 304631 w 914400"/>
                <a:gd name="connsiteY50" fmla="*/ 153439 h 638175"/>
                <a:gd name="connsiteX51" fmla="*/ 300945 w 914400"/>
                <a:gd name="connsiteY51" fmla="*/ 153439 h 638175"/>
                <a:gd name="connsiteX52" fmla="*/ 300945 w 914400"/>
                <a:gd name="connsiteY52" fmla="*/ 157125 h 638175"/>
                <a:gd name="connsiteX53" fmla="*/ 297258 w 914400"/>
                <a:gd name="connsiteY53" fmla="*/ 157125 h 638175"/>
                <a:gd name="connsiteX54" fmla="*/ 297258 w 914400"/>
                <a:gd name="connsiteY54" fmla="*/ 160811 h 638175"/>
                <a:gd name="connsiteX55" fmla="*/ 289877 w 914400"/>
                <a:gd name="connsiteY55" fmla="*/ 164507 h 638175"/>
                <a:gd name="connsiteX56" fmla="*/ 286190 w 914400"/>
                <a:gd name="connsiteY56" fmla="*/ 168193 h 638175"/>
                <a:gd name="connsiteX57" fmla="*/ 282504 w 914400"/>
                <a:gd name="connsiteY57" fmla="*/ 171889 h 638175"/>
                <a:gd name="connsiteX58" fmla="*/ 282504 w 914400"/>
                <a:gd name="connsiteY58" fmla="*/ 175575 h 638175"/>
                <a:gd name="connsiteX59" fmla="*/ 278808 w 914400"/>
                <a:gd name="connsiteY59" fmla="*/ 182957 h 638175"/>
                <a:gd name="connsiteX60" fmla="*/ 278808 w 914400"/>
                <a:gd name="connsiteY60" fmla="*/ 190338 h 638175"/>
                <a:gd name="connsiteX61" fmla="*/ 275122 w 914400"/>
                <a:gd name="connsiteY61" fmla="*/ 197720 h 638175"/>
                <a:gd name="connsiteX62" fmla="*/ 275122 w 914400"/>
                <a:gd name="connsiteY62" fmla="*/ 201407 h 638175"/>
                <a:gd name="connsiteX63" fmla="*/ 271436 w 914400"/>
                <a:gd name="connsiteY63" fmla="*/ 208788 h 638175"/>
                <a:gd name="connsiteX64" fmla="*/ 267740 w 914400"/>
                <a:gd name="connsiteY64" fmla="*/ 212484 h 638175"/>
                <a:gd name="connsiteX65" fmla="*/ 252986 w 914400"/>
                <a:gd name="connsiteY65" fmla="*/ 212484 h 638175"/>
                <a:gd name="connsiteX66" fmla="*/ 249300 w 914400"/>
                <a:gd name="connsiteY66" fmla="*/ 212484 h 638175"/>
                <a:gd name="connsiteX67" fmla="*/ 241918 w 914400"/>
                <a:gd name="connsiteY67" fmla="*/ 219866 h 638175"/>
                <a:gd name="connsiteX68" fmla="*/ 238232 w 914400"/>
                <a:gd name="connsiteY68" fmla="*/ 216170 h 638175"/>
                <a:gd name="connsiteX69" fmla="*/ 234536 w 914400"/>
                <a:gd name="connsiteY69" fmla="*/ 219866 h 638175"/>
                <a:gd name="connsiteX70" fmla="*/ 223478 w 914400"/>
                <a:gd name="connsiteY70" fmla="*/ 223552 h 638175"/>
                <a:gd name="connsiteX71" fmla="*/ 216096 w 914400"/>
                <a:gd name="connsiteY71" fmla="*/ 223552 h 638175"/>
                <a:gd name="connsiteX72" fmla="*/ 212410 w 914400"/>
                <a:gd name="connsiteY72" fmla="*/ 227248 h 638175"/>
                <a:gd name="connsiteX73" fmla="*/ 205028 w 914400"/>
                <a:gd name="connsiteY73" fmla="*/ 227248 h 638175"/>
                <a:gd name="connsiteX74" fmla="*/ 201342 w 914400"/>
                <a:gd name="connsiteY74" fmla="*/ 245698 h 638175"/>
                <a:gd name="connsiteX75" fmla="*/ 201342 w 914400"/>
                <a:gd name="connsiteY75" fmla="*/ 249384 h 638175"/>
                <a:gd name="connsiteX76" fmla="*/ 208714 w 914400"/>
                <a:gd name="connsiteY76" fmla="*/ 253080 h 638175"/>
                <a:gd name="connsiteX77" fmla="*/ 208714 w 914400"/>
                <a:gd name="connsiteY77" fmla="*/ 249384 h 638175"/>
                <a:gd name="connsiteX78" fmla="*/ 223478 w 914400"/>
                <a:gd name="connsiteY78" fmla="*/ 260461 h 638175"/>
                <a:gd name="connsiteX79" fmla="*/ 223478 w 914400"/>
                <a:gd name="connsiteY79" fmla="*/ 264148 h 638175"/>
                <a:gd name="connsiteX80" fmla="*/ 223478 w 914400"/>
                <a:gd name="connsiteY80" fmla="*/ 267843 h 638175"/>
                <a:gd name="connsiteX81" fmla="*/ 223478 w 914400"/>
                <a:gd name="connsiteY81" fmla="*/ 271530 h 638175"/>
                <a:gd name="connsiteX82" fmla="*/ 223478 w 914400"/>
                <a:gd name="connsiteY82" fmla="*/ 275225 h 638175"/>
                <a:gd name="connsiteX83" fmla="*/ 223478 w 914400"/>
                <a:gd name="connsiteY83" fmla="*/ 286293 h 638175"/>
                <a:gd name="connsiteX84" fmla="*/ 227164 w 914400"/>
                <a:gd name="connsiteY84" fmla="*/ 289989 h 638175"/>
                <a:gd name="connsiteX85" fmla="*/ 245604 w 914400"/>
                <a:gd name="connsiteY85" fmla="*/ 289989 h 638175"/>
                <a:gd name="connsiteX86" fmla="*/ 245604 w 914400"/>
                <a:gd name="connsiteY86" fmla="*/ 293675 h 638175"/>
                <a:gd name="connsiteX87" fmla="*/ 241918 w 914400"/>
                <a:gd name="connsiteY87" fmla="*/ 293675 h 638175"/>
                <a:gd name="connsiteX88" fmla="*/ 245604 w 914400"/>
                <a:gd name="connsiteY88" fmla="*/ 297361 h 638175"/>
                <a:gd name="connsiteX89" fmla="*/ 245604 w 914400"/>
                <a:gd name="connsiteY89" fmla="*/ 301057 h 638175"/>
                <a:gd name="connsiteX90" fmla="*/ 245604 w 914400"/>
                <a:gd name="connsiteY90" fmla="*/ 304743 h 638175"/>
                <a:gd name="connsiteX91" fmla="*/ 249300 w 914400"/>
                <a:gd name="connsiteY91" fmla="*/ 304743 h 638175"/>
                <a:gd name="connsiteX92" fmla="*/ 252986 w 914400"/>
                <a:gd name="connsiteY92" fmla="*/ 304743 h 638175"/>
                <a:gd name="connsiteX93" fmla="*/ 252986 w 914400"/>
                <a:gd name="connsiteY93" fmla="*/ 312125 h 638175"/>
                <a:gd name="connsiteX94" fmla="*/ 260368 w 914400"/>
                <a:gd name="connsiteY94" fmla="*/ 312125 h 638175"/>
                <a:gd name="connsiteX95" fmla="*/ 260368 w 914400"/>
                <a:gd name="connsiteY95" fmla="*/ 315821 h 638175"/>
                <a:gd name="connsiteX96" fmla="*/ 260368 w 914400"/>
                <a:gd name="connsiteY96" fmla="*/ 319507 h 638175"/>
                <a:gd name="connsiteX97" fmla="*/ 252986 w 914400"/>
                <a:gd name="connsiteY97" fmla="*/ 319507 h 638175"/>
                <a:gd name="connsiteX98" fmla="*/ 252986 w 914400"/>
                <a:gd name="connsiteY98" fmla="*/ 323203 h 638175"/>
                <a:gd name="connsiteX99" fmla="*/ 252986 w 914400"/>
                <a:gd name="connsiteY99" fmla="*/ 326889 h 638175"/>
                <a:gd name="connsiteX100" fmla="*/ 256672 w 914400"/>
                <a:gd name="connsiteY100" fmla="*/ 326889 h 638175"/>
                <a:gd name="connsiteX101" fmla="*/ 256672 w 914400"/>
                <a:gd name="connsiteY101" fmla="*/ 330585 h 638175"/>
                <a:gd name="connsiteX102" fmla="*/ 252986 w 914400"/>
                <a:gd name="connsiteY102" fmla="*/ 330585 h 638175"/>
                <a:gd name="connsiteX103" fmla="*/ 249300 w 914400"/>
                <a:gd name="connsiteY103" fmla="*/ 330585 h 638175"/>
                <a:gd name="connsiteX104" fmla="*/ 249300 w 914400"/>
                <a:gd name="connsiteY104" fmla="*/ 334271 h 638175"/>
                <a:gd name="connsiteX105" fmla="*/ 245604 w 914400"/>
                <a:gd name="connsiteY105" fmla="*/ 337966 h 638175"/>
                <a:gd name="connsiteX106" fmla="*/ 245604 w 914400"/>
                <a:gd name="connsiteY106" fmla="*/ 345339 h 638175"/>
                <a:gd name="connsiteX107" fmla="*/ 245604 w 914400"/>
                <a:gd name="connsiteY107" fmla="*/ 349035 h 638175"/>
                <a:gd name="connsiteX108" fmla="*/ 241918 w 914400"/>
                <a:gd name="connsiteY108" fmla="*/ 352721 h 638175"/>
                <a:gd name="connsiteX109" fmla="*/ 238232 w 914400"/>
                <a:gd name="connsiteY109" fmla="*/ 356416 h 638175"/>
                <a:gd name="connsiteX110" fmla="*/ 234536 w 914400"/>
                <a:gd name="connsiteY110" fmla="*/ 356416 h 638175"/>
                <a:gd name="connsiteX111" fmla="*/ 234536 w 914400"/>
                <a:gd name="connsiteY111" fmla="*/ 360103 h 638175"/>
                <a:gd name="connsiteX112" fmla="*/ 238232 w 914400"/>
                <a:gd name="connsiteY112" fmla="*/ 363798 h 638175"/>
                <a:gd name="connsiteX113" fmla="*/ 245604 w 914400"/>
                <a:gd name="connsiteY113" fmla="*/ 367484 h 638175"/>
                <a:gd name="connsiteX114" fmla="*/ 249300 w 914400"/>
                <a:gd name="connsiteY114" fmla="*/ 367484 h 638175"/>
                <a:gd name="connsiteX115" fmla="*/ 252986 w 914400"/>
                <a:gd name="connsiteY115" fmla="*/ 367484 h 638175"/>
                <a:gd name="connsiteX116" fmla="*/ 256672 w 914400"/>
                <a:gd name="connsiteY116" fmla="*/ 363798 h 638175"/>
                <a:gd name="connsiteX117" fmla="*/ 260368 w 914400"/>
                <a:gd name="connsiteY117" fmla="*/ 360103 h 638175"/>
                <a:gd name="connsiteX118" fmla="*/ 264054 w 914400"/>
                <a:gd name="connsiteY118" fmla="*/ 360103 h 638175"/>
                <a:gd name="connsiteX119" fmla="*/ 267740 w 914400"/>
                <a:gd name="connsiteY119" fmla="*/ 356416 h 638175"/>
                <a:gd name="connsiteX120" fmla="*/ 267740 w 914400"/>
                <a:gd name="connsiteY120" fmla="*/ 352721 h 638175"/>
                <a:gd name="connsiteX121" fmla="*/ 271436 w 914400"/>
                <a:gd name="connsiteY121" fmla="*/ 352721 h 638175"/>
                <a:gd name="connsiteX122" fmla="*/ 271436 w 914400"/>
                <a:gd name="connsiteY122" fmla="*/ 349035 h 638175"/>
                <a:gd name="connsiteX123" fmla="*/ 271436 w 914400"/>
                <a:gd name="connsiteY123" fmla="*/ 345339 h 638175"/>
                <a:gd name="connsiteX124" fmla="*/ 267740 w 914400"/>
                <a:gd name="connsiteY124" fmla="*/ 341653 h 638175"/>
                <a:gd name="connsiteX125" fmla="*/ 278808 w 914400"/>
                <a:gd name="connsiteY125" fmla="*/ 337966 h 638175"/>
                <a:gd name="connsiteX126" fmla="*/ 282504 w 914400"/>
                <a:gd name="connsiteY126" fmla="*/ 345339 h 638175"/>
                <a:gd name="connsiteX127" fmla="*/ 282504 w 914400"/>
                <a:gd name="connsiteY127" fmla="*/ 349035 h 638175"/>
                <a:gd name="connsiteX128" fmla="*/ 282504 w 914400"/>
                <a:gd name="connsiteY128" fmla="*/ 352721 h 638175"/>
                <a:gd name="connsiteX129" fmla="*/ 282504 w 914400"/>
                <a:gd name="connsiteY129" fmla="*/ 356416 h 638175"/>
                <a:gd name="connsiteX130" fmla="*/ 286190 w 914400"/>
                <a:gd name="connsiteY130" fmla="*/ 360103 h 638175"/>
                <a:gd name="connsiteX131" fmla="*/ 282504 w 914400"/>
                <a:gd name="connsiteY131" fmla="*/ 363798 h 638175"/>
                <a:gd name="connsiteX132" fmla="*/ 282504 w 914400"/>
                <a:gd name="connsiteY132" fmla="*/ 367484 h 638175"/>
                <a:gd name="connsiteX133" fmla="*/ 282504 w 914400"/>
                <a:gd name="connsiteY133" fmla="*/ 385944 h 638175"/>
                <a:gd name="connsiteX134" fmla="*/ 289877 w 914400"/>
                <a:gd name="connsiteY134" fmla="*/ 385944 h 638175"/>
                <a:gd name="connsiteX135" fmla="*/ 289877 w 914400"/>
                <a:gd name="connsiteY135" fmla="*/ 389630 h 638175"/>
                <a:gd name="connsiteX136" fmla="*/ 286190 w 914400"/>
                <a:gd name="connsiteY136" fmla="*/ 389630 h 638175"/>
                <a:gd name="connsiteX137" fmla="*/ 297258 w 914400"/>
                <a:gd name="connsiteY137" fmla="*/ 397012 h 638175"/>
                <a:gd name="connsiteX138" fmla="*/ 297258 w 914400"/>
                <a:gd name="connsiteY138" fmla="*/ 408080 h 638175"/>
                <a:gd name="connsiteX139" fmla="*/ 297258 w 914400"/>
                <a:gd name="connsiteY139" fmla="*/ 411776 h 638175"/>
                <a:gd name="connsiteX140" fmla="*/ 297258 w 914400"/>
                <a:gd name="connsiteY140" fmla="*/ 415462 h 638175"/>
                <a:gd name="connsiteX141" fmla="*/ 297258 w 914400"/>
                <a:gd name="connsiteY141" fmla="*/ 419158 h 638175"/>
                <a:gd name="connsiteX142" fmla="*/ 300945 w 914400"/>
                <a:gd name="connsiteY142" fmla="*/ 422844 h 638175"/>
                <a:gd name="connsiteX143" fmla="*/ 304631 w 914400"/>
                <a:gd name="connsiteY143" fmla="*/ 426539 h 638175"/>
                <a:gd name="connsiteX144" fmla="*/ 308326 w 914400"/>
                <a:gd name="connsiteY144" fmla="*/ 426539 h 638175"/>
                <a:gd name="connsiteX145" fmla="*/ 308326 w 914400"/>
                <a:gd name="connsiteY145" fmla="*/ 430226 h 638175"/>
                <a:gd name="connsiteX146" fmla="*/ 312013 w 914400"/>
                <a:gd name="connsiteY146" fmla="*/ 437607 h 638175"/>
                <a:gd name="connsiteX147" fmla="*/ 312013 w 914400"/>
                <a:gd name="connsiteY147" fmla="*/ 441294 h 638175"/>
                <a:gd name="connsiteX148" fmla="*/ 315699 w 914400"/>
                <a:gd name="connsiteY148" fmla="*/ 444989 h 638175"/>
                <a:gd name="connsiteX149" fmla="*/ 312013 w 914400"/>
                <a:gd name="connsiteY149" fmla="*/ 448676 h 638175"/>
                <a:gd name="connsiteX150" fmla="*/ 315699 w 914400"/>
                <a:gd name="connsiteY150" fmla="*/ 452371 h 638175"/>
                <a:gd name="connsiteX151" fmla="*/ 315699 w 914400"/>
                <a:gd name="connsiteY151" fmla="*/ 456057 h 638175"/>
                <a:gd name="connsiteX152" fmla="*/ 315699 w 914400"/>
                <a:gd name="connsiteY152" fmla="*/ 459753 h 638175"/>
                <a:gd name="connsiteX153" fmla="*/ 312013 w 914400"/>
                <a:gd name="connsiteY153" fmla="*/ 463439 h 638175"/>
                <a:gd name="connsiteX154" fmla="*/ 304631 w 914400"/>
                <a:gd name="connsiteY154" fmla="*/ 467135 h 638175"/>
                <a:gd name="connsiteX155" fmla="*/ 297258 w 914400"/>
                <a:gd name="connsiteY155" fmla="*/ 463439 h 638175"/>
                <a:gd name="connsiteX156" fmla="*/ 286190 w 914400"/>
                <a:gd name="connsiteY156" fmla="*/ 459753 h 638175"/>
                <a:gd name="connsiteX157" fmla="*/ 278808 w 914400"/>
                <a:gd name="connsiteY157" fmla="*/ 456057 h 638175"/>
                <a:gd name="connsiteX158" fmla="*/ 275122 w 914400"/>
                <a:gd name="connsiteY158" fmla="*/ 448676 h 638175"/>
                <a:gd name="connsiteX159" fmla="*/ 271436 w 914400"/>
                <a:gd name="connsiteY159" fmla="*/ 448676 h 638175"/>
                <a:gd name="connsiteX160" fmla="*/ 267740 w 914400"/>
                <a:gd name="connsiteY160" fmla="*/ 448676 h 638175"/>
                <a:gd name="connsiteX161" fmla="*/ 264054 w 914400"/>
                <a:gd name="connsiteY161" fmla="*/ 444989 h 638175"/>
                <a:gd name="connsiteX162" fmla="*/ 260368 w 914400"/>
                <a:gd name="connsiteY162" fmla="*/ 444989 h 638175"/>
                <a:gd name="connsiteX163" fmla="*/ 252986 w 914400"/>
                <a:gd name="connsiteY163" fmla="*/ 441294 h 638175"/>
                <a:gd name="connsiteX164" fmla="*/ 249300 w 914400"/>
                <a:gd name="connsiteY164" fmla="*/ 437607 h 638175"/>
                <a:gd name="connsiteX165" fmla="*/ 245604 w 914400"/>
                <a:gd name="connsiteY165" fmla="*/ 437607 h 638175"/>
                <a:gd name="connsiteX166" fmla="*/ 241918 w 914400"/>
                <a:gd name="connsiteY166" fmla="*/ 437607 h 638175"/>
                <a:gd name="connsiteX167" fmla="*/ 230850 w 914400"/>
                <a:gd name="connsiteY167" fmla="*/ 437607 h 638175"/>
                <a:gd name="connsiteX168" fmla="*/ 227164 w 914400"/>
                <a:gd name="connsiteY168" fmla="*/ 433921 h 638175"/>
                <a:gd name="connsiteX169" fmla="*/ 223478 w 914400"/>
                <a:gd name="connsiteY169" fmla="*/ 433921 h 638175"/>
                <a:gd name="connsiteX170" fmla="*/ 219782 w 914400"/>
                <a:gd name="connsiteY170" fmla="*/ 437607 h 638175"/>
                <a:gd name="connsiteX171" fmla="*/ 216096 w 914400"/>
                <a:gd name="connsiteY171" fmla="*/ 441294 h 638175"/>
                <a:gd name="connsiteX172" fmla="*/ 212410 w 914400"/>
                <a:gd name="connsiteY172" fmla="*/ 441294 h 638175"/>
                <a:gd name="connsiteX173" fmla="*/ 205028 w 914400"/>
                <a:gd name="connsiteY173" fmla="*/ 444989 h 638175"/>
                <a:gd name="connsiteX174" fmla="*/ 201342 w 914400"/>
                <a:gd name="connsiteY174" fmla="*/ 444989 h 638175"/>
                <a:gd name="connsiteX175" fmla="*/ 197646 w 914400"/>
                <a:gd name="connsiteY175" fmla="*/ 448676 h 638175"/>
                <a:gd name="connsiteX176" fmla="*/ 193960 w 914400"/>
                <a:gd name="connsiteY176" fmla="*/ 448676 h 638175"/>
                <a:gd name="connsiteX177" fmla="*/ 186578 w 914400"/>
                <a:gd name="connsiteY177" fmla="*/ 444989 h 638175"/>
                <a:gd name="connsiteX178" fmla="*/ 182892 w 914400"/>
                <a:gd name="connsiteY178" fmla="*/ 448676 h 638175"/>
                <a:gd name="connsiteX179" fmla="*/ 179206 w 914400"/>
                <a:gd name="connsiteY179" fmla="*/ 448676 h 638175"/>
                <a:gd name="connsiteX180" fmla="*/ 175510 w 914400"/>
                <a:gd name="connsiteY180" fmla="*/ 452371 h 638175"/>
                <a:gd name="connsiteX181" fmla="*/ 175510 w 914400"/>
                <a:gd name="connsiteY181" fmla="*/ 456057 h 638175"/>
                <a:gd name="connsiteX182" fmla="*/ 171824 w 914400"/>
                <a:gd name="connsiteY182" fmla="*/ 456057 h 638175"/>
                <a:gd name="connsiteX183" fmla="*/ 168138 w 914400"/>
                <a:gd name="connsiteY183" fmla="*/ 459753 h 638175"/>
                <a:gd name="connsiteX184" fmla="*/ 164442 w 914400"/>
                <a:gd name="connsiteY184" fmla="*/ 459753 h 638175"/>
                <a:gd name="connsiteX185" fmla="*/ 160756 w 914400"/>
                <a:gd name="connsiteY185" fmla="*/ 456057 h 638175"/>
                <a:gd name="connsiteX186" fmla="*/ 157069 w 914400"/>
                <a:gd name="connsiteY186" fmla="*/ 452371 h 638175"/>
                <a:gd name="connsiteX187" fmla="*/ 146001 w 914400"/>
                <a:gd name="connsiteY187" fmla="*/ 452371 h 638175"/>
                <a:gd name="connsiteX188" fmla="*/ 142315 w 914400"/>
                <a:gd name="connsiteY188" fmla="*/ 452371 h 638175"/>
                <a:gd name="connsiteX189" fmla="*/ 134933 w 914400"/>
                <a:gd name="connsiteY189" fmla="*/ 444989 h 638175"/>
                <a:gd name="connsiteX190" fmla="*/ 127554 w 914400"/>
                <a:gd name="connsiteY190" fmla="*/ 441294 h 638175"/>
                <a:gd name="connsiteX191" fmla="*/ 123865 w 914400"/>
                <a:gd name="connsiteY191" fmla="*/ 441294 h 638175"/>
                <a:gd name="connsiteX192" fmla="*/ 120176 w 914400"/>
                <a:gd name="connsiteY192" fmla="*/ 441294 h 638175"/>
                <a:gd name="connsiteX193" fmla="*/ 120176 w 914400"/>
                <a:gd name="connsiteY193" fmla="*/ 448676 h 638175"/>
                <a:gd name="connsiteX194" fmla="*/ 116487 w 914400"/>
                <a:gd name="connsiteY194" fmla="*/ 452371 h 638175"/>
                <a:gd name="connsiteX195" fmla="*/ 112798 w 914400"/>
                <a:gd name="connsiteY195" fmla="*/ 456057 h 638175"/>
                <a:gd name="connsiteX196" fmla="*/ 109108 w 914400"/>
                <a:gd name="connsiteY196" fmla="*/ 456057 h 638175"/>
                <a:gd name="connsiteX197" fmla="*/ 105419 w 914400"/>
                <a:gd name="connsiteY197" fmla="*/ 456057 h 638175"/>
                <a:gd name="connsiteX198" fmla="*/ 101730 w 914400"/>
                <a:gd name="connsiteY198" fmla="*/ 452371 h 638175"/>
                <a:gd name="connsiteX199" fmla="*/ 98041 w 914400"/>
                <a:gd name="connsiteY199" fmla="*/ 448676 h 638175"/>
                <a:gd name="connsiteX200" fmla="*/ 94352 w 914400"/>
                <a:gd name="connsiteY200" fmla="*/ 456057 h 638175"/>
                <a:gd name="connsiteX201" fmla="*/ 90663 w 914400"/>
                <a:gd name="connsiteY201" fmla="*/ 467135 h 638175"/>
                <a:gd name="connsiteX202" fmla="*/ 83284 w 914400"/>
                <a:gd name="connsiteY202" fmla="*/ 474517 h 638175"/>
                <a:gd name="connsiteX203" fmla="*/ 79595 w 914400"/>
                <a:gd name="connsiteY203" fmla="*/ 478203 h 638175"/>
                <a:gd name="connsiteX204" fmla="*/ 83284 w 914400"/>
                <a:gd name="connsiteY204" fmla="*/ 478203 h 638175"/>
                <a:gd name="connsiteX205" fmla="*/ 79595 w 914400"/>
                <a:gd name="connsiteY205" fmla="*/ 481899 h 638175"/>
                <a:gd name="connsiteX206" fmla="*/ 75906 w 914400"/>
                <a:gd name="connsiteY206" fmla="*/ 489271 h 638175"/>
                <a:gd name="connsiteX207" fmla="*/ 72217 w 914400"/>
                <a:gd name="connsiteY207" fmla="*/ 489271 h 638175"/>
                <a:gd name="connsiteX208" fmla="*/ 72217 w 914400"/>
                <a:gd name="connsiteY208" fmla="*/ 492967 h 638175"/>
                <a:gd name="connsiteX209" fmla="*/ 68528 w 914400"/>
                <a:gd name="connsiteY209" fmla="*/ 504035 h 638175"/>
                <a:gd name="connsiteX210" fmla="*/ 64839 w 914400"/>
                <a:gd name="connsiteY210" fmla="*/ 507730 h 638175"/>
                <a:gd name="connsiteX211" fmla="*/ 64839 w 914400"/>
                <a:gd name="connsiteY211" fmla="*/ 511417 h 638175"/>
                <a:gd name="connsiteX212" fmla="*/ 61149 w 914400"/>
                <a:gd name="connsiteY212" fmla="*/ 511417 h 638175"/>
                <a:gd name="connsiteX213" fmla="*/ 53771 w 914400"/>
                <a:gd name="connsiteY213" fmla="*/ 511417 h 638175"/>
                <a:gd name="connsiteX214" fmla="*/ 50082 w 914400"/>
                <a:gd name="connsiteY214" fmla="*/ 511417 h 638175"/>
                <a:gd name="connsiteX215" fmla="*/ 50082 w 914400"/>
                <a:gd name="connsiteY215" fmla="*/ 518799 h 638175"/>
                <a:gd name="connsiteX216" fmla="*/ 46393 w 914400"/>
                <a:gd name="connsiteY216" fmla="*/ 522494 h 638175"/>
                <a:gd name="connsiteX217" fmla="*/ 42704 w 914400"/>
                <a:gd name="connsiteY217" fmla="*/ 522494 h 638175"/>
                <a:gd name="connsiteX218" fmla="*/ 39014 w 914400"/>
                <a:gd name="connsiteY218" fmla="*/ 522494 h 638175"/>
                <a:gd name="connsiteX219" fmla="*/ 35325 w 914400"/>
                <a:gd name="connsiteY219" fmla="*/ 522494 h 638175"/>
                <a:gd name="connsiteX220" fmla="*/ 35325 w 914400"/>
                <a:gd name="connsiteY220" fmla="*/ 526180 h 638175"/>
                <a:gd name="connsiteX221" fmla="*/ 35325 w 914400"/>
                <a:gd name="connsiteY221" fmla="*/ 529876 h 638175"/>
                <a:gd name="connsiteX222" fmla="*/ 39014 w 914400"/>
                <a:gd name="connsiteY222" fmla="*/ 533562 h 638175"/>
                <a:gd name="connsiteX223" fmla="*/ 39014 w 914400"/>
                <a:gd name="connsiteY223" fmla="*/ 537248 h 638175"/>
                <a:gd name="connsiteX224" fmla="*/ 35325 w 914400"/>
                <a:gd name="connsiteY224" fmla="*/ 537248 h 638175"/>
                <a:gd name="connsiteX225" fmla="*/ 31636 w 914400"/>
                <a:gd name="connsiteY225" fmla="*/ 533562 h 638175"/>
                <a:gd name="connsiteX226" fmla="*/ 20569 w 914400"/>
                <a:gd name="connsiteY226" fmla="*/ 537248 h 638175"/>
                <a:gd name="connsiteX227" fmla="*/ 16879 w 914400"/>
                <a:gd name="connsiteY227" fmla="*/ 533562 h 638175"/>
                <a:gd name="connsiteX228" fmla="*/ 9501 w 914400"/>
                <a:gd name="connsiteY228" fmla="*/ 537248 h 638175"/>
                <a:gd name="connsiteX229" fmla="*/ 5812 w 914400"/>
                <a:gd name="connsiteY229" fmla="*/ 533562 h 638175"/>
                <a:gd name="connsiteX230" fmla="*/ 5812 w 914400"/>
                <a:gd name="connsiteY230" fmla="*/ 537248 h 638175"/>
                <a:gd name="connsiteX231" fmla="*/ 5812 w 914400"/>
                <a:gd name="connsiteY231" fmla="*/ 540944 h 638175"/>
                <a:gd name="connsiteX232" fmla="*/ 9501 w 914400"/>
                <a:gd name="connsiteY232" fmla="*/ 544630 h 638175"/>
                <a:gd name="connsiteX233" fmla="*/ 5812 w 914400"/>
                <a:gd name="connsiteY233" fmla="*/ 544630 h 638175"/>
                <a:gd name="connsiteX234" fmla="*/ 9501 w 914400"/>
                <a:gd name="connsiteY234" fmla="*/ 548326 h 638175"/>
                <a:gd name="connsiteX235" fmla="*/ 13190 w 914400"/>
                <a:gd name="connsiteY235" fmla="*/ 548326 h 638175"/>
                <a:gd name="connsiteX236" fmla="*/ 16879 w 914400"/>
                <a:gd name="connsiteY236" fmla="*/ 548326 h 638175"/>
                <a:gd name="connsiteX237" fmla="*/ 24258 w 914400"/>
                <a:gd name="connsiteY237" fmla="*/ 548326 h 638175"/>
                <a:gd name="connsiteX238" fmla="*/ 20569 w 914400"/>
                <a:gd name="connsiteY238" fmla="*/ 563090 h 638175"/>
                <a:gd name="connsiteX239" fmla="*/ 20569 w 914400"/>
                <a:gd name="connsiteY239" fmla="*/ 566776 h 638175"/>
                <a:gd name="connsiteX240" fmla="*/ 13190 w 914400"/>
                <a:gd name="connsiteY240" fmla="*/ 566776 h 638175"/>
                <a:gd name="connsiteX241" fmla="*/ 13190 w 914400"/>
                <a:gd name="connsiteY241" fmla="*/ 570472 h 638175"/>
                <a:gd name="connsiteX242" fmla="*/ 13190 w 914400"/>
                <a:gd name="connsiteY242" fmla="*/ 574158 h 638175"/>
                <a:gd name="connsiteX243" fmla="*/ 16879 w 914400"/>
                <a:gd name="connsiteY243" fmla="*/ 574158 h 638175"/>
                <a:gd name="connsiteX244" fmla="*/ 20569 w 914400"/>
                <a:gd name="connsiteY244" fmla="*/ 577854 h 638175"/>
                <a:gd name="connsiteX245" fmla="*/ 27947 w 914400"/>
                <a:gd name="connsiteY245" fmla="*/ 581540 h 638175"/>
                <a:gd name="connsiteX246" fmla="*/ 31636 w 914400"/>
                <a:gd name="connsiteY246" fmla="*/ 585226 h 638175"/>
                <a:gd name="connsiteX247" fmla="*/ 35325 w 914400"/>
                <a:gd name="connsiteY247" fmla="*/ 585226 h 638175"/>
                <a:gd name="connsiteX248" fmla="*/ 35325 w 914400"/>
                <a:gd name="connsiteY248" fmla="*/ 588922 h 638175"/>
                <a:gd name="connsiteX249" fmla="*/ 39014 w 914400"/>
                <a:gd name="connsiteY249" fmla="*/ 592608 h 638175"/>
                <a:gd name="connsiteX250" fmla="*/ 39014 w 914400"/>
                <a:gd name="connsiteY250" fmla="*/ 596303 h 638175"/>
                <a:gd name="connsiteX251" fmla="*/ 42704 w 914400"/>
                <a:gd name="connsiteY251" fmla="*/ 596303 h 638175"/>
                <a:gd name="connsiteX252" fmla="*/ 42704 w 914400"/>
                <a:gd name="connsiteY252" fmla="*/ 599990 h 638175"/>
                <a:gd name="connsiteX253" fmla="*/ 46393 w 914400"/>
                <a:gd name="connsiteY253" fmla="*/ 599990 h 638175"/>
                <a:gd name="connsiteX254" fmla="*/ 50082 w 914400"/>
                <a:gd name="connsiteY254" fmla="*/ 596303 h 638175"/>
                <a:gd name="connsiteX255" fmla="*/ 53771 w 914400"/>
                <a:gd name="connsiteY255" fmla="*/ 592608 h 638175"/>
                <a:gd name="connsiteX256" fmla="*/ 57460 w 914400"/>
                <a:gd name="connsiteY256" fmla="*/ 592608 h 638175"/>
                <a:gd name="connsiteX257" fmla="*/ 61149 w 914400"/>
                <a:gd name="connsiteY257" fmla="*/ 596303 h 638175"/>
                <a:gd name="connsiteX258" fmla="*/ 64839 w 914400"/>
                <a:gd name="connsiteY258" fmla="*/ 599990 h 638175"/>
                <a:gd name="connsiteX259" fmla="*/ 75906 w 914400"/>
                <a:gd name="connsiteY259" fmla="*/ 603685 h 638175"/>
                <a:gd name="connsiteX260" fmla="*/ 75906 w 914400"/>
                <a:gd name="connsiteY260" fmla="*/ 607372 h 638175"/>
                <a:gd name="connsiteX261" fmla="*/ 75906 w 914400"/>
                <a:gd name="connsiteY261" fmla="*/ 611067 h 638175"/>
                <a:gd name="connsiteX262" fmla="*/ 75906 w 914400"/>
                <a:gd name="connsiteY262" fmla="*/ 614753 h 638175"/>
                <a:gd name="connsiteX263" fmla="*/ 79595 w 914400"/>
                <a:gd name="connsiteY263" fmla="*/ 618449 h 638175"/>
                <a:gd name="connsiteX264" fmla="*/ 75906 w 914400"/>
                <a:gd name="connsiteY264" fmla="*/ 622135 h 638175"/>
                <a:gd name="connsiteX265" fmla="*/ 72217 w 914400"/>
                <a:gd name="connsiteY265" fmla="*/ 625831 h 638175"/>
                <a:gd name="connsiteX266" fmla="*/ 68528 w 914400"/>
                <a:gd name="connsiteY266" fmla="*/ 625831 h 638175"/>
                <a:gd name="connsiteX267" fmla="*/ 68528 w 914400"/>
                <a:gd name="connsiteY267" fmla="*/ 629517 h 638175"/>
                <a:gd name="connsiteX268" fmla="*/ 72217 w 914400"/>
                <a:gd name="connsiteY268" fmla="*/ 633203 h 638175"/>
                <a:gd name="connsiteX269" fmla="*/ 79595 w 914400"/>
                <a:gd name="connsiteY269" fmla="*/ 629517 h 638175"/>
                <a:gd name="connsiteX270" fmla="*/ 86973 w 914400"/>
                <a:gd name="connsiteY270" fmla="*/ 629517 h 638175"/>
                <a:gd name="connsiteX271" fmla="*/ 94352 w 914400"/>
                <a:gd name="connsiteY271" fmla="*/ 629517 h 638175"/>
                <a:gd name="connsiteX272" fmla="*/ 98041 w 914400"/>
                <a:gd name="connsiteY272" fmla="*/ 629517 h 638175"/>
                <a:gd name="connsiteX273" fmla="*/ 105419 w 914400"/>
                <a:gd name="connsiteY273" fmla="*/ 629517 h 638175"/>
                <a:gd name="connsiteX274" fmla="*/ 109108 w 914400"/>
                <a:gd name="connsiteY274" fmla="*/ 629517 h 638175"/>
                <a:gd name="connsiteX275" fmla="*/ 112798 w 914400"/>
                <a:gd name="connsiteY275" fmla="*/ 629517 h 638175"/>
                <a:gd name="connsiteX276" fmla="*/ 116487 w 914400"/>
                <a:gd name="connsiteY276" fmla="*/ 625831 h 638175"/>
                <a:gd name="connsiteX277" fmla="*/ 120176 w 914400"/>
                <a:gd name="connsiteY277" fmla="*/ 629517 h 638175"/>
                <a:gd name="connsiteX278" fmla="*/ 127554 w 914400"/>
                <a:gd name="connsiteY278" fmla="*/ 633203 h 638175"/>
                <a:gd name="connsiteX279" fmla="*/ 131243 w 914400"/>
                <a:gd name="connsiteY279" fmla="*/ 636899 h 638175"/>
                <a:gd name="connsiteX280" fmla="*/ 134933 w 914400"/>
                <a:gd name="connsiteY280" fmla="*/ 633203 h 638175"/>
                <a:gd name="connsiteX281" fmla="*/ 138620 w 914400"/>
                <a:gd name="connsiteY281" fmla="*/ 629517 h 638175"/>
                <a:gd name="connsiteX282" fmla="*/ 146001 w 914400"/>
                <a:gd name="connsiteY282" fmla="*/ 629517 h 638175"/>
                <a:gd name="connsiteX283" fmla="*/ 153383 w 914400"/>
                <a:gd name="connsiteY283" fmla="*/ 633203 h 638175"/>
                <a:gd name="connsiteX284" fmla="*/ 157069 w 914400"/>
                <a:gd name="connsiteY284" fmla="*/ 633203 h 638175"/>
                <a:gd name="connsiteX285" fmla="*/ 157069 w 914400"/>
                <a:gd name="connsiteY285" fmla="*/ 629517 h 638175"/>
                <a:gd name="connsiteX286" fmla="*/ 164442 w 914400"/>
                <a:gd name="connsiteY286" fmla="*/ 625831 h 638175"/>
                <a:gd name="connsiteX287" fmla="*/ 182892 w 914400"/>
                <a:gd name="connsiteY287" fmla="*/ 618449 h 638175"/>
                <a:gd name="connsiteX288" fmla="*/ 182892 w 914400"/>
                <a:gd name="connsiteY288" fmla="*/ 614753 h 638175"/>
                <a:gd name="connsiteX289" fmla="*/ 186578 w 914400"/>
                <a:gd name="connsiteY289" fmla="*/ 614753 h 638175"/>
                <a:gd name="connsiteX290" fmla="*/ 186578 w 914400"/>
                <a:gd name="connsiteY290" fmla="*/ 607372 h 638175"/>
                <a:gd name="connsiteX291" fmla="*/ 186578 w 914400"/>
                <a:gd name="connsiteY291" fmla="*/ 599990 h 638175"/>
                <a:gd name="connsiteX292" fmla="*/ 190274 w 914400"/>
                <a:gd name="connsiteY292" fmla="*/ 592608 h 638175"/>
                <a:gd name="connsiteX293" fmla="*/ 190274 w 914400"/>
                <a:gd name="connsiteY293" fmla="*/ 588922 h 638175"/>
                <a:gd name="connsiteX294" fmla="*/ 197646 w 914400"/>
                <a:gd name="connsiteY294" fmla="*/ 577854 h 638175"/>
                <a:gd name="connsiteX295" fmla="*/ 201342 w 914400"/>
                <a:gd name="connsiteY295" fmla="*/ 574158 h 638175"/>
                <a:gd name="connsiteX296" fmla="*/ 205028 w 914400"/>
                <a:gd name="connsiteY296" fmla="*/ 570472 h 638175"/>
                <a:gd name="connsiteX297" fmla="*/ 205028 w 914400"/>
                <a:gd name="connsiteY297" fmla="*/ 566776 h 638175"/>
                <a:gd name="connsiteX298" fmla="*/ 208714 w 914400"/>
                <a:gd name="connsiteY298" fmla="*/ 563090 h 638175"/>
                <a:gd name="connsiteX299" fmla="*/ 212410 w 914400"/>
                <a:gd name="connsiteY299" fmla="*/ 563090 h 638175"/>
                <a:gd name="connsiteX300" fmla="*/ 212410 w 914400"/>
                <a:gd name="connsiteY300" fmla="*/ 566776 h 638175"/>
                <a:gd name="connsiteX301" fmla="*/ 216096 w 914400"/>
                <a:gd name="connsiteY301" fmla="*/ 570472 h 638175"/>
                <a:gd name="connsiteX302" fmla="*/ 219782 w 914400"/>
                <a:gd name="connsiteY302" fmla="*/ 574158 h 638175"/>
                <a:gd name="connsiteX303" fmla="*/ 223478 w 914400"/>
                <a:gd name="connsiteY303" fmla="*/ 574158 h 638175"/>
                <a:gd name="connsiteX304" fmla="*/ 230850 w 914400"/>
                <a:gd name="connsiteY304" fmla="*/ 574158 h 638175"/>
                <a:gd name="connsiteX305" fmla="*/ 238232 w 914400"/>
                <a:gd name="connsiteY305" fmla="*/ 574158 h 638175"/>
                <a:gd name="connsiteX306" fmla="*/ 241918 w 914400"/>
                <a:gd name="connsiteY306" fmla="*/ 570472 h 638175"/>
                <a:gd name="connsiteX307" fmla="*/ 245604 w 914400"/>
                <a:gd name="connsiteY307" fmla="*/ 563090 h 638175"/>
                <a:gd name="connsiteX308" fmla="*/ 245604 w 914400"/>
                <a:gd name="connsiteY308" fmla="*/ 559394 h 638175"/>
                <a:gd name="connsiteX309" fmla="*/ 249300 w 914400"/>
                <a:gd name="connsiteY309" fmla="*/ 559394 h 638175"/>
                <a:gd name="connsiteX310" fmla="*/ 252986 w 914400"/>
                <a:gd name="connsiteY310" fmla="*/ 559394 h 638175"/>
                <a:gd name="connsiteX311" fmla="*/ 256672 w 914400"/>
                <a:gd name="connsiteY311" fmla="*/ 559394 h 638175"/>
                <a:gd name="connsiteX312" fmla="*/ 260368 w 914400"/>
                <a:gd name="connsiteY312" fmla="*/ 563090 h 638175"/>
                <a:gd name="connsiteX313" fmla="*/ 260368 w 914400"/>
                <a:gd name="connsiteY313" fmla="*/ 566776 h 638175"/>
                <a:gd name="connsiteX314" fmla="*/ 264054 w 914400"/>
                <a:gd name="connsiteY314" fmla="*/ 566776 h 638175"/>
                <a:gd name="connsiteX315" fmla="*/ 267740 w 914400"/>
                <a:gd name="connsiteY315" fmla="*/ 566776 h 638175"/>
                <a:gd name="connsiteX316" fmla="*/ 271436 w 914400"/>
                <a:gd name="connsiteY316" fmla="*/ 570472 h 638175"/>
                <a:gd name="connsiteX317" fmla="*/ 275122 w 914400"/>
                <a:gd name="connsiteY317" fmla="*/ 570472 h 638175"/>
                <a:gd name="connsiteX318" fmla="*/ 278808 w 914400"/>
                <a:gd name="connsiteY318" fmla="*/ 566776 h 638175"/>
                <a:gd name="connsiteX319" fmla="*/ 278808 w 914400"/>
                <a:gd name="connsiteY319" fmla="*/ 563090 h 638175"/>
                <a:gd name="connsiteX320" fmla="*/ 282504 w 914400"/>
                <a:gd name="connsiteY320" fmla="*/ 559394 h 638175"/>
                <a:gd name="connsiteX321" fmla="*/ 286190 w 914400"/>
                <a:gd name="connsiteY321" fmla="*/ 559394 h 638175"/>
                <a:gd name="connsiteX322" fmla="*/ 293572 w 914400"/>
                <a:gd name="connsiteY322" fmla="*/ 559394 h 638175"/>
                <a:gd name="connsiteX323" fmla="*/ 297258 w 914400"/>
                <a:gd name="connsiteY323" fmla="*/ 559394 h 638175"/>
                <a:gd name="connsiteX324" fmla="*/ 300945 w 914400"/>
                <a:gd name="connsiteY324" fmla="*/ 559394 h 638175"/>
                <a:gd name="connsiteX325" fmla="*/ 308326 w 914400"/>
                <a:gd name="connsiteY325" fmla="*/ 563090 h 638175"/>
                <a:gd name="connsiteX326" fmla="*/ 312013 w 914400"/>
                <a:gd name="connsiteY326" fmla="*/ 566776 h 638175"/>
                <a:gd name="connsiteX327" fmla="*/ 315699 w 914400"/>
                <a:gd name="connsiteY327" fmla="*/ 566776 h 638175"/>
                <a:gd name="connsiteX328" fmla="*/ 323081 w 914400"/>
                <a:gd name="connsiteY328" fmla="*/ 566776 h 638175"/>
                <a:gd name="connsiteX329" fmla="*/ 326767 w 914400"/>
                <a:gd name="connsiteY329" fmla="*/ 570472 h 638175"/>
                <a:gd name="connsiteX330" fmla="*/ 326767 w 914400"/>
                <a:gd name="connsiteY330" fmla="*/ 577854 h 638175"/>
                <a:gd name="connsiteX331" fmla="*/ 330463 w 914400"/>
                <a:gd name="connsiteY331" fmla="*/ 581540 h 638175"/>
                <a:gd name="connsiteX332" fmla="*/ 334149 w 914400"/>
                <a:gd name="connsiteY332" fmla="*/ 585226 h 638175"/>
                <a:gd name="connsiteX333" fmla="*/ 337835 w 914400"/>
                <a:gd name="connsiteY333" fmla="*/ 588922 h 638175"/>
                <a:gd name="connsiteX334" fmla="*/ 341531 w 914400"/>
                <a:gd name="connsiteY334" fmla="*/ 588922 h 638175"/>
                <a:gd name="connsiteX335" fmla="*/ 345217 w 914400"/>
                <a:gd name="connsiteY335" fmla="*/ 588922 h 638175"/>
                <a:gd name="connsiteX336" fmla="*/ 348903 w 914400"/>
                <a:gd name="connsiteY336" fmla="*/ 592608 h 638175"/>
                <a:gd name="connsiteX337" fmla="*/ 352599 w 914400"/>
                <a:gd name="connsiteY337" fmla="*/ 592608 h 638175"/>
                <a:gd name="connsiteX338" fmla="*/ 352599 w 914400"/>
                <a:gd name="connsiteY338" fmla="*/ 599990 h 638175"/>
                <a:gd name="connsiteX339" fmla="*/ 356285 w 914400"/>
                <a:gd name="connsiteY339" fmla="*/ 599990 h 638175"/>
                <a:gd name="connsiteX340" fmla="*/ 359971 w 914400"/>
                <a:gd name="connsiteY340" fmla="*/ 603685 h 638175"/>
                <a:gd name="connsiteX341" fmla="*/ 363667 w 914400"/>
                <a:gd name="connsiteY341" fmla="*/ 603685 h 638175"/>
                <a:gd name="connsiteX342" fmla="*/ 367353 w 914400"/>
                <a:gd name="connsiteY342" fmla="*/ 603685 h 638175"/>
                <a:gd name="connsiteX343" fmla="*/ 371039 w 914400"/>
                <a:gd name="connsiteY343" fmla="*/ 607372 h 638175"/>
                <a:gd name="connsiteX344" fmla="*/ 374725 w 914400"/>
                <a:gd name="connsiteY344" fmla="*/ 611067 h 638175"/>
                <a:gd name="connsiteX345" fmla="*/ 374725 w 914400"/>
                <a:gd name="connsiteY345" fmla="*/ 614753 h 638175"/>
                <a:gd name="connsiteX346" fmla="*/ 378421 w 914400"/>
                <a:gd name="connsiteY346" fmla="*/ 618449 h 638175"/>
                <a:gd name="connsiteX347" fmla="*/ 382107 w 914400"/>
                <a:gd name="connsiteY347" fmla="*/ 618449 h 638175"/>
                <a:gd name="connsiteX348" fmla="*/ 385793 w 914400"/>
                <a:gd name="connsiteY348" fmla="*/ 618449 h 638175"/>
                <a:gd name="connsiteX349" fmla="*/ 393175 w 914400"/>
                <a:gd name="connsiteY349" fmla="*/ 618449 h 638175"/>
                <a:gd name="connsiteX350" fmla="*/ 396861 w 914400"/>
                <a:gd name="connsiteY350" fmla="*/ 618449 h 638175"/>
                <a:gd name="connsiteX351" fmla="*/ 407929 w 914400"/>
                <a:gd name="connsiteY351" fmla="*/ 614753 h 638175"/>
                <a:gd name="connsiteX352" fmla="*/ 411625 w 914400"/>
                <a:gd name="connsiteY352" fmla="*/ 614753 h 638175"/>
                <a:gd name="connsiteX353" fmla="*/ 422693 w 914400"/>
                <a:gd name="connsiteY353" fmla="*/ 614753 h 638175"/>
                <a:gd name="connsiteX354" fmla="*/ 430065 w 914400"/>
                <a:gd name="connsiteY354" fmla="*/ 614753 h 638175"/>
                <a:gd name="connsiteX355" fmla="*/ 433761 w 914400"/>
                <a:gd name="connsiteY355" fmla="*/ 614753 h 638175"/>
                <a:gd name="connsiteX356" fmla="*/ 437447 w 914400"/>
                <a:gd name="connsiteY356" fmla="*/ 614753 h 638175"/>
                <a:gd name="connsiteX357" fmla="*/ 437447 w 914400"/>
                <a:gd name="connsiteY357" fmla="*/ 611067 h 638175"/>
                <a:gd name="connsiteX358" fmla="*/ 437447 w 914400"/>
                <a:gd name="connsiteY358" fmla="*/ 607372 h 638175"/>
                <a:gd name="connsiteX359" fmla="*/ 433761 w 914400"/>
                <a:gd name="connsiteY359" fmla="*/ 603685 h 638175"/>
                <a:gd name="connsiteX360" fmla="*/ 437447 w 914400"/>
                <a:gd name="connsiteY360" fmla="*/ 599990 h 638175"/>
                <a:gd name="connsiteX361" fmla="*/ 444820 w 914400"/>
                <a:gd name="connsiteY361" fmla="*/ 599990 h 638175"/>
                <a:gd name="connsiteX362" fmla="*/ 448516 w 914400"/>
                <a:gd name="connsiteY362" fmla="*/ 599990 h 638175"/>
                <a:gd name="connsiteX363" fmla="*/ 452202 w 914400"/>
                <a:gd name="connsiteY363" fmla="*/ 603685 h 638175"/>
                <a:gd name="connsiteX364" fmla="*/ 455888 w 914400"/>
                <a:gd name="connsiteY364" fmla="*/ 607372 h 638175"/>
                <a:gd name="connsiteX365" fmla="*/ 455888 w 914400"/>
                <a:gd name="connsiteY365" fmla="*/ 611067 h 638175"/>
                <a:gd name="connsiteX366" fmla="*/ 459583 w 914400"/>
                <a:gd name="connsiteY366" fmla="*/ 614753 h 638175"/>
                <a:gd name="connsiteX367" fmla="*/ 459583 w 914400"/>
                <a:gd name="connsiteY367" fmla="*/ 618449 h 638175"/>
                <a:gd name="connsiteX368" fmla="*/ 463270 w 914400"/>
                <a:gd name="connsiteY368" fmla="*/ 622135 h 638175"/>
                <a:gd name="connsiteX369" fmla="*/ 466956 w 914400"/>
                <a:gd name="connsiteY369" fmla="*/ 622135 h 638175"/>
                <a:gd name="connsiteX370" fmla="*/ 466956 w 914400"/>
                <a:gd name="connsiteY370" fmla="*/ 625831 h 638175"/>
                <a:gd name="connsiteX371" fmla="*/ 470652 w 914400"/>
                <a:gd name="connsiteY371" fmla="*/ 629517 h 638175"/>
                <a:gd name="connsiteX372" fmla="*/ 474338 w 914400"/>
                <a:gd name="connsiteY372" fmla="*/ 629517 h 638175"/>
                <a:gd name="connsiteX373" fmla="*/ 478024 w 914400"/>
                <a:gd name="connsiteY373" fmla="*/ 625831 h 638175"/>
                <a:gd name="connsiteX374" fmla="*/ 478024 w 914400"/>
                <a:gd name="connsiteY374" fmla="*/ 622135 h 638175"/>
                <a:gd name="connsiteX375" fmla="*/ 481720 w 914400"/>
                <a:gd name="connsiteY375" fmla="*/ 618449 h 638175"/>
                <a:gd name="connsiteX376" fmla="*/ 489092 w 914400"/>
                <a:gd name="connsiteY376" fmla="*/ 614753 h 638175"/>
                <a:gd name="connsiteX377" fmla="*/ 492788 w 914400"/>
                <a:gd name="connsiteY377" fmla="*/ 614753 h 638175"/>
                <a:gd name="connsiteX378" fmla="*/ 496474 w 914400"/>
                <a:gd name="connsiteY378" fmla="*/ 607372 h 638175"/>
                <a:gd name="connsiteX379" fmla="*/ 496474 w 914400"/>
                <a:gd name="connsiteY379" fmla="*/ 603685 h 638175"/>
                <a:gd name="connsiteX380" fmla="*/ 492788 w 914400"/>
                <a:gd name="connsiteY380" fmla="*/ 603685 h 638175"/>
                <a:gd name="connsiteX381" fmla="*/ 492788 w 914400"/>
                <a:gd name="connsiteY381" fmla="*/ 596303 h 638175"/>
                <a:gd name="connsiteX382" fmla="*/ 496474 w 914400"/>
                <a:gd name="connsiteY382" fmla="*/ 596303 h 638175"/>
                <a:gd name="connsiteX383" fmla="*/ 492788 w 914400"/>
                <a:gd name="connsiteY383" fmla="*/ 592608 h 638175"/>
                <a:gd name="connsiteX384" fmla="*/ 489092 w 914400"/>
                <a:gd name="connsiteY384" fmla="*/ 592608 h 638175"/>
                <a:gd name="connsiteX385" fmla="*/ 489092 w 914400"/>
                <a:gd name="connsiteY385" fmla="*/ 588922 h 638175"/>
                <a:gd name="connsiteX386" fmla="*/ 489092 w 914400"/>
                <a:gd name="connsiteY386" fmla="*/ 585226 h 638175"/>
                <a:gd name="connsiteX387" fmla="*/ 489092 w 914400"/>
                <a:gd name="connsiteY387" fmla="*/ 581540 h 638175"/>
                <a:gd name="connsiteX388" fmla="*/ 481720 w 914400"/>
                <a:gd name="connsiteY388" fmla="*/ 574158 h 638175"/>
                <a:gd name="connsiteX389" fmla="*/ 478024 w 914400"/>
                <a:gd name="connsiteY389" fmla="*/ 574158 h 638175"/>
                <a:gd name="connsiteX390" fmla="*/ 474338 w 914400"/>
                <a:gd name="connsiteY390" fmla="*/ 574158 h 638175"/>
                <a:gd name="connsiteX391" fmla="*/ 474338 w 914400"/>
                <a:gd name="connsiteY391" fmla="*/ 570472 h 638175"/>
                <a:gd name="connsiteX392" fmla="*/ 478024 w 914400"/>
                <a:gd name="connsiteY392" fmla="*/ 566776 h 638175"/>
                <a:gd name="connsiteX393" fmla="*/ 481720 w 914400"/>
                <a:gd name="connsiteY393" fmla="*/ 566776 h 638175"/>
                <a:gd name="connsiteX394" fmla="*/ 474338 w 914400"/>
                <a:gd name="connsiteY394" fmla="*/ 563090 h 638175"/>
                <a:gd name="connsiteX395" fmla="*/ 481720 w 914400"/>
                <a:gd name="connsiteY395" fmla="*/ 552012 h 638175"/>
                <a:gd name="connsiteX396" fmla="*/ 485406 w 914400"/>
                <a:gd name="connsiteY396" fmla="*/ 552012 h 638175"/>
                <a:gd name="connsiteX397" fmla="*/ 485406 w 914400"/>
                <a:gd name="connsiteY397" fmla="*/ 555708 h 638175"/>
                <a:gd name="connsiteX398" fmla="*/ 492788 w 914400"/>
                <a:gd name="connsiteY398" fmla="*/ 555708 h 638175"/>
                <a:gd name="connsiteX399" fmla="*/ 496474 w 914400"/>
                <a:gd name="connsiteY399" fmla="*/ 555708 h 638175"/>
                <a:gd name="connsiteX400" fmla="*/ 503856 w 914400"/>
                <a:gd name="connsiteY400" fmla="*/ 552012 h 638175"/>
                <a:gd name="connsiteX401" fmla="*/ 507542 w 914400"/>
                <a:gd name="connsiteY401" fmla="*/ 552012 h 638175"/>
                <a:gd name="connsiteX402" fmla="*/ 511228 w 914400"/>
                <a:gd name="connsiteY402" fmla="*/ 548326 h 638175"/>
                <a:gd name="connsiteX403" fmla="*/ 514924 w 914400"/>
                <a:gd name="connsiteY403" fmla="*/ 544630 h 638175"/>
                <a:gd name="connsiteX404" fmla="*/ 518610 w 914400"/>
                <a:gd name="connsiteY404" fmla="*/ 548326 h 638175"/>
                <a:gd name="connsiteX405" fmla="*/ 522296 w 914400"/>
                <a:gd name="connsiteY405" fmla="*/ 544630 h 638175"/>
                <a:gd name="connsiteX406" fmla="*/ 525982 w 914400"/>
                <a:gd name="connsiteY406" fmla="*/ 540944 h 638175"/>
                <a:gd name="connsiteX407" fmla="*/ 529678 w 914400"/>
                <a:gd name="connsiteY407" fmla="*/ 540944 h 638175"/>
                <a:gd name="connsiteX408" fmla="*/ 525982 w 914400"/>
                <a:gd name="connsiteY408" fmla="*/ 537248 h 638175"/>
                <a:gd name="connsiteX409" fmla="*/ 529678 w 914400"/>
                <a:gd name="connsiteY409" fmla="*/ 533562 h 638175"/>
                <a:gd name="connsiteX410" fmla="*/ 533364 w 914400"/>
                <a:gd name="connsiteY410" fmla="*/ 529876 h 638175"/>
                <a:gd name="connsiteX411" fmla="*/ 537050 w 914400"/>
                <a:gd name="connsiteY411" fmla="*/ 533562 h 638175"/>
                <a:gd name="connsiteX412" fmla="*/ 544432 w 914400"/>
                <a:gd name="connsiteY412" fmla="*/ 540944 h 638175"/>
                <a:gd name="connsiteX413" fmla="*/ 548118 w 914400"/>
                <a:gd name="connsiteY413" fmla="*/ 540944 h 638175"/>
                <a:gd name="connsiteX414" fmla="*/ 551814 w 914400"/>
                <a:gd name="connsiteY414" fmla="*/ 540944 h 638175"/>
                <a:gd name="connsiteX415" fmla="*/ 566568 w 914400"/>
                <a:gd name="connsiteY415" fmla="*/ 544630 h 638175"/>
                <a:gd name="connsiteX416" fmla="*/ 577636 w 914400"/>
                <a:gd name="connsiteY416" fmla="*/ 544630 h 638175"/>
                <a:gd name="connsiteX417" fmla="*/ 581323 w 914400"/>
                <a:gd name="connsiteY417" fmla="*/ 548326 h 638175"/>
                <a:gd name="connsiteX418" fmla="*/ 581323 w 914400"/>
                <a:gd name="connsiteY418" fmla="*/ 540944 h 638175"/>
                <a:gd name="connsiteX419" fmla="*/ 581323 w 914400"/>
                <a:gd name="connsiteY419" fmla="*/ 537248 h 638175"/>
                <a:gd name="connsiteX420" fmla="*/ 581323 w 914400"/>
                <a:gd name="connsiteY420" fmla="*/ 533562 h 638175"/>
                <a:gd name="connsiteX421" fmla="*/ 581323 w 914400"/>
                <a:gd name="connsiteY421" fmla="*/ 529876 h 638175"/>
                <a:gd name="connsiteX422" fmla="*/ 573950 w 914400"/>
                <a:gd name="connsiteY422" fmla="*/ 526180 h 638175"/>
                <a:gd name="connsiteX423" fmla="*/ 570254 w 914400"/>
                <a:gd name="connsiteY423" fmla="*/ 526180 h 638175"/>
                <a:gd name="connsiteX424" fmla="*/ 570254 w 914400"/>
                <a:gd name="connsiteY424" fmla="*/ 522494 h 638175"/>
                <a:gd name="connsiteX425" fmla="*/ 570254 w 914400"/>
                <a:gd name="connsiteY425" fmla="*/ 518799 h 638175"/>
                <a:gd name="connsiteX426" fmla="*/ 566568 w 914400"/>
                <a:gd name="connsiteY426" fmla="*/ 511417 h 638175"/>
                <a:gd name="connsiteX427" fmla="*/ 562882 w 914400"/>
                <a:gd name="connsiteY427" fmla="*/ 507730 h 638175"/>
                <a:gd name="connsiteX428" fmla="*/ 555500 w 914400"/>
                <a:gd name="connsiteY428" fmla="*/ 507730 h 638175"/>
                <a:gd name="connsiteX429" fmla="*/ 551814 w 914400"/>
                <a:gd name="connsiteY429" fmla="*/ 507730 h 638175"/>
                <a:gd name="connsiteX430" fmla="*/ 555500 w 914400"/>
                <a:gd name="connsiteY430" fmla="*/ 504035 h 638175"/>
                <a:gd name="connsiteX431" fmla="*/ 555500 w 914400"/>
                <a:gd name="connsiteY431" fmla="*/ 500349 h 638175"/>
                <a:gd name="connsiteX432" fmla="*/ 559186 w 914400"/>
                <a:gd name="connsiteY432" fmla="*/ 500349 h 638175"/>
                <a:gd name="connsiteX433" fmla="*/ 562882 w 914400"/>
                <a:gd name="connsiteY433" fmla="*/ 504035 h 638175"/>
                <a:gd name="connsiteX434" fmla="*/ 577636 w 914400"/>
                <a:gd name="connsiteY434" fmla="*/ 496653 h 638175"/>
                <a:gd name="connsiteX435" fmla="*/ 581323 w 914400"/>
                <a:gd name="connsiteY435" fmla="*/ 500349 h 638175"/>
                <a:gd name="connsiteX436" fmla="*/ 585009 w 914400"/>
                <a:gd name="connsiteY436" fmla="*/ 500349 h 638175"/>
                <a:gd name="connsiteX437" fmla="*/ 588704 w 914400"/>
                <a:gd name="connsiteY437" fmla="*/ 504035 h 638175"/>
                <a:gd name="connsiteX438" fmla="*/ 596077 w 914400"/>
                <a:gd name="connsiteY438" fmla="*/ 507730 h 638175"/>
                <a:gd name="connsiteX439" fmla="*/ 596077 w 914400"/>
                <a:gd name="connsiteY439" fmla="*/ 511417 h 638175"/>
                <a:gd name="connsiteX440" fmla="*/ 588704 w 914400"/>
                <a:gd name="connsiteY440" fmla="*/ 511417 h 638175"/>
                <a:gd name="connsiteX441" fmla="*/ 592391 w 914400"/>
                <a:gd name="connsiteY441" fmla="*/ 515112 h 638175"/>
                <a:gd name="connsiteX442" fmla="*/ 596077 w 914400"/>
                <a:gd name="connsiteY442" fmla="*/ 518799 h 638175"/>
                <a:gd name="connsiteX443" fmla="*/ 599772 w 914400"/>
                <a:gd name="connsiteY443" fmla="*/ 522494 h 638175"/>
                <a:gd name="connsiteX444" fmla="*/ 607145 w 914400"/>
                <a:gd name="connsiteY444" fmla="*/ 526180 h 638175"/>
                <a:gd name="connsiteX445" fmla="*/ 614527 w 914400"/>
                <a:gd name="connsiteY445" fmla="*/ 526180 h 638175"/>
                <a:gd name="connsiteX446" fmla="*/ 614527 w 914400"/>
                <a:gd name="connsiteY446" fmla="*/ 522494 h 638175"/>
                <a:gd name="connsiteX447" fmla="*/ 621909 w 914400"/>
                <a:gd name="connsiteY447" fmla="*/ 522494 h 638175"/>
                <a:gd name="connsiteX448" fmla="*/ 625595 w 914400"/>
                <a:gd name="connsiteY448" fmla="*/ 526180 h 638175"/>
                <a:gd name="connsiteX449" fmla="*/ 629281 w 914400"/>
                <a:gd name="connsiteY449" fmla="*/ 526180 h 638175"/>
                <a:gd name="connsiteX450" fmla="*/ 629281 w 914400"/>
                <a:gd name="connsiteY450" fmla="*/ 522494 h 638175"/>
                <a:gd name="connsiteX451" fmla="*/ 632977 w 914400"/>
                <a:gd name="connsiteY451" fmla="*/ 522494 h 638175"/>
                <a:gd name="connsiteX452" fmla="*/ 632977 w 914400"/>
                <a:gd name="connsiteY452" fmla="*/ 518799 h 638175"/>
                <a:gd name="connsiteX453" fmla="*/ 636663 w 914400"/>
                <a:gd name="connsiteY453" fmla="*/ 522494 h 638175"/>
                <a:gd name="connsiteX454" fmla="*/ 647731 w 914400"/>
                <a:gd name="connsiteY454" fmla="*/ 526180 h 638175"/>
                <a:gd name="connsiteX455" fmla="*/ 647731 w 914400"/>
                <a:gd name="connsiteY455" fmla="*/ 529876 h 638175"/>
                <a:gd name="connsiteX456" fmla="*/ 651417 w 914400"/>
                <a:gd name="connsiteY456" fmla="*/ 537248 h 638175"/>
                <a:gd name="connsiteX457" fmla="*/ 651417 w 914400"/>
                <a:gd name="connsiteY457" fmla="*/ 540944 h 638175"/>
                <a:gd name="connsiteX458" fmla="*/ 658799 w 914400"/>
                <a:gd name="connsiteY458" fmla="*/ 537248 h 638175"/>
                <a:gd name="connsiteX459" fmla="*/ 666171 w 914400"/>
                <a:gd name="connsiteY459" fmla="*/ 537248 h 638175"/>
                <a:gd name="connsiteX460" fmla="*/ 669867 w 914400"/>
                <a:gd name="connsiteY460" fmla="*/ 537248 h 638175"/>
                <a:gd name="connsiteX461" fmla="*/ 673553 w 914400"/>
                <a:gd name="connsiteY461" fmla="*/ 540944 h 638175"/>
                <a:gd name="connsiteX462" fmla="*/ 677239 w 914400"/>
                <a:gd name="connsiteY462" fmla="*/ 540944 h 638175"/>
                <a:gd name="connsiteX463" fmla="*/ 680935 w 914400"/>
                <a:gd name="connsiteY463" fmla="*/ 544630 h 638175"/>
                <a:gd name="connsiteX464" fmla="*/ 680935 w 914400"/>
                <a:gd name="connsiteY464" fmla="*/ 548326 h 638175"/>
                <a:gd name="connsiteX465" fmla="*/ 680935 w 914400"/>
                <a:gd name="connsiteY465" fmla="*/ 552012 h 638175"/>
                <a:gd name="connsiteX466" fmla="*/ 684621 w 914400"/>
                <a:gd name="connsiteY466" fmla="*/ 552012 h 638175"/>
                <a:gd name="connsiteX467" fmla="*/ 688307 w 914400"/>
                <a:gd name="connsiteY467" fmla="*/ 552012 h 638175"/>
                <a:gd name="connsiteX468" fmla="*/ 692003 w 914400"/>
                <a:gd name="connsiteY468" fmla="*/ 552012 h 638175"/>
                <a:gd name="connsiteX469" fmla="*/ 699375 w 914400"/>
                <a:gd name="connsiteY469" fmla="*/ 555708 h 638175"/>
                <a:gd name="connsiteX470" fmla="*/ 703071 w 914400"/>
                <a:gd name="connsiteY470" fmla="*/ 555708 h 638175"/>
                <a:gd name="connsiteX471" fmla="*/ 699375 w 914400"/>
                <a:gd name="connsiteY471" fmla="*/ 548326 h 638175"/>
                <a:gd name="connsiteX472" fmla="*/ 703071 w 914400"/>
                <a:gd name="connsiteY472" fmla="*/ 552012 h 638175"/>
                <a:gd name="connsiteX473" fmla="*/ 699375 w 914400"/>
                <a:gd name="connsiteY473" fmla="*/ 544630 h 638175"/>
                <a:gd name="connsiteX474" fmla="*/ 699375 w 914400"/>
                <a:gd name="connsiteY474" fmla="*/ 540944 h 638175"/>
                <a:gd name="connsiteX475" fmla="*/ 703071 w 914400"/>
                <a:gd name="connsiteY475" fmla="*/ 537248 h 638175"/>
                <a:gd name="connsiteX476" fmla="*/ 699375 w 914400"/>
                <a:gd name="connsiteY476" fmla="*/ 537248 h 638175"/>
                <a:gd name="connsiteX477" fmla="*/ 699375 w 914400"/>
                <a:gd name="connsiteY477" fmla="*/ 533562 h 638175"/>
                <a:gd name="connsiteX478" fmla="*/ 695689 w 914400"/>
                <a:gd name="connsiteY478" fmla="*/ 533562 h 638175"/>
                <a:gd name="connsiteX479" fmla="*/ 692003 w 914400"/>
                <a:gd name="connsiteY479" fmla="*/ 529876 h 638175"/>
                <a:gd name="connsiteX480" fmla="*/ 692003 w 914400"/>
                <a:gd name="connsiteY480" fmla="*/ 526180 h 638175"/>
                <a:gd name="connsiteX481" fmla="*/ 692003 w 914400"/>
                <a:gd name="connsiteY481" fmla="*/ 518799 h 638175"/>
                <a:gd name="connsiteX482" fmla="*/ 699375 w 914400"/>
                <a:gd name="connsiteY482" fmla="*/ 522494 h 638175"/>
                <a:gd name="connsiteX483" fmla="*/ 703071 w 914400"/>
                <a:gd name="connsiteY483" fmla="*/ 522494 h 638175"/>
                <a:gd name="connsiteX484" fmla="*/ 706757 w 914400"/>
                <a:gd name="connsiteY484" fmla="*/ 526180 h 638175"/>
                <a:gd name="connsiteX485" fmla="*/ 710443 w 914400"/>
                <a:gd name="connsiteY485" fmla="*/ 526180 h 638175"/>
                <a:gd name="connsiteX486" fmla="*/ 710443 w 914400"/>
                <a:gd name="connsiteY486" fmla="*/ 529876 h 638175"/>
                <a:gd name="connsiteX487" fmla="*/ 714139 w 914400"/>
                <a:gd name="connsiteY487" fmla="*/ 529876 h 638175"/>
                <a:gd name="connsiteX488" fmla="*/ 717825 w 914400"/>
                <a:gd name="connsiteY488" fmla="*/ 529876 h 638175"/>
                <a:gd name="connsiteX489" fmla="*/ 721512 w 914400"/>
                <a:gd name="connsiteY489" fmla="*/ 526180 h 638175"/>
                <a:gd name="connsiteX490" fmla="*/ 725207 w 914400"/>
                <a:gd name="connsiteY490" fmla="*/ 533562 h 638175"/>
                <a:gd name="connsiteX491" fmla="*/ 728893 w 914400"/>
                <a:gd name="connsiteY491" fmla="*/ 533562 h 638175"/>
                <a:gd name="connsiteX492" fmla="*/ 732580 w 914400"/>
                <a:gd name="connsiteY492" fmla="*/ 537248 h 638175"/>
                <a:gd name="connsiteX493" fmla="*/ 736266 w 914400"/>
                <a:gd name="connsiteY493" fmla="*/ 533562 h 638175"/>
                <a:gd name="connsiteX494" fmla="*/ 747334 w 914400"/>
                <a:gd name="connsiteY494" fmla="*/ 529876 h 638175"/>
                <a:gd name="connsiteX495" fmla="*/ 747334 w 914400"/>
                <a:gd name="connsiteY495" fmla="*/ 526180 h 638175"/>
                <a:gd name="connsiteX496" fmla="*/ 747334 w 914400"/>
                <a:gd name="connsiteY496" fmla="*/ 522494 h 638175"/>
                <a:gd name="connsiteX497" fmla="*/ 751029 w 914400"/>
                <a:gd name="connsiteY497" fmla="*/ 522494 h 638175"/>
                <a:gd name="connsiteX498" fmla="*/ 754716 w 914400"/>
                <a:gd name="connsiteY498" fmla="*/ 518799 h 638175"/>
                <a:gd name="connsiteX499" fmla="*/ 758402 w 914400"/>
                <a:gd name="connsiteY499" fmla="*/ 518799 h 638175"/>
                <a:gd name="connsiteX500" fmla="*/ 762098 w 914400"/>
                <a:gd name="connsiteY500" fmla="*/ 518799 h 638175"/>
                <a:gd name="connsiteX501" fmla="*/ 765784 w 914400"/>
                <a:gd name="connsiteY501" fmla="*/ 515112 h 638175"/>
                <a:gd name="connsiteX502" fmla="*/ 765784 w 914400"/>
                <a:gd name="connsiteY502" fmla="*/ 511417 h 638175"/>
                <a:gd name="connsiteX503" fmla="*/ 769470 w 914400"/>
                <a:gd name="connsiteY503" fmla="*/ 511417 h 638175"/>
                <a:gd name="connsiteX504" fmla="*/ 773166 w 914400"/>
                <a:gd name="connsiteY504" fmla="*/ 507730 h 638175"/>
                <a:gd name="connsiteX505" fmla="*/ 773166 w 914400"/>
                <a:gd name="connsiteY505" fmla="*/ 511417 h 638175"/>
                <a:gd name="connsiteX506" fmla="*/ 776852 w 914400"/>
                <a:gd name="connsiteY506" fmla="*/ 511417 h 638175"/>
                <a:gd name="connsiteX507" fmla="*/ 780538 w 914400"/>
                <a:gd name="connsiteY507" fmla="*/ 507730 h 638175"/>
                <a:gd name="connsiteX508" fmla="*/ 787920 w 914400"/>
                <a:gd name="connsiteY508" fmla="*/ 504035 h 638175"/>
                <a:gd name="connsiteX509" fmla="*/ 806360 w 914400"/>
                <a:gd name="connsiteY509" fmla="*/ 496653 h 638175"/>
                <a:gd name="connsiteX510" fmla="*/ 810056 w 914400"/>
                <a:gd name="connsiteY510" fmla="*/ 496653 h 638175"/>
                <a:gd name="connsiteX511" fmla="*/ 813742 w 914400"/>
                <a:gd name="connsiteY511" fmla="*/ 496653 h 638175"/>
                <a:gd name="connsiteX512" fmla="*/ 813742 w 914400"/>
                <a:gd name="connsiteY512" fmla="*/ 492967 h 638175"/>
                <a:gd name="connsiteX513" fmla="*/ 821124 w 914400"/>
                <a:gd name="connsiteY513" fmla="*/ 489271 h 638175"/>
                <a:gd name="connsiteX514" fmla="*/ 828496 w 914400"/>
                <a:gd name="connsiteY514" fmla="*/ 485585 h 638175"/>
                <a:gd name="connsiteX515" fmla="*/ 832192 w 914400"/>
                <a:gd name="connsiteY515" fmla="*/ 485585 h 638175"/>
                <a:gd name="connsiteX516" fmla="*/ 835878 w 914400"/>
                <a:gd name="connsiteY516" fmla="*/ 481899 h 638175"/>
                <a:gd name="connsiteX517" fmla="*/ 835878 w 914400"/>
                <a:gd name="connsiteY517" fmla="*/ 485585 h 638175"/>
                <a:gd name="connsiteX518" fmla="*/ 839564 w 914400"/>
                <a:gd name="connsiteY518" fmla="*/ 485585 h 638175"/>
                <a:gd name="connsiteX519" fmla="*/ 843260 w 914400"/>
                <a:gd name="connsiteY519" fmla="*/ 485585 h 638175"/>
                <a:gd name="connsiteX520" fmla="*/ 843260 w 914400"/>
                <a:gd name="connsiteY520" fmla="*/ 489271 h 638175"/>
                <a:gd name="connsiteX521" fmla="*/ 846946 w 914400"/>
                <a:gd name="connsiteY521" fmla="*/ 492967 h 638175"/>
                <a:gd name="connsiteX522" fmla="*/ 854328 w 914400"/>
                <a:gd name="connsiteY522" fmla="*/ 500349 h 638175"/>
                <a:gd name="connsiteX523" fmla="*/ 861700 w 914400"/>
                <a:gd name="connsiteY523" fmla="*/ 496653 h 638175"/>
                <a:gd name="connsiteX524" fmla="*/ 861700 w 914400"/>
                <a:gd name="connsiteY524" fmla="*/ 492967 h 638175"/>
                <a:gd name="connsiteX525" fmla="*/ 865396 w 914400"/>
                <a:gd name="connsiteY525" fmla="*/ 492967 h 638175"/>
                <a:gd name="connsiteX526" fmla="*/ 869082 w 914400"/>
                <a:gd name="connsiteY526" fmla="*/ 489271 h 638175"/>
                <a:gd name="connsiteX527" fmla="*/ 872769 w 914400"/>
                <a:gd name="connsiteY527" fmla="*/ 489271 h 638175"/>
                <a:gd name="connsiteX528" fmla="*/ 872769 w 914400"/>
                <a:gd name="connsiteY528" fmla="*/ 485585 h 638175"/>
                <a:gd name="connsiteX529" fmla="*/ 876455 w 914400"/>
                <a:gd name="connsiteY529" fmla="*/ 481899 h 638175"/>
                <a:gd name="connsiteX530" fmla="*/ 880150 w 914400"/>
                <a:gd name="connsiteY530" fmla="*/ 481899 h 638175"/>
                <a:gd name="connsiteX531" fmla="*/ 887523 w 914400"/>
                <a:gd name="connsiteY531" fmla="*/ 470821 h 638175"/>
                <a:gd name="connsiteX532" fmla="*/ 891218 w 914400"/>
                <a:gd name="connsiteY532" fmla="*/ 467135 h 638175"/>
                <a:gd name="connsiteX533" fmla="*/ 891218 w 914400"/>
                <a:gd name="connsiteY533" fmla="*/ 463439 h 638175"/>
                <a:gd name="connsiteX534" fmla="*/ 891218 w 914400"/>
                <a:gd name="connsiteY534" fmla="*/ 459753 h 638175"/>
                <a:gd name="connsiteX535" fmla="*/ 891218 w 914400"/>
                <a:gd name="connsiteY535" fmla="*/ 448676 h 638175"/>
                <a:gd name="connsiteX536" fmla="*/ 898591 w 914400"/>
                <a:gd name="connsiteY536" fmla="*/ 444989 h 638175"/>
                <a:gd name="connsiteX537" fmla="*/ 905973 w 914400"/>
                <a:gd name="connsiteY537" fmla="*/ 444989 h 638175"/>
                <a:gd name="connsiteX538" fmla="*/ 909659 w 914400"/>
                <a:gd name="connsiteY538" fmla="*/ 437607 h 638175"/>
                <a:gd name="connsiteX539" fmla="*/ 905973 w 914400"/>
                <a:gd name="connsiteY539" fmla="*/ 433921 h 638175"/>
                <a:gd name="connsiteX540" fmla="*/ 905973 w 914400"/>
                <a:gd name="connsiteY540" fmla="*/ 426539 h 638175"/>
                <a:gd name="connsiteX541" fmla="*/ 905973 w 914400"/>
                <a:gd name="connsiteY541" fmla="*/ 422844 h 638175"/>
                <a:gd name="connsiteX542" fmla="*/ 894905 w 914400"/>
                <a:gd name="connsiteY542" fmla="*/ 419158 h 638175"/>
                <a:gd name="connsiteX543" fmla="*/ 898591 w 914400"/>
                <a:gd name="connsiteY543" fmla="*/ 419158 h 638175"/>
                <a:gd name="connsiteX544" fmla="*/ 876455 w 914400"/>
                <a:gd name="connsiteY544" fmla="*/ 404394 h 638175"/>
                <a:gd name="connsiteX545" fmla="*/ 872769 w 914400"/>
                <a:gd name="connsiteY545" fmla="*/ 400698 h 638175"/>
                <a:gd name="connsiteX546" fmla="*/ 869082 w 914400"/>
                <a:gd name="connsiteY546" fmla="*/ 393316 h 638175"/>
                <a:gd name="connsiteX547" fmla="*/ 850632 w 914400"/>
                <a:gd name="connsiteY547" fmla="*/ 385944 h 638175"/>
                <a:gd name="connsiteX548" fmla="*/ 835878 w 914400"/>
                <a:gd name="connsiteY548" fmla="*/ 385944 h 638175"/>
                <a:gd name="connsiteX549" fmla="*/ 835878 w 914400"/>
                <a:gd name="connsiteY549" fmla="*/ 382248 h 638175"/>
                <a:gd name="connsiteX550" fmla="*/ 835878 w 914400"/>
                <a:gd name="connsiteY550" fmla="*/ 374866 h 638175"/>
                <a:gd name="connsiteX551" fmla="*/ 835878 w 914400"/>
                <a:gd name="connsiteY551" fmla="*/ 371180 h 638175"/>
                <a:gd name="connsiteX552" fmla="*/ 839564 w 914400"/>
                <a:gd name="connsiteY552" fmla="*/ 367484 h 638175"/>
                <a:gd name="connsiteX553" fmla="*/ 839564 w 914400"/>
                <a:gd name="connsiteY553" fmla="*/ 363798 h 638175"/>
                <a:gd name="connsiteX554" fmla="*/ 839564 w 914400"/>
                <a:gd name="connsiteY554" fmla="*/ 360103 h 638175"/>
                <a:gd name="connsiteX555" fmla="*/ 850632 w 914400"/>
                <a:gd name="connsiteY555" fmla="*/ 360103 h 638175"/>
                <a:gd name="connsiteX556" fmla="*/ 858014 w 914400"/>
                <a:gd name="connsiteY556" fmla="*/ 356416 h 638175"/>
                <a:gd name="connsiteX557" fmla="*/ 865396 w 914400"/>
                <a:gd name="connsiteY557" fmla="*/ 352721 h 638175"/>
                <a:gd name="connsiteX558" fmla="*/ 865396 w 914400"/>
                <a:gd name="connsiteY558" fmla="*/ 349035 h 638175"/>
                <a:gd name="connsiteX559" fmla="*/ 865396 w 914400"/>
                <a:gd name="connsiteY559" fmla="*/ 345339 h 638175"/>
                <a:gd name="connsiteX560" fmla="*/ 865396 w 914400"/>
                <a:gd name="connsiteY560" fmla="*/ 341653 h 638175"/>
                <a:gd name="connsiteX561" fmla="*/ 869082 w 914400"/>
                <a:gd name="connsiteY561" fmla="*/ 341653 h 638175"/>
                <a:gd name="connsiteX562" fmla="*/ 869082 w 914400"/>
                <a:gd name="connsiteY562" fmla="*/ 337966 h 638175"/>
                <a:gd name="connsiteX563" fmla="*/ 872769 w 914400"/>
                <a:gd name="connsiteY563" fmla="*/ 323203 h 638175"/>
                <a:gd name="connsiteX564" fmla="*/ 850632 w 914400"/>
                <a:gd name="connsiteY564" fmla="*/ 323203 h 638175"/>
                <a:gd name="connsiteX565" fmla="*/ 846946 w 914400"/>
                <a:gd name="connsiteY565" fmla="*/ 323203 h 638175"/>
                <a:gd name="connsiteX566" fmla="*/ 839564 w 914400"/>
                <a:gd name="connsiteY566" fmla="*/ 319507 h 638175"/>
                <a:gd name="connsiteX567" fmla="*/ 832192 w 914400"/>
                <a:gd name="connsiteY567" fmla="*/ 315821 h 638175"/>
                <a:gd name="connsiteX568" fmla="*/ 828496 w 914400"/>
                <a:gd name="connsiteY568" fmla="*/ 315821 h 638175"/>
                <a:gd name="connsiteX569" fmla="*/ 821124 w 914400"/>
                <a:gd name="connsiteY569" fmla="*/ 315821 h 638175"/>
                <a:gd name="connsiteX570" fmla="*/ 828496 w 914400"/>
                <a:gd name="connsiteY570" fmla="*/ 304743 h 638175"/>
                <a:gd name="connsiteX571" fmla="*/ 828496 w 914400"/>
                <a:gd name="connsiteY571" fmla="*/ 293675 h 638175"/>
                <a:gd name="connsiteX572" fmla="*/ 828496 w 914400"/>
                <a:gd name="connsiteY572" fmla="*/ 289989 h 638175"/>
                <a:gd name="connsiteX573" fmla="*/ 828496 w 914400"/>
                <a:gd name="connsiteY573" fmla="*/ 286293 h 638175"/>
                <a:gd name="connsiteX574" fmla="*/ 817428 w 914400"/>
                <a:gd name="connsiteY574" fmla="*/ 278911 h 638175"/>
                <a:gd name="connsiteX575" fmla="*/ 813742 w 914400"/>
                <a:gd name="connsiteY575" fmla="*/ 278911 h 638175"/>
                <a:gd name="connsiteX576" fmla="*/ 810056 w 914400"/>
                <a:gd name="connsiteY576" fmla="*/ 286293 h 638175"/>
                <a:gd name="connsiteX577" fmla="*/ 810056 w 914400"/>
                <a:gd name="connsiteY577" fmla="*/ 282607 h 638175"/>
                <a:gd name="connsiteX578" fmla="*/ 806360 w 914400"/>
                <a:gd name="connsiteY578" fmla="*/ 278911 h 638175"/>
                <a:gd name="connsiteX579" fmla="*/ 802674 w 914400"/>
                <a:gd name="connsiteY579" fmla="*/ 282607 h 638175"/>
                <a:gd name="connsiteX580" fmla="*/ 798988 w 914400"/>
                <a:gd name="connsiteY580" fmla="*/ 286293 h 638175"/>
                <a:gd name="connsiteX581" fmla="*/ 798988 w 914400"/>
                <a:gd name="connsiteY581" fmla="*/ 289989 h 638175"/>
                <a:gd name="connsiteX582" fmla="*/ 795302 w 914400"/>
                <a:gd name="connsiteY582" fmla="*/ 286293 h 638175"/>
                <a:gd name="connsiteX583" fmla="*/ 791606 w 914400"/>
                <a:gd name="connsiteY583" fmla="*/ 282607 h 638175"/>
                <a:gd name="connsiteX584" fmla="*/ 795302 w 914400"/>
                <a:gd name="connsiteY584" fmla="*/ 278911 h 638175"/>
                <a:gd name="connsiteX585" fmla="*/ 787920 w 914400"/>
                <a:gd name="connsiteY585" fmla="*/ 275225 h 638175"/>
                <a:gd name="connsiteX586" fmla="*/ 784234 w 914400"/>
                <a:gd name="connsiteY586" fmla="*/ 275225 h 638175"/>
                <a:gd name="connsiteX587" fmla="*/ 769470 w 914400"/>
                <a:gd name="connsiteY587" fmla="*/ 278911 h 638175"/>
                <a:gd name="connsiteX588" fmla="*/ 751029 w 914400"/>
                <a:gd name="connsiteY588" fmla="*/ 275225 h 638175"/>
                <a:gd name="connsiteX589" fmla="*/ 747334 w 914400"/>
                <a:gd name="connsiteY589" fmla="*/ 275225 h 638175"/>
                <a:gd name="connsiteX590" fmla="*/ 739961 w 914400"/>
                <a:gd name="connsiteY590" fmla="*/ 278911 h 638175"/>
                <a:gd name="connsiteX591" fmla="*/ 736266 w 914400"/>
                <a:gd name="connsiteY591" fmla="*/ 275225 h 638175"/>
                <a:gd name="connsiteX592" fmla="*/ 732580 w 914400"/>
                <a:gd name="connsiteY592" fmla="*/ 275225 h 638175"/>
                <a:gd name="connsiteX593" fmla="*/ 732580 w 914400"/>
                <a:gd name="connsiteY593" fmla="*/ 271530 h 638175"/>
                <a:gd name="connsiteX594" fmla="*/ 728893 w 914400"/>
                <a:gd name="connsiteY594" fmla="*/ 267843 h 638175"/>
                <a:gd name="connsiteX595" fmla="*/ 728893 w 914400"/>
                <a:gd name="connsiteY595" fmla="*/ 260461 h 638175"/>
                <a:gd name="connsiteX596" fmla="*/ 721512 w 914400"/>
                <a:gd name="connsiteY596" fmla="*/ 260461 h 638175"/>
                <a:gd name="connsiteX597" fmla="*/ 721512 w 914400"/>
                <a:gd name="connsiteY597" fmla="*/ 256766 h 638175"/>
                <a:gd name="connsiteX598" fmla="*/ 717825 w 914400"/>
                <a:gd name="connsiteY598" fmla="*/ 256766 h 638175"/>
                <a:gd name="connsiteX599" fmla="*/ 717825 w 914400"/>
                <a:gd name="connsiteY599" fmla="*/ 249384 h 638175"/>
                <a:gd name="connsiteX600" fmla="*/ 706757 w 914400"/>
                <a:gd name="connsiteY600" fmla="*/ 242012 h 638175"/>
                <a:gd name="connsiteX601" fmla="*/ 703071 w 914400"/>
                <a:gd name="connsiteY601" fmla="*/ 234630 h 638175"/>
                <a:gd name="connsiteX602" fmla="*/ 703071 w 914400"/>
                <a:gd name="connsiteY602" fmla="*/ 230934 h 638175"/>
                <a:gd name="connsiteX603" fmla="*/ 703071 w 914400"/>
                <a:gd name="connsiteY603" fmla="*/ 227248 h 638175"/>
                <a:gd name="connsiteX604" fmla="*/ 699375 w 914400"/>
                <a:gd name="connsiteY604" fmla="*/ 227248 h 638175"/>
                <a:gd name="connsiteX605" fmla="*/ 692003 w 914400"/>
                <a:gd name="connsiteY605" fmla="*/ 227248 h 638175"/>
                <a:gd name="connsiteX606" fmla="*/ 688307 w 914400"/>
                <a:gd name="connsiteY606" fmla="*/ 227248 h 638175"/>
                <a:gd name="connsiteX607" fmla="*/ 684621 w 914400"/>
                <a:gd name="connsiteY607" fmla="*/ 227248 h 638175"/>
                <a:gd name="connsiteX608" fmla="*/ 684621 w 914400"/>
                <a:gd name="connsiteY608" fmla="*/ 223552 h 638175"/>
                <a:gd name="connsiteX609" fmla="*/ 680935 w 914400"/>
                <a:gd name="connsiteY609" fmla="*/ 227248 h 638175"/>
                <a:gd name="connsiteX610" fmla="*/ 677239 w 914400"/>
                <a:gd name="connsiteY610" fmla="*/ 227248 h 638175"/>
                <a:gd name="connsiteX611" fmla="*/ 669867 w 914400"/>
                <a:gd name="connsiteY611" fmla="*/ 227248 h 638175"/>
                <a:gd name="connsiteX612" fmla="*/ 666171 w 914400"/>
                <a:gd name="connsiteY612" fmla="*/ 230934 h 638175"/>
                <a:gd name="connsiteX613" fmla="*/ 662485 w 914400"/>
                <a:gd name="connsiteY613" fmla="*/ 230934 h 638175"/>
                <a:gd name="connsiteX614" fmla="*/ 662485 w 914400"/>
                <a:gd name="connsiteY614" fmla="*/ 238316 h 638175"/>
                <a:gd name="connsiteX615" fmla="*/ 655113 w 914400"/>
                <a:gd name="connsiteY615" fmla="*/ 238316 h 638175"/>
                <a:gd name="connsiteX616" fmla="*/ 655113 w 914400"/>
                <a:gd name="connsiteY616" fmla="*/ 242012 h 638175"/>
                <a:gd name="connsiteX617" fmla="*/ 644045 w 914400"/>
                <a:gd name="connsiteY617" fmla="*/ 242012 h 638175"/>
                <a:gd name="connsiteX618" fmla="*/ 644045 w 914400"/>
                <a:gd name="connsiteY618" fmla="*/ 238316 h 638175"/>
                <a:gd name="connsiteX619" fmla="*/ 640349 w 914400"/>
                <a:gd name="connsiteY619" fmla="*/ 238316 h 638175"/>
                <a:gd name="connsiteX620" fmla="*/ 636663 w 914400"/>
                <a:gd name="connsiteY620" fmla="*/ 238316 h 638175"/>
                <a:gd name="connsiteX621" fmla="*/ 632977 w 914400"/>
                <a:gd name="connsiteY621" fmla="*/ 238316 h 638175"/>
                <a:gd name="connsiteX622" fmla="*/ 629281 w 914400"/>
                <a:gd name="connsiteY622" fmla="*/ 242012 h 638175"/>
                <a:gd name="connsiteX623" fmla="*/ 625595 w 914400"/>
                <a:gd name="connsiteY623" fmla="*/ 238316 h 638175"/>
                <a:gd name="connsiteX624" fmla="*/ 621909 w 914400"/>
                <a:gd name="connsiteY624" fmla="*/ 238316 h 638175"/>
                <a:gd name="connsiteX625" fmla="*/ 614527 w 914400"/>
                <a:gd name="connsiteY625" fmla="*/ 238316 h 638175"/>
                <a:gd name="connsiteX626" fmla="*/ 610840 w 914400"/>
                <a:gd name="connsiteY626" fmla="*/ 238316 h 638175"/>
                <a:gd name="connsiteX627" fmla="*/ 607145 w 914400"/>
                <a:gd name="connsiteY627" fmla="*/ 238316 h 638175"/>
                <a:gd name="connsiteX628" fmla="*/ 603459 w 914400"/>
                <a:gd name="connsiteY628" fmla="*/ 238316 h 638175"/>
                <a:gd name="connsiteX629" fmla="*/ 603459 w 914400"/>
                <a:gd name="connsiteY629" fmla="*/ 242012 h 638175"/>
                <a:gd name="connsiteX630" fmla="*/ 599772 w 914400"/>
                <a:gd name="connsiteY630" fmla="*/ 238316 h 638175"/>
                <a:gd name="connsiteX631" fmla="*/ 596077 w 914400"/>
                <a:gd name="connsiteY631" fmla="*/ 238316 h 638175"/>
                <a:gd name="connsiteX632" fmla="*/ 588704 w 914400"/>
                <a:gd name="connsiteY632" fmla="*/ 238316 h 638175"/>
                <a:gd name="connsiteX633" fmla="*/ 588704 w 914400"/>
                <a:gd name="connsiteY633" fmla="*/ 234630 h 638175"/>
                <a:gd name="connsiteX634" fmla="*/ 585009 w 914400"/>
                <a:gd name="connsiteY634" fmla="*/ 234630 h 638175"/>
                <a:gd name="connsiteX635" fmla="*/ 577636 w 914400"/>
                <a:gd name="connsiteY635" fmla="*/ 238316 h 638175"/>
                <a:gd name="connsiteX636" fmla="*/ 577636 w 914400"/>
                <a:gd name="connsiteY636" fmla="*/ 242012 h 638175"/>
                <a:gd name="connsiteX637" fmla="*/ 581323 w 914400"/>
                <a:gd name="connsiteY637" fmla="*/ 245698 h 638175"/>
                <a:gd name="connsiteX638" fmla="*/ 577636 w 914400"/>
                <a:gd name="connsiteY638" fmla="*/ 249384 h 638175"/>
                <a:gd name="connsiteX639" fmla="*/ 577636 w 914400"/>
                <a:gd name="connsiteY639" fmla="*/ 245698 h 638175"/>
                <a:gd name="connsiteX640" fmla="*/ 577636 w 914400"/>
                <a:gd name="connsiteY640" fmla="*/ 242012 h 638175"/>
                <a:gd name="connsiteX641" fmla="*/ 573950 w 914400"/>
                <a:gd name="connsiteY641" fmla="*/ 242012 h 638175"/>
                <a:gd name="connsiteX642" fmla="*/ 570254 w 914400"/>
                <a:gd name="connsiteY642" fmla="*/ 242012 h 638175"/>
                <a:gd name="connsiteX643" fmla="*/ 566568 w 914400"/>
                <a:gd name="connsiteY643" fmla="*/ 234630 h 638175"/>
                <a:gd name="connsiteX644" fmla="*/ 566568 w 914400"/>
                <a:gd name="connsiteY644" fmla="*/ 230934 h 638175"/>
                <a:gd name="connsiteX645" fmla="*/ 570254 w 914400"/>
                <a:gd name="connsiteY645" fmla="*/ 227248 h 638175"/>
                <a:gd name="connsiteX646" fmla="*/ 573950 w 914400"/>
                <a:gd name="connsiteY646" fmla="*/ 227248 h 638175"/>
                <a:gd name="connsiteX647" fmla="*/ 573950 w 914400"/>
                <a:gd name="connsiteY647" fmla="*/ 223552 h 638175"/>
                <a:gd name="connsiteX648" fmla="*/ 570254 w 914400"/>
                <a:gd name="connsiteY648" fmla="*/ 223552 h 638175"/>
                <a:gd name="connsiteX649" fmla="*/ 566568 w 914400"/>
                <a:gd name="connsiteY649" fmla="*/ 223552 h 638175"/>
                <a:gd name="connsiteX650" fmla="*/ 562882 w 914400"/>
                <a:gd name="connsiteY650" fmla="*/ 223552 h 638175"/>
                <a:gd name="connsiteX651" fmla="*/ 559186 w 914400"/>
                <a:gd name="connsiteY651" fmla="*/ 219866 h 638175"/>
                <a:gd name="connsiteX652" fmla="*/ 559186 w 914400"/>
                <a:gd name="connsiteY652" fmla="*/ 216170 h 638175"/>
                <a:gd name="connsiteX653" fmla="*/ 559186 w 914400"/>
                <a:gd name="connsiteY653" fmla="*/ 212484 h 638175"/>
                <a:gd name="connsiteX654" fmla="*/ 559186 w 914400"/>
                <a:gd name="connsiteY654" fmla="*/ 208788 h 638175"/>
                <a:gd name="connsiteX655" fmla="*/ 555500 w 914400"/>
                <a:gd name="connsiteY655" fmla="*/ 205102 h 638175"/>
                <a:gd name="connsiteX656" fmla="*/ 551814 w 914400"/>
                <a:gd name="connsiteY656" fmla="*/ 201407 h 638175"/>
                <a:gd name="connsiteX657" fmla="*/ 551814 w 914400"/>
                <a:gd name="connsiteY657" fmla="*/ 190338 h 638175"/>
                <a:gd name="connsiteX658" fmla="*/ 548118 w 914400"/>
                <a:gd name="connsiteY658" fmla="*/ 190338 h 638175"/>
                <a:gd name="connsiteX659" fmla="*/ 548118 w 914400"/>
                <a:gd name="connsiteY659" fmla="*/ 186652 h 638175"/>
                <a:gd name="connsiteX660" fmla="*/ 548118 w 914400"/>
                <a:gd name="connsiteY660" fmla="*/ 182957 h 638175"/>
                <a:gd name="connsiteX661" fmla="*/ 544432 w 914400"/>
                <a:gd name="connsiteY661" fmla="*/ 182957 h 638175"/>
                <a:gd name="connsiteX662" fmla="*/ 540746 w 914400"/>
                <a:gd name="connsiteY662" fmla="*/ 182957 h 638175"/>
                <a:gd name="connsiteX663" fmla="*/ 537050 w 914400"/>
                <a:gd name="connsiteY663" fmla="*/ 182957 h 638175"/>
                <a:gd name="connsiteX664" fmla="*/ 537050 w 914400"/>
                <a:gd name="connsiteY664" fmla="*/ 171889 h 638175"/>
                <a:gd name="connsiteX665" fmla="*/ 537050 w 914400"/>
                <a:gd name="connsiteY665" fmla="*/ 168193 h 638175"/>
                <a:gd name="connsiteX666" fmla="*/ 533364 w 914400"/>
                <a:gd name="connsiteY666" fmla="*/ 168193 h 638175"/>
                <a:gd name="connsiteX667" fmla="*/ 529678 w 914400"/>
                <a:gd name="connsiteY667" fmla="*/ 168193 h 638175"/>
                <a:gd name="connsiteX668" fmla="*/ 529678 w 914400"/>
                <a:gd name="connsiteY668" fmla="*/ 164507 h 638175"/>
                <a:gd name="connsiteX669" fmla="*/ 533364 w 914400"/>
                <a:gd name="connsiteY669" fmla="*/ 164507 h 638175"/>
                <a:gd name="connsiteX670" fmla="*/ 533364 w 914400"/>
                <a:gd name="connsiteY670" fmla="*/ 157125 h 638175"/>
                <a:gd name="connsiteX671" fmla="*/ 533364 w 914400"/>
                <a:gd name="connsiteY671" fmla="*/ 149743 h 638175"/>
                <a:gd name="connsiteX672" fmla="*/ 533364 w 914400"/>
                <a:gd name="connsiteY672" fmla="*/ 142361 h 638175"/>
                <a:gd name="connsiteX673" fmla="*/ 537050 w 914400"/>
                <a:gd name="connsiteY673" fmla="*/ 142361 h 638175"/>
                <a:gd name="connsiteX674" fmla="*/ 540746 w 914400"/>
                <a:gd name="connsiteY674" fmla="*/ 138675 h 638175"/>
                <a:gd name="connsiteX675" fmla="*/ 544432 w 914400"/>
                <a:gd name="connsiteY675" fmla="*/ 138675 h 638175"/>
                <a:gd name="connsiteX676" fmla="*/ 540746 w 914400"/>
                <a:gd name="connsiteY676" fmla="*/ 134979 h 638175"/>
                <a:gd name="connsiteX677" fmla="*/ 537050 w 914400"/>
                <a:gd name="connsiteY677" fmla="*/ 134979 h 638175"/>
                <a:gd name="connsiteX678" fmla="*/ 533364 w 914400"/>
                <a:gd name="connsiteY678" fmla="*/ 131293 h 638175"/>
                <a:gd name="connsiteX679" fmla="*/ 533364 w 914400"/>
                <a:gd name="connsiteY679" fmla="*/ 127597 h 638175"/>
                <a:gd name="connsiteX680" fmla="*/ 537050 w 914400"/>
                <a:gd name="connsiteY680" fmla="*/ 127597 h 638175"/>
                <a:gd name="connsiteX681" fmla="*/ 537050 w 914400"/>
                <a:gd name="connsiteY681" fmla="*/ 123909 h 638175"/>
                <a:gd name="connsiteX682" fmla="*/ 544432 w 914400"/>
                <a:gd name="connsiteY682" fmla="*/ 123909 h 638175"/>
                <a:gd name="connsiteX683" fmla="*/ 551814 w 914400"/>
                <a:gd name="connsiteY683" fmla="*/ 120218 h 638175"/>
                <a:gd name="connsiteX684" fmla="*/ 555500 w 914400"/>
                <a:gd name="connsiteY684" fmla="*/ 120218 h 638175"/>
                <a:gd name="connsiteX685" fmla="*/ 555500 w 914400"/>
                <a:gd name="connsiteY685" fmla="*/ 116528 h 638175"/>
                <a:gd name="connsiteX686" fmla="*/ 559186 w 914400"/>
                <a:gd name="connsiteY686" fmla="*/ 116528 h 638175"/>
                <a:gd name="connsiteX687" fmla="*/ 559186 w 914400"/>
                <a:gd name="connsiteY687" fmla="*/ 109147 h 638175"/>
                <a:gd name="connsiteX688" fmla="*/ 559186 w 914400"/>
                <a:gd name="connsiteY688" fmla="*/ 105456 h 638175"/>
                <a:gd name="connsiteX689" fmla="*/ 559186 w 914400"/>
                <a:gd name="connsiteY689" fmla="*/ 101766 h 638175"/>
                <a:gd name="connsiteX690" fmla="*/ 555500 w 914400"/>
                <a:gd name="connsiteY690" fmla="*/ 101766 h 638175"/>
                <a:gd name="connsiteX691" fmla="*/ 551814 w 914400"/>
                <a:gd name="connsiteY691" fmla="*/ 98075 h 638175"/>
                <a:gd name="connsiteX692" fmla="*/ 551814 w 914400"/>
                <a:gd name="connsiteY692" fmla="*/ 90695 h 638175"/>
                <a:gd name="connsiteX693" fmla="*/ 551814 w 914400"/>
                <a:gd name="connsiteY693" fmla="*/ 87004 h 638175"/>
                <a:gd name="connsiteX694" fmla="*/ 555500 w 914400"/>
                <a:gd name="connsiteY694" fmla="*/ 83313 h 638175"/>
                <a:gd name="connsiteX695" fmla="*/ 555500 w 914400"/>
                <a:gd name="connsiteY695" fmla="*/ 75932 h 638175"/>
                <a:gd name="connsiteX696" fmla="*/ 551814 w 914400"/>
                <a:gd name="connsiteY696" fmla="*/ 72242 h 638175"/>
                <a:gd name="connsiteX697" fmla="*/ 548118 w 914400"/>
                <a:gd name="connsiteY697" fmla="*/ 68551 h 638175"/>
                <a:gd name="connsiteX698" fmla="*/ 548118 w 914400"/>
                <a:gd name="connsiteY698" fmla="*/ 61170 h 638175"/>
                <a:gd name="connsiteX699" fmla="*/ 544432 w 914400"/>
                <a:gd name="connsiteY699" fmla="*/ 50098 h 638175"/>
                <a:gd name="connsiteX700" fmla="*/ 544432 w 914400"/>
                <a:gd name="connsiteY700" fmla="*/ 46407 h 638175"/>
                <a:gd name="connsiteX701" fmla="*/ 540746 w 914400"/>
                <a:gd name="connsiteY701" fmla="*/ 42717 h 638175"/>
                <a:gd name="connsiteX702" fmla="*/ 529678 w 914400"/>
                <a:gd name="connsiteY702" fmla="*/ 39026 h 638175"/>
                <a:gd name="connsiteX703" fmla="*/ 525982 w 914400"/>
                <a:gd name="connsiteY703" fmla="*/ 35335 h 638175"/>
                <a:gd name="connsiteX704" fmla="*/ 525982 w 914400"/>
                <a:gd name="connsiteY704" fmla="*/ 31645 h 638175"/>
                <a:gd name="connsiteX705" fmla="*/ 525982 w 914400"/>
                <a:gd name="connsiteY705" fmla="*/ 27954 h 638175"/>
                <a:gd name="connsiteX706" fmla="*/ 522296 w 914400"/>
                <a:gd name="connsiteY706" fmla="*/ 24264 h 638175"/>
                <a:gd name="connsiteX707" fmla="*/ 518610 w 914400"/>
                <a:gd name="connsiteY707" fmla="*/ 20573 h 638175"/>
                <a:gd name="connsiteX708" fmla="*/ 514924 w 914400"/>
                <a:gd name="connsiteY708" fmla="*/ 20573 h 638175"/>
                <a:gd name="connsiteX709" fmla="*/ 511228 w 914400"/>
                <a:gd name="connsiteY709" fmla="*/ 16882 h 638175"/>
                <a:gd name="connsiteX710" fmla="*/ 507542 w 914400"/>
                <a:gd name="connsiteY710" fmla="*/ 20573 h 638175"/>
                <a:gd name="connsiteX711" fmla="*/ 503856 w 914400"/>
                <a:gd name="connsiteY711" fmla="*/ 20573 h 638175"/>
                <a:gd name="connsiteX712" fmla="*/ 500160 w 914400"/>
                <a:gd name="connsiteY712" fmla="*/ 20573 h 638175"/>
                <a:gd name="connsiteX713" fmla="*/ 496474 w 914400"/>
                <a:gd name="connsiteY713" fmla="*/ 24264 h 638175"/>
                <a:gd name="connsiteX714" fmla="*/ 489092 w 914400"/>
                <a:gd name="connsiteY714" fmla="*/ 31645 h 638175"/>
                <a:gd name="connsiteX715" fmla="*/ 481720 w 914400"/>
                <a:gd name="connsiteY715" fmla="*/ 39026 h 638175"/>
                <a:gd name="connsiteX716" fmla="*/ 478024 w 914400"/>
                <a:gd name="connsiteY716" fmla="*/ 42717 h 638175"/>
                <a:gd name="connsiteX717" fmla="*/ 474338 w 914400"/>
                <a:gd name="connsiteY717" fmla="*/ 39026 h 638175"/>
                <a:gd name="connsiteX718" fmla="*/ 474338 w 914400"/>
                <a:gd name="connsiteY718" fmla="*/ 35335 h 638175"/>
                <a:gd name="connsiteX719" fmla="*/ 470652 w 914400"/>
                <a:gd name="connsiteY719" fmla="*/ 39026 h 638175"/>
                <a:gd name="connsiteX720" fmla="*/ 466956 w 914400"/>
                <a:gd name="connsiteY720" fmla="*/ 42717 h 638175"/>
                <a:gd name="connsiteX721" fmla="*/ 459583 w 914400"/>
                <a:gd name="connsiteY721" fmla="*/ 46407 h 638175"/>
                <a:gd name="connsiteX722" fmla="*/ 459583 w 914400"/>
                <a:gd name="connsiteY722" fmla="*/ 39026 h 638175"/>
                <a:gd name="connsiteX723" fmla="*/ 452202 w 914400"/>
                <a:gd name="connsiteY723" fmla="*/ 27954 h 638175"/>
                <a:gd name="connsiteX724" fmla="*/ 448516 w 914400"/>
                <a:gd name="connsiteY724" fmla="*/ 20573 h 638175"/>
                <a:gd name="connsiteX725" fmla="*/ 441134 w 914400"/>
                <a:gd name="connsiteY725" fmla="*/ 9502 h 638175"/>
                <a:gd name="connsiteX726" fmla="*/ 437447 w 914400"/>
                <a:gd name="connsiteY726" fmla="*/ 5812 h 638175"/>
                <a:gd name="connsiteX727" fmla="*/ 315699 w 914400"/>
                <a:gd name="connsiteY727" fmla="*/ 138675 h 638175"/>
                <a:gd name="connsiteX728" fmla="*/ 308326 w 914400"/>
                <a:gd name="connsiteY728" fmla="*/ 134979 h 638175"/>
                <a:gd name="connsiteX729" fmla="*/ 312013 w 914400"/>
                <a:gd name="connsiteY729" fmla="*/ 138675 h 638175"/>
                <a:gd name="connsiteX730" fmla="*/ 315699 w 914400"/>
                <a:gd name="connsiteY730" fmla="*/ 138675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Lst>
              <a:rect l="l" t="t" r="r" b="b"/>
              <a:pathLst>
                <a:path w="914400" h="638175">
                  <a:moveTo>
                    <a:pt x="437447" y="5812"/>
                  </a:moveTo>
                  <a:lnTo>
                    <a:pt x="430065" y="9502"/>
                  </a:lnTo>
                  <a:lnTo>
                    <a:pt x="430065" y="13193"/>
                  </a:lnTo>
                  <a:lnTo>
                    <a:pt x="426379" y="24264"/>
                  </a:lnTo>
                  <a:lnTo>
                    <a:pt x="422693" y="31645"/>
                  </a:lnTo>
                  <a:lnTo>
                    <a:pt x="422693" y="35335"/>
                  </a:lnTo>
                  <a:lnTo>
                    <a:pt x="422693" y="39026"/>
                  </a:lnTo>
                  <a:lnTo>
                    <a:pt x="418998" y="46407"/>
                  </a:lnTo>
                  <a:lnTo>
                    <a:pt x="418998" y="50098"/>
                  </a:lnTo>
                  <a:lnTo>
                    <a:pt x="418998" y="53789"/>
                  </a:lnTo>
                  <a:lnTo>
                    <a:pt x="415311" y="50098"/>
                  </a:lnTo>
                  <a:lnTo>
                    <a:pt x="415311" y="57479"/>
                  </a:lnTo>
                  <a:lnTo>
                    <a:pt x="411625" y="57479"/>
                  </a:lnTo>
                  <a:lnTo>
                    <a:pt x="411625" y="53789"/>
                  </a:lnTo>
                  <a:lnTo>
                    <a:pt x="411625" y="50098"/>
                  </a:lnTo>
                  <a:lnTo>
                    <a:pt x="407929" y="57479"/>
                  </a:lnTo>
                  <a:lnTo>
                    <a:pt x="407929" y="61170"/>
                  </a:lnTo>
                  <a:lnTo>
                    <a:pt x="411625" y="61170"/>
                  </a:lnTo>
                  <a:lnTo>
                    <a:pt x="411625" y="64860"/>
                  </a:lnTo>
                  <a:lnTo>
                    <a:pt x="407929" y="64860"/>
                  </a:lnTo>
                  <a:lnTo>
                    <a:pt x="411625" y="68551"/>
                  </a:lnTo>
                  <a:lnTo>
                    <a:pt x="407929" y="72242"/>
                  </a:lnTo>
                  <a:lnTo>
                    <a:pt x="404243" y="75932"/>
                  </a:lnTo>
                  <a:lnTo>
                    <a:pt x="393175" y="87004"/>
                  </a:lnTo>
                  <a:lnTo>
                    <a:pt x="385793" y="94385"/>
                  </a:lnTo>
                  <a:lnTo>
                    <a:pt x="378421" y="98075"/>
                  </a:lnTo>
                  <a:lnTo>
                    <a:pt x="378421" y="101766"/>
                  </a:lnTo>
                  <a:lnTo>
                    <a:pt x="374725" y="101766"/>
                  </a:lnTo>
                  <a:lnTo>
                    <a:pt x="371039" y="105456"/>
                  </a:lnTo>
                  <a:lnTo>
                    <a:pt x="367353" y="105456"/>
                  </a:lnTo>
                  <a:lnTo>
                    <a:pt x="363667" y="109147"/>
                  </a:lnTo>
                  <a:lnTo>
                    <a:pt x="363667" y="112837"/>
                  </a:lnTo>
                  <a:lnTo>
                    <a:pt x="359971" y="112837"/>
                  </a:lnTo>
                  <a:lnTo>
                    <a:pt x="359971" y="116528"/>
                  </a:lnTo>
                  <a:lnTo>
                    <a:pt x="356285" y="116528"/>
                  </a:lnTo>
                  <a:lnTo>
                    <a:pt x="352599" y="116528"/>
                  </a:lnTo>
                  <a:lnTo>
                    <a:pt x="345217" y="120218"/>
                  </a:lnTo>
                  <a:lnTo>
                    <a:pt x="341531" y="123909"/>
                  </a:lnTo>
                  <a:lnTo>
                    <a:pt x="337835" y="123909"/>
                  </a:lnTo>
                  <a:lnTo>
                    <a:pt x="334149" y="127597"/>
                  </a:lnTo>
                  <a:lnTo>
                    <a:pt x="326767" y="131293"/>
                  </a:lnTo>
                  <a:lnTo>
                    <a:pt x="323081" y="131293"/>
                  </a:lnTo>
                  <a:lnTo>
                    <a:pt x="319395" y="134979"/>
                  </a:lnTo>
                  <a:lnTo>
                    <a:pt x="315699" y="138675"/>
                  </a:lnTo>
                  <a:lnTo>
                    <a:pt x="315699" y="142361"/>
                  </a:lnTo>
                  <a:lnTo>
                    <a:pt x="312013" y="142361"/>
                  </a:lnTo>
                  <a:lnTo>
                    <a:pt x="308326" y="142361"/>
                  </a:lnTo>
                  <a:lnTo>
                    <a:pt x="308326" y="146057"/>
                  </a:lnTo>
                  <a:lnTo>
                    <a:pt x="308326" y="149743"/>
                  </a:lnTo>
                  <a:lnTo>
                    <a:pt x="304631" y="149743"/>
                  </a:lnTo>
                  <a:lnTo>
                    <a:pt x="304631" y="153439"/>
                  </a:lnTo>
                  <a:lnTo>
                    <a:pt x="300945" y="153439"/>
                  </a:lnTo>
                  <a:lnTo>
                    <a:pt x="300945" y="157125"/>
                  </a:lnTo>
                  <a:lnTo>
                    <a:pt x="297258" y="157125"/>
                  </a:lnTo>
                  <a:lnTo>
                    <a:pt x="297258" y="160811"/>
                  </a:lnTo>
                  <a:lnTo>
                    <a:pt x="289877" y="164507"/>
                  </a:lnTo>
                  <a:lnTo>
                    <a:pt x="286190" y="168193"/>
                  </a:lnTo>
                  <a:lnTo>
                    <a:pt x="282504" y="171889"/>
                  </a:lnTo>
                  <a:lnTo>
                    <a:pt x="282504" y="175575"/>
                  </a:lnTo>
                  <a:lnTo>
                    <a:pt x="278808" y="182957"/>
                  </a:lnTo>
                  <a:lnTo>
                    <a:pt x="278808" y="190338"/>
                  </a:lnTo>
                  <a:lnTo>
                    <a:pt x="275122" y="197720"/>
                  </a:lnTo>
                  <a:lnTo>
                    <a:pt x="275122" y="201407"/>
                  </a:lnTo>
                  <a:lnTo>
                    <a:pt x="271436" y="208788"/>
                  </a:lnTo>
                  <a:lnTo>
                    <a:pt x="267740" y="212484"/>
                  </a:lnTo>
                  <a:lnTo>
                    <a:pt x="252986" y="212484"/>
                  </a:lnTo>
                  <a:lnTo>
                    <a:pt x="249300" y="212484"/>
                  </a:lnTo>
                  <a:lnTo>
                    <a:pt x="241918" y="219866"/>
                  </a:lnTo>
                  <a:lnTo>
                    <a:pt x="238232" y="216170"/>
                  </a:lnTo>
                  <a:lnTo>
                    <a:pt x="234536" y="219866"/>
                  </a:lnTo>
                  <a:lnTo>
                    <a:pt x="223478" y="223552"/>
                  </a:lnTo>
                  <a:lnTo>
                    <a:pt x="216096" y="223552"/>
                  </a:lnTo>
                  <a:lnTo>
                    <a:pt x="212410" y="227248"/>
                  </a:lnTo>
                  <a:lnTo>
                    <a:pt x="205028" y="227248"/>
                  </a:lnTo>
                  <a:lnTo>
                    <a:pt x="201342" y="245698"/>
                  </a:lnTo>
                  <a:lnTo>
                    <a:pt x="201342" y="249384"/>
                  </a:lnTo>
                  <a:lnTo>
                    <a:pt x="208714" y="253080"/>
                  </a:lnTo>
                  <a:lnTo>
                    <a:pt x="208714" y="249384"/>
                  </a:lnTo>
                  <a:lnTo>
                    <a:pt x="223478" y="260461"/>
                  </a:lnTo>
                  <a:lnTo>
                    <a:pt x="223478" y="264148"/>
                  </a:lnTo>
                  <a:lnTo>
                    <a:pt x="223478" y="267843"/>
                  </a:lnTo>
                  <a:lnTo>
                    <a:pt x="223478" y="271530"/>
                  </a:lnTo>
                  <a:lnTo>
                    <a:pt x="223478" y="275225"/>
                  </a:lnTo>
                  <a:lnTo>
                    <a:pt x="223478" y="286293"/>
                  </a:lnTo>
                  <a:lnTo>
                    <a:pt x="227164" y="289989"/>
                  </a:lnTo>
                  <a:lnTo>
                    <a:pt x="245604" y="289989"/>
                  </a:lnTo>
                  <a:lnTo>
                    <a:pt x="245604" y="293675"/>
                  </a:lnTo>
                  <a:lnTo>
                    <a:pt x="241918" y="293675"/>
                  </a:lnTo>
                  <a:lnTo>
                    <a:pt x="245604" y="297361"/>
                  </a:lnTo>
                  <a:lnTo>
                    <a:pt x="245604" y="301057"/>
                  </a:lnTo>
                  <a:lnTo>
                    <a:pt x="245604" y="304743"/>
                  </a:lnTo>
                  <a:lnTo>
                    <a:pt x="249300" y="304743"/>
                  </a:lnTo>
                  <a:lnTo>
                    <a:pt x="252986" y="304743"/>
                  </a:lnTo>
                  <a:lnTo>
                    <a:pt x="252986" y="312125"/>
                  </a:lnTo>
                  <a:lnTo>
                    <a:pt x="260368" y="312125"/>
                  </a:lnTo>
                  <a:lnTo>
                    <a:pt x="260368" y="315821"/>
                  </a:lnTo>
                  <a:lnTo>
                    <a:pt x="260368" y="319507"/>
                  </a:lnTo>
                  <a:lnTo>
                    <a:pt x="252986" y="319507"/>
                  </a:lnTo>
                  <a:lnTo>
                    <a:pt x="252986" y="323203"/>
                  </a:lnTo>
                  <a:lnTo>
                    <a:pt x="252986" y="326889"/>
                  </a:lnTo>
                  <a:lnTo>
                    <a:pt x="256672" y="326889"/>
                  </a:lnTo>
                  <a:lnTo>
                    <a:pt x="256672" y="330585"/>
                  </a:lnTo>
                  <a:lnTo>
                    <a:pt x="252986" y="330585"/>
                  </a:lnTo>
                  <a:lnTo>
                    <a:pt x="249300" y="330585"/>
                  </a:lnTo>
                  <a:lnTo>
                    <a:pt x="249300" y="334271"/>
                  </a:lnTo>
                  <a:lnTo>
                    <a:pt x="245604" y="337966"/>
                  </a:lnTo>
                  <a:lnTo>
                    <a:pt x="245604" y="345339"/>
                  </a:lnTo>
                  <a:lnTo>
                    <a:pt x="245604" y="349035"/>
                  </a:lnTo>
                  <a:lnTo>
                    <a:pt x="241918" y="352721"/>
                  </a:lnTo>
                  <a:lnTo>
                    <a:pt x="238232" y="356416"/>
                  </a:lnTo>
                  <a:lnTo>
                    <a:pt x="234536" y="356416"/>
                  </a:lnTo>
                  <a:lnTo>
                    <a:pt x="234536" y="360103"/>
                  </a:lnTo>
                  <a:lnTo>
                    <a:pt x="238232" y="363798"/>
                  </a:lnTo>
                  <a:lnTo>
                    <a:pt x="245604" y="367484"/>
                  </a:lnTo>
                  <a:lnTo>
                    <a:pt x="249300" y="367484"/>
                  </a:lnTo>
                  <a:lnTo>
                    <a:pt x="252986" y="367484"/>
                  </a:lnTo>
                  <a:lnTo>
                    <a:pt x="256672" y="363798"/>
                  </a:lnTo>
                  <a:lnTo>
                    <a:pt x="260368" y="360103"/>
                  </a:lnTo>
                  <a:lnTo>
                    <a:pt x="264054" y="360103"/>
                  </a:lnTo>
                  <a:lnTo>
                    <a:pt x="267740" y="356416"/>
                  </a:lnTo>
                  <a:lnTo>
                    <a:pt x="267740" y="352721"/>
                  </a:lnTo>
                  <a:lnTo>
                    <a:pt x="271436" y="352721"/>
                  </a:lnTo>
                  <a:lnTo>
                    <a:pt x="271436" y="349035"/>
                  </a:lnTo>
                  <a:lnTo>
                    <a:pt x="271436" y="345339"/>
                  </a:lnTo>
                  <a:lnTo>
                    <a:pt x="267740" y="341653"/>
                  </a:lnTo>
                  <a:lnTo>
                    <a:pt x="278808" y="337966"/>
                  </a:lnTo>
                  <a:lnTo>
                    <a:pt x="282504" y="345339"/>
                  </a:lnTo>
                  <a:lnTo>
                    <a:pt x="282504" y="349035"/>
                  </a:lnTo>
                  <a:lnTo>
                    <a:pt x="282504" y="352721"/>
                  </a:lnTo>
                  <a:lnTo>
                    <a:pt x="282504" y="356416"/>
                  </a:lnTo>
                  <a:lnTo>
                    <a:pt x="286190" y="360103"/>
                  </a:lnTo>
                  <a:lnTo>
                    <a:pt x="282504" y="363798"/>
                  </a:lnTo>
                  <a:lnTo>
                    <a:pt x="282504" y="367484"/>
                  </a:lnTo>
                  <a:lnTo>
                    <a:pt x="282504" y="385944"/>
                  </a:lnTo>
                  <a:lnTo>
                    <a:pt x="289877" y="385944"/>
                  </a:lnTo>
                  <a:lnTo>
                    <a:pt x="289877" y="389630"/>
                  </a:lnTo>
                  <a:lnTo>
                    <a:pt x="286190" y="389630"/>
                  </a:lnTo>
                  <a:lnTo>
                    <a:pt x="297258" y="397012"/>
                  </a:lnTo>
                  <a:lnTo>
                    <a:pt x="297258" y="408080"/>
                  </a:lnTo>
                  <a:lnTo>
                    <a:pt x="297258" y="411776"/>
                  </a:lnTo>
                  <a:lnTo>
                    <a:pt x="297258" y="415462"/>
                  </a:lnTo>
                  <a:lnTo>
                    <a:pt x="297258" y="419158"/>
                  </a:lnTo>
                  <a:lnTo>
                    <a:pt x="300945" y="422844"/>
                  </a:lnTo>
                  <a:lnTo>
                    <a:pt x="304631" y="426539"/>
                  </a:lnTo>
                  <a:lnTo>
                    <a:pt x="308326" y="426539"/>
                  </a:lnTo>
                  <a:lnTo>
                    <a:pt x="308326" y="430226"/>
                  </a:lnTo>
                  <a:lnTo>
                    <a:pt x="312013" y="437607"/>
                  </a:lnTo>
                  <a:lnTo>
                    <a:pt x="312013" y="441294"/>
                  </a:lnTo>
                  <a:lnTo>
                    <a:pt x="315699" y="444989"/>
                  </a:lnTo>
                  <a:lnTo>
                    <a:pt x="312013" y="448676"/>
                  </a:lnTo>
                  <a:lnTo>
                    <a:pt x="315699" y="452371"/>
                  </a:lnTo>
                  <a:lnTo>
                    <a:pt x="315699" y="456057"/>
                  </a:lnTo>
                  <a:lnTo>
                    <a:pt x="315699" y="459753"/>
                  </a:lnTo>
                  <a:lnTo>
                    <a:pt x="312013" y="463439"/>
                  </a:lnTo>
                  <a:lnTo>
                    <a:pt x="304631" y="467135"/>
                  </a:lnTo>
                  <a:lnTo>
                    <a:pt x="297258" y="463439"/>
                  </a:lnTo>
                  <a:lnTo>
                    <a:pt x="286190" y="459753"/>
                  </a:lnTo>
                  <a:lnTo>
                    <a:pt x="278808" y="456057"/>
                  </a:lnTo>
                  <a:lnTo>
                    <a:pt x="275122" y="448676"/>
                  </a:lnTo>
                  <a:lnTo>
                    <a:pt x="271436" y="448676"/>
                  </a:lnTo>
                  <a:lnTo>
                    <a:pt x="267740" y="448676"/>
                  </a:lnTo>
                  <a:lnTo>
                    <a:pt x="264054" y="444989"/>
                  </a:lnTo>
                  <a:lnTo>
                    <a:pt x="260368" y="444989"/>
                  </a:lnTo>
                  <a:lnTo>
                    <a:pt x="252986" y="441294"/>
                  </a:lnTo>
                  <a:lnTo>
                    <a:pt x="249300" y="437607"/>
                  </a:lnTo>
                  <a:lnTo>
                    <a:pt x="245604" y="437607"/>
                  </a:lnTo>
                  <a:lnTo>
                    <a:pt x="241918" y="437607"/>
                  </a:lnTo>
                  <a:lnTo>
                    <a:pt x="230850" y="437607"/>
                  </a:lnTo>
                  <a:lnTo>
                    <a:pt x="227164" y="433921"/>
                  </a:lnTo>
                  <a:lnTo>
                    <a:pt x="223478" y="433921"/>
                  </a:lnTo>
                  <a:lnTo>
                    <a:pt x="219782" y="437607"/>
                  </a:lnTo>
                  <a:lnTo>
                    <a:pt x="216096" y="441294"/>
                  </a:lnTo>
                  <a:lnTo>
                    <a:pt x="212410" y="441294"/>
                  </a:lnTo>
                  <a:lnTo>
                    <a:pt x="205028" y="444989"/>
                  </a:lnTo>
                  <a:lnTo>
                    <a:pt x="201342" y="444989"/>
                  </a:lnTo>
                  <a:lnTo>
                    <a:pt x="197646" y="448676"/>
                  </a:lnTo>
                  <a:lnTo>
                    <a:pt x="193960" y="448676"/>
                  </a:lnTo>
                  <a:lnTo>
                    <a:pt x="186578" y="444989"/>
                  </a:lnTo>
                  <a:lnTo>
                    <a:pt x="182892" y="448676"/>
                  </a:lnTo>
                  <a:lnTo>
                    <a:pt x="179206" y="448676"/>
                  </a:lnTo>
                  <a:lnTo>
                    <a:pt x="175510" y="452371"/>
                  </a:lnTo>
                  <a:lnTo>
                    <a:pt x="175510" y="456057"/>
                  </a:lnTo>
                  <a:lnTo>
                    <a:pt x="171824" y="456057"/>
                  </a:lnTo>
                  <a:lnTo>
                    <a:pt x="168138" y="459753"/>
                  </a:lnTo>
                  <a:lnTo>
                    <a:pt x="164442" y="459753"/>
                  </a:lnTo>
                  <a:lnTo>
                    <a:pt x="160756" y="456057"/>
                  </a:lnTo>
                  <a:lnTo>
                    <a:pt x="157069" y="452371"/>
                  </a:lnTo>
                  <a:lnTo>
                    <a:pt x="146001" y="452371"/>
                  </a:lnTo>
                  <a:lnTo>
                    <a:pt x="142315" y="452371"/>
                  </a:lnTo>
                  <a:lnTo>
                    <a:pt x="134933" y="444989"/>
                  </a:lnTo>
                  <a:lnTo>
                    <a:pt x="127554" y="441294"/>
                  </a:lnTo>
                  <a:lnTo>
                    <a:pt x="123865" y="441294"/>
                  </a:lnTo>
                  <a:lnTo>
                    <a:pt x="120176" y="441294"/>
                  </a:lnTo>
                  <a:lnTo>
                    <a:pt x="120176" y="448676"/>
                  </a:lnTo>
                  <a:lnTo>
                    <a:pt x="116487" y="452371"/>
                  </a:lnTo>
                  <a:lnTo>
                    <a:pt x="112798" y="456057"/>
                  </a:lnTo>
                  <a:lnTo>
                    <a:pt x="109108" y="456057"/>
                  </a:lnTo>
                  <a:lnTo>
                    <a:pt x="105419" y="456057"/>
                  </a:lnTo>
                  <a:lnTo>
                    <a:pt x="101730" y="452371"/>
                  </a:lnTo>
                  <a:lnTo>
                    <a:pt x="98041" y="448676"/>
                  </a:lnTo>
                  <a:lnTo>
                    <a:pt x="94352" y="456057"/>
                  </a:lnTo>
                  <a:lnTo>
                    <a:pt x="90663" y="467135"/>
                  </a:lnTo>
                  <a:lnTo>
                    <a:pt x="83284" y="474517"/>
                  </a:lnTo>
                  <a:lnTo>
                    <a:pt x="79595" y="478203"/>
                  </a:lnTo>
                  <a:lnTo>
                    <a:pt x="83284" y="478203"/>
                  </a:lnTo>
                  <a:lnTo>
                    <a:pt x="79595" y="481899"/>
                  </a:lnTo>
                  <a:lnTo>
                    <a:pt x="75906" y="489271"/>
                  </a:lnTo>
                  <a:lnTo>
                    <a:pt x="72217" y="489271"/>
                  </a:lnTo>
                  <a:lnTo>
                    <a:pt x="72217" y="492967"/>
                  </a:lnTo>
                  <a:lnTo>
                    <a:pt x="68528" y="504035"/>
                  </a:lnTo>
                  <a:lnTo>
                    <a:pt x="64839" y="507730"/>
                  </a:lnTo>
                  <a:lnTo>
                    <a:pt x="64839" y="511417"/>
                  </a:lnTo>
                  <a:lnTo>
                    <a:pt x="61149" y="511417"/>
                  </a:lnTo>
                  <a:lnTo>
                    <a:pt x="53771" y="511417"/>
                  </a:lnTo>
                  <a:lnTo>
                    <a:pt x="50082" y="511417"/>
                  </a:lnTo>
                  <a:lnTo>
                    <a:pt x="50082" y="518799"/>
                  </a:lnTo>
                  <a:lnTo>
                    <a:pt x="46393" y="522494"/>
                  </a:lnTo>
                  <a:lnTo>
                    <a:pt x="42704" y="522494"/>
                  </a:lnTo>
                  <a:lnTo>
                    <a:pt x="39014" y="522494"/>
                  </a:lnTo>
                  <a:lnTo>
                    <a:pt x="35325" y="522494"/>
                  </a:lnTo>
                  <a:lnTo>
                    <a:pt x="35325" y="526180"/>
                  </a:lnTo>
                  <a:lnTo>
                    <a:pt x="35325" y="529876"/>
                  </a:lnTo>
                  <a:lnTo>
                    <a:pt x="39014" y="533562"/>
                  </a:lnTo>
                  <a:lnTo>
                    <a:pt x="39014" y="537248"/>
                  </a:lnTo>
                  <a:lnTo>
                    <a:pt x="35325" y="537248"/>
                  </a:lnTo>
                  <a:lnTo>
                    <a:pt x="31636" y="533562"/>
                  </a:lnTo>
                  <a:lnTo>
                    <a:pt x="20569" y="537248"/>
                  </a:lnTo>
                  <a:lnTo>
                    <a:pt x="16879" y="533562"/>
                  </a:lnTo>
                  <a:lnTo>
                    <a:pt x="9501" y="537248"/>
                  </a:lnTo>
                  <a:lnTo>
                    <a:pt x="5812" y="533562"/>
                  </a:lnTo>
                  <a:lnTo>
                    <a:pt x="5812" y="537248"/>
                  </a:lnTo>
                  <a:lnTo>
                    <a:pt x="5812" y="540944"/>
                  </a:lnTo>
                  <a:lnTo>
                    <a:pt x="9501" y="544630"/>
                  </a:lnTo>
                  <a:lnTo>
                    <a:pt x="5812" y="544630"/>
                  </a:lnTo>
                  <a:lnTo>
                    <a:pt x="9501" y="548326"/>
                  </a:lnTo>
                  <a:lnTo>
                    <a:pt x="13190" y="548326"/>
                  </a:lnTo>
                  <a:lnTo>
                    <a:pt x="16879" y="548326"/>
                  </a:lnTo>
                  <a:lnTo>
                    <a:pt x="24258" y="548326"/>
                  </a:lnTo>
                  <a:lnTo>
                    <a:pt x="20569" y="563090"/>
                  </a:lnTo>
                  <a:lnTo>
                    <a:pt x="20569" y="566776"/>
                  </a:lnTo>
                  <a:lnTo>
                    <a:pt x="13190" y="566776"/>
                  </a:lnTo>
                  <a:lnTo>
                    <a:pt x="13190" y="570472"/>
                  </a:lnTo>
                  <a:lnTo>
                    <a:pt x="13190" y="574158"/>
                  </a:lnTo>
                  <a:lnTo>
                    <a:pt x="16879" y="574158"/>
                  </a:lnTo>
                  <a:lnTo>
                    <a:pt x="20569" y="577854"/>
                  </a:lnTo>
                  <a:lnTo>
                    <a:pt x="27947" y="581540"/>
                  </a:lnTo>
                  <a:lnTo>
                    <a:pt x="31636" y="585226"/>
                  </a:lnTo>
                  <a:lnTo>
                    <a:pt x="35325" y="585226"/>
                  </a:lnTo>
                  <a:lnTo>
                    <a:pt x="35325" y="588922"/>
                  </a:lnTo>
                  <a:lnTo>
                    <a:pt x="39014" y="592608"/>
                  </a:lnTo>
                  <a:lnTo>
                    <a:pt x="39014" y="596303"/>
                  </a:lnTo>
                  <a:lnTo>
                    <a:pt x="42704" y="596303"/>
                  </a:lnTo>
                  <a:lnTo>
                    <a:pt x="42704" y="599990"/>
                  </a:lnTo>
                  <a:lnTo>
                    <a:pt x="46393" y="599990"/>
                  </a:lnTo>
                  <a:lnTo>
                    <a:pt x="50082" y="596303"/>
                  </a:lnTo>
                  <a:lnTo>
                    <a:pt x="53771" y="592608"/>
                  </a:lnTo>
                  <a:lnTo>
                    <a:pt x="57460" y="592608"/>
                  </a:lnTo>
                  <a:lnTo>
                    <a:pt x="61149" y="596303"/>
                  </a:lnTo>
                  <a:lnTo>
                    <a:pt x="64839" y="599990"/>
                  </a:lnTo>
                  <a:lnTo>
                    <a:pt x="75906" y="603685"/>
                  </a:lnTo>
                  <a:lnTo>
                    <a:pt x="75906" y="607372"/>
                  </a:lnTo>
                  <a:lnTo>
                    <a:pt x="75906" y="611067"/>
                  </a:lnTo>
                  <a:lnTo>
                    <a:pt x="75906" y="614753"/>
                  </a:lnTo>
                  <a:lnTo>
                    <a:pt x="79595" y="618449"/>
                  </a:lnTo>
                  <a:lnTo>
                    <a:pt x="75906" y="622135"/>
                  </a:lnTo>
                  <a:lnTo>
                    <a:pt x="72217" y="625831"/>
                  </a:lnTo>
                  <a:lnTo>
                    <a:pt x="68528" y="625831"/>
                  </a:lnTo>
                  <a:lnTo>
                    <a:pt x="68528" y="629517"/>
                  </a:lnTo>
                  <a:lnTo>
                    <a:pt x="72217" y="633203"/>
                  </a:lnTo>
                  <a:lnTo>
                    <a:pt x="79595" y="629517"/>
                  </a:lnTo>
                  <a:lnTo>
                    <a:pt x="86973" y="629517"/>
                  </a:lnTo>
                  <a:lnTo>
                    <a:pt x="94352" y="629517"/>
                  </a:lnTo>
                  <a:lnTo>
                    <a:pt x="98041" y="629517"/>
                  </a:lnTo>
                  <a:lnTo>
                    <a:pt x="105419" y="629517"/>
                  </a:lnTo>
                  <a:lnTo>
                    <a:pt x="109108" y="629517"/>
                  </a:lnTo>
                  <a:lnTo>
                    <a:pt x="112798" y="629517"/>
                  </a:lnTo>
                  <a:lnTo>
                    <a:pt x="116487" y="625831"/>
                  </a:lnTo>
                  <a:lnTo>
                    <a:pt x="120176" y="629517"/>
                  </a:lnTo>
                  <a:lnTo>
                    <a:pt x="127554" y="633203"/>
                  </a:lnTo>
                  <a:lnTo>
                    <a:pt x="131243" y="636899"/>
                  </a:lnTo>
                  <a:lnTo>
                    <a:pt x="134933" y="633203"/>
                  </a:lnTo>
                  <a:lnTo>
                    <a:pt x="138620" y="629517"/>
                  </a:lnTo>
                  <a:lnTo>
                    <a:pt x="146001" y="629517"/>
                  </a:lnTo>
                  <a:lnTo>
                    <a:pt x="153383" y="633203"/>
                  </a:lnTo>
                  <a:lnTo>
                    <a:pt x="157069" y="633203"/>
                  </a:lnTo>
                  <a:lnTo>
                    <a:pt x="157069" y="629517"/>
                  </a:lnTo>
                  <a:lnTo>
                    <a:pt x="164442" y="625831"/>
                  </a:lnTo>
                  <a:lnTo>
                    <a:pt x="182892" y="618449"/>
                  </a:lnTo>
                  <a:lnTo>
                    <a:pt x="182892" y="614753"/>
                  </a:lnTo>
                  <a:lnTo>
                    <a:pt x="186578" y="614753"/>
                  </a:lnTo>
                  <a:lnTo>
                    <a:pt x="186578" y="607372"/>
                  </a:lnTo>
                  <a:lnTo>
                    <a:pt x="186578" y="599990"/>
                  </a:lnTo>
                  <a:lnTo>
                    <a:pt x="190274" y="592608"/>
                  </a:lnTo>
                  <a:lnTo>
                    <a:pt x="190274" y="588922"/>
                  </a:lnTo>
                  <a:lnTo>
                    <a:pt x="197646" y="577854"/>
                  </a:lnTo>
                  <a:lnTo>
                    <a:pt x="201342" y="574158"/>
                  </a:lnTo>
                  <a:lnTo>
                    <a:pt x="205028" y="570472"/>
                  </a:lnTo>
                  <a:lnTo>
                    <a:pt x="205028" y="566776"/>
                  </a:lnTo>
                  <a:lnTo>
                    <a:pt x="208714" y="563090"/>
                  </a:lnTo>
                  <a:lnTo>
                    <a:pt x="212410" y="563090"/>
                  </a:lnTo>
                  <a:lnTo>
                    <a:pt x="212410" y="566776"/>
                  </a:lnTo>
                  <a:lnTo>
                    <a:pt x="216096" y="570472"/>
                  </a:lnTo>
                  <a:lnTo>
                    <a:pt x="219782" y="574158"/>
                  </a:lnTo>
                  <a:lnTo>
                    <a:pt x="223478" y="574158"/>
                  </a:lnTo>
                  <a:lnTo>
                    <a:pt x="230850" y="574158"/>
                  </a:lnTo>
                  <a:lnTo>
                    <a:pt x="238232" y="574158"/>
                  </a:lnTo>
                  <a:lnTo>
                    <a:pt x="241918" y="570472"/>
                  </a:lnTo>
                  <a:lnTo>
                    <a:pt x="245604" y="563090"/>
                  </a:lnTo>
                  <a:lnTo>
                    <a:pt x="245604" y="559394"/>
                  </a:lnTo>
                  <a:lnTo>
                    <a:pt x="249300" y="559394"/>
                  </a:lnTo>
                  <a:lnTo>
                    <a:pt x="252986" y="559394"/>
                  </a:lnTo>
                  <a:lnTo>
                    <a:pt x="256672" y="559394"/>
                  </a:lnTo>
                  <a:lnTo>
                    <a:pt x="260368" y="563090"/>
                  </a:lnTo>
                  <a:lnTo>
                    <a:pt x="260368" y="566776"/>
                  </a:lnTo>
                  <a:lnTo>
                    <a:pt x="264054" y="566776"/>
                  </a:lnTo>
                  <a:lnTo>
                    <a:pt x="267740" y="566776"/>
                  </a:lnTo>
                  <a:lnTo>
                    <a:pt x="271436" y="570472"/>
                  </a:lnTo>
                  <a:lnTo>
                    <a:pt x="275122" y="570472"/>
                  </a:lnTo>
                  <a:lnTo>
                    <a:pt x="278808" y="566776"/>
                  </a:lnTo>
                  <a:lnTo>
                    <a:pt x="278808" y="563090"/>
                  </a:lnTo>
                  <a:lnTo>
                    <a:pt x="282504" y="559394"/>
                  </a:lnTo>
                  <a:lnTo>
                    <a:pt x="286190" y="559394"/>
                  </a:lnTo>
                  <a:lnTo>
                    <a:pt x="293572" y="559394"/>
                  </a:lnTo>
                  <a:lnTo>
                    <a:pt x="297258" y="559394"/>
                  </a:lnTo>
                  <a:lnTo>
                    <a:pt x="300945" y="559394"/>
                  </a:lnTo>
                  <a:lnTo>
                    <a:pt x="308326" y="563090"/>
                  </a:lnTo>
                  <a:lnTo>
                    <a:pt x="312013" y="566776"/>
                  </a:lnTo>
                  <a:lnTo>
                    <a:pt x="315699" y="566776"/>
                  </a:lnTo>
                  <a:lnTo>
                    <a:pt x="323081" y="566776"/>
                  </a:lnTo>
                  <a:lnTo>
                    <a:pt x="326767" y="570472"/>
                  </a:lnTo>
                  <a:lnTo>
                    <a:pt x="326767" y="577854"/>
                  </a:lnTo>
                  <a:lnTo>
                    <a:pt x="330463" y="581540"/>
                  </a:lnTo>
                  <a:lnTo>
                    <a:pt x="334149" y="585226"/>
                  </a:lnTo>
                  <a:lnTo>
                    <a:pt x="337835" y="588922"/>
                  </a:lnTo>
                  <a:lnTo>
                    <a:pt x="341531" y="588922"/>
                  </a:lnTo>
                  <a:lnTo>
                    <a:pt x="345217" y="588922"/>
                  </a:lnTo>
                  <a:lnTo>
                    <a:pt x="348903" y="592608"/>
                  </a:lnTo>
                  <a:lnTo>
                    <a:pt x="352599" y="592608"/>
                  </a:lnTo>
                  <a:lnTo>
                    <a:pt x="352599" y="599990"/>
                  </a:lnTo>
                  <a:lnTo>
                    <a:pt x="356285" y="599990"/>
                  </a:lnTo>
                  <a:lnTo>
                    <a:pt x="359971" y="603685"/>
                  </a:lnTo>
                  <a:lnTo>
                    <a:pt x="363667" y="603685"/>
                  </a:lnTo>
                  <a:lnTo>
                    <a:pt x="367353" y="603685"/>
                  </a:lnTo>
                  <a:lnTo>
                    <a:pt x="371039" y="607372"/>
                  </a:lnTo>
                  <a:lnTo>
                    <a:pt x="374725" y="611067"/>
                  </a:lnTo>
                  <a:lnTo>
                    <a:pt x="374725" y="614753"/>
                  </a:lnTo>
                  <a:lnTo>
                    <a:pt x="378421" y="618449"/>
                  </a:lnTo>
                  <a:lnTo>
                    <a:pt x="382107" y="618449"/>
                  </a:lnTo>
                  <a:lnTo>
                    <a:pt x="385793" y="618449"/>
                  </a:lnTo>
                  <a:lnTo>
                    <a:pt x="393175" y="618449"/>
                  </a:lnTo>
                  <a:lnTo>
                    <a:pt x="396861" y="618449"/>
                  </a:lnTo>
                  <a:lnTo>
                    <a:pt x="407929" y="614753"/>
                  </a:lnTo>
                  <a:lnTo>
                    <a:pt x="411625" y="614753"/>
                  </a:lnTo>
                  <a:lnTo>
                    <a:pt x="422693" y="614753"/>
                  </a:lnTo>
                  <a:lnTo>
                    <a:pt x="430065" y="614753"/>
                  </a:lnTo>
                  <a:lnTo>
                    <a:pt x="433761" y="614753"/>
                  </a:lnTo>
                  <a:lnTo>
                    <a:pt x="437447" y="614753"/>
                  </a:lnTo>
                  <a:lnTo>
                    <a:pt x="437447" y="611067"/>
                  </a:lnTo>
                  <a:lnTo>
                    <a:pt x="437447" y="607372"/>
                  </a:lnTo>
                  <a:lnTo>
                    <a:pt x="433761" y="603685"/>
                  </a:lnTo>
                  <a:lnTo>
                    <a:pt x="437447" y="599990"/>
                  </a:lnTo>
                  <a:lnTo>
                    <a:pt x="444820" y="599990"/>
                  </a:lnTo>
                  <a:lnTo>
                    <a:pt x="448516" y="599990"/>
                  </a:lnTo>
                  <a:lnTo>
                    <a:pt x="452202" y="603685"/>
                  </a:lnTo>
                  <a:lnTo>
                    <a:pt x="455888" y="607372"/>
                  </a:lnTo>
                  <a:lnTo>
                    <a:pt x="455888" y="611067"/>
                  </a:lnTo>
                  <a:lnTo>
                    <a:pt x="459583" y="614753"/>
                  </a:lnTo>
                  <a:lnTo>
                    <a:pt x="459583" y="618449"/>
                  </a:lnTo>
                  <a:lnTo>
                    <a:pt x="463270" y="622135"/>
                  </a:lnTo>
                  <a:lnTo>
                    <a:pt x="466956" y="622135"/>
                  </a:lnTo>
                  <a:lnTo>
                    <a:pt x="466956" y="625831"/>
                  </a:lnTo>
                  <a:lnTo>
                    <a:pt x="470652" y="629517"/>
                  </a:lnTo>
                  <a:lnTo>
                    <a:pt x="474338" y="629517"/>
                  </a:lnTo>
                  <a:lnTo>
                    <a:pt x="478024" y="625831"/>
                  </a:lnTo>
                  <a:lnTo>
                    <a:pt x="478024" y="622135"/>
                  </a:lnTo>
                  <a:lnTo>
                    <a:pt x="481720" y="618449"/>
                  </a:lnTo>
                  <a:lnTo>
                    <a:pt x="489092" y="614753"/>
                  </a:lnTo>
                  <a:lnTo>
                    <a:pt x="492788" y="614753"/>
                  </a:lnTo>
                  <a:lnTo>
                    <a:pt x="496474" y="607372"/>
                  </a:lnTo>
                  <a:lnTo>
                    <a:pt x="496474" y="603685"/>
                  </a:lnTo>
                  <a:lnTo>
                    <a:pt x="492788" y="603685"/>
                  </a:lnTo>
                  <a:lnTo>
                    <a:pt x="492788" y="596303"/>
                  </a:lnTo>
                  <a:lnTo>
                    <a:pt x="496474" y="596303"/>
                  </a:lnTo>
                  <a:lnTo>
                    <a:pt x="492788" y="592608"/>
                  </a:lnTo>
                  <a:lnTo>
                    <a:pt x="489092" y="592608"/>
                  </a:lnTo>
                  <a:lnTo>
                    <a:pt x="489092" y="588922"/>
                  </a:lnTo>
                  <a:lnTo>
                    <a:pt x="489092" y="585226"/>
                  </a:lnTo>
                  <a:lnTo>
                    <a:pt x="489092" y="581540"/>
                  </a:lnTo>
                  <a:lnTo>
                    <a:pt x="481720" y="574158"/>
                  </a:lnTo>
                  <a:lnTo>
                    <a:pt x="478024" y="574158"/>
                  </a:lnTo>
                  <a:lnTo>
                    <a:pt x="474338" y="574158"/>
                  </a:lnTo>
                  <a:lnTo>
                    <a:pt x="474338" y="570472"/>
                  </a:lnTo>
                  <a:lnTo>
                    <a:pt x="478024" y="566776"/>
                  </a:lnTo>
                  <a:lnTo>
                    <a:pt x="481720" y="566776"/>
                  </a:lnTo>
                  <a:lnTo>
                    <a:pt x="474338" y="563090"/>
                  </a:lnTo>
                  <a:lnTo>
                    <a:pt x="481720" y="552012"/>
                  </a:lnTo>
                  <a:lnTo>
                    <a:pt x="485406" y="552012"/>
                  </a:lnTo>
                  <a:lnTo>
                    <a:pt x="485406" y="555708"/>
                  </a:lnTo>
                  <a:lnTo>
                    <a:pt x="492788" y="555708"/>
                  </a:lnTo>
                  <a:lnTo>
                    <a:pt x="496474" y="555708"/>
                  </a:lnTo>
                  <a:lnTo>
                    <a:pt x="503856" y="552012"/>
                  </a:lnTo>
                  <a:lnTo>
                    <a:pt x="507542" y="552012"/>
                  </a:lnTo>
                  <a:lnTo>
                    <a:pt x="511228" y="548326"/>
                  </a:lnTo>
                  <a:lnTo>
                    <a:pt x="514924" y="544630"/>
                  </a:lnTo>
                  <a:lnTo>
                    <a:pt x="518610" y="548326"/>
                  </a:lnTo>
                  <a:lnTo>
                    <a:pt x="522296" y="544630"/>
                  </a:lnTo>
                  <a:lnTo>
                    <a:pt x="525982" y="540944"/>
                  </a:lnTo>
                  <a:lnTo>
                    <a:pt x="529678" y="540944"/>
                  </a:lnTo>
                  <a:lnTo>
                    <a:pt x="525982" y="537248"/>
                  </a:lnTo>
                  <a:lnTo>
                    <a:pt x="529678" y="533562"/>
                  </a:lnTo>
                  <a:lnTo>
                    <a:pt x="533364" y="529876"/>
                  </a:lnTo>
                  <a:lnTo>
                    <a:pt x="537050" y="533562"/>
                  </a:lnTo>
                  <a:lnTo>
                    <a:pt x="544432" y="540944"/>
                  </a:lnTo>
                  <a:lnTo>
                    <a:pt x="548118" y="540944"/>
                  </a:lnTo>
                  <a:lnTo>
                    <a:pt x="551814" y="540944"/>
                  </a:lnTo>
                  <a:lnTo>
                    <a:pt x="566568" y="544630"/>
                  </a:lnTo>
                  <a:lnTo>
                    <a:pt x="577636" y="544630"/>
                  </a:lnTo>
                  <a:lnTo>
                    <a:pt x="581323" y="548326"/>
                  </a:lnTo>
                  <a:lnTo>
                    <a:pt x="581323" y="540944"/>
                  </a:lnTo>
                  <a:lnTo>
                    <a:pt x="581323" y="537248"/>
                  </a:lnTo>
                  <a:lnTo>
                    <a:pt x="581323" y="533562"/>
                  </a:lnTo>
                  <a:lnTo>
                    <a:pt x="581323" y="529876"/>
                  </a:lnTo>
                  <a:lnTo>
                    <a:pt x="573950" y="526180"/>
                  </a:lnTo>
                  <a:lnTo>
                    <a:pt x="570254" y="526180"/>
                  </a:lnTo>
                  <a:lnTo>
                    <a:pt x="570254" y="522494"/>
                  </a:lnTo>
                  <a:lnTo>
                    <a:pt x="570254" y="518799"/>
                  </a:lnTo>
                  <a:lnTo>
                    <a:pt x="566568" y="511417"/>
                  </a:lnTo>
                  <a:lnTo>
                    <a:pt x="562882" y="507730"/>
                  </a:lnTo>
                  <a:lnTo>
                    <a:pt x="555500" y="507730"/>
                  </a:lnTo>
                  <a:lnTo>
                    <a:pt x="551814" y="507730"/>
                  </a:lnTo>
                  <a:lnTo>
                    <a:pt x="555500" y="504035"/>
                  </a:lnTo>
                  <a:lnTo>
                    <a:pt x="555500" y="500349"/>
                  </a:lnTo>
                  <a:lnTo>
                    <a:pt x="559186" y="500349"/>
                  </a:lnTo>
                  <a:lnTo>
                    <a:pt x="562882" y="504035"/>
                  </a:lnTo>
                  <a:lnTo>
                    <a:pt x="577636" y="496653"/>
                  </a:lnTo>
                  <a:lnTo>
                    <a:pt x="581323" y="500349"/>
                  </a:lnTo>
                  <a:lnTo>
                    <a:pt x="585009" y="500349"/>
                  </a:lnTo>
                  <a:lnTo>
                    <a:pt x="588704" y="504035"/>
                  </a:lnTo>
                  <a:lnTo>
                    <a:pt x="596077" y="507730"/>
                  </a:lnTo>
                  <a:lnTo>
                    <a:pt x="596077" y="511417"/>
                  </a:lnTo>
                  <a:lnTo>
                    <a:pt x="588704" y="511417"/>
                  </a:lnTo>
                  <a:lnTo>
                    <a:pt x="592391" y="515112"/>
                  </a:lnTo>
                  <a:lnTo>
                    <a:pt x="596077" y="518799"/>
                  </a:lnTo>
                  <a:lnTo>
                    <a:pt x="599772" y="522494"/>
                  </a:lnTo>
                  <a:lnTo>
                    <a:pt x="607145" y="526180"/>
                  </a:lnTo>
                  <a:lnTo>
                    <a:pt x="614527" y="526180"/>
                  </a:lnTo>
                  <a:lnTo>
                    <a:pt x="614527" y="522494"/>
                  </a:lnTo>
                  <a:lnTo>
                    <a:pt x="621909" y="522494"/>
                  </a:lnTo>
                  <a:lnTo>
                    <a:pt x="625595" y="526180"/>
                  </a:lnTo>
                  <a:lnTo>
                    <a:pt x="629281" y="526180"/>
                  </a:lnTo>
                  <a:lnTo>
                    <a:pt x="629281" y="522494"/>
                  </a:lnTo>
                  <a:lnTo>
                    <a:pt x="632977" y="522494"/>
                  </a:lnTo>
                  <a:lnTo>
                    <a:pt x="632977" y="518799"/>
                  </a:lnTo>
                  <a:lnTo>
                    <a:pt x="636663" y="522494"/>
                  </a:lnTo>
                  <a:lnTo>
                    <a:pt x="647731" y="526180"/>
                  </a:lnTo>
                  <a:lnTo>
                    <a:pt x="647731" y="529876"/>
                  </a:lnTo>
                  <a:lnTo>
                    <a:pt x="651417" y="537248"/>
                  </a:lnTo>
                  <a:lnTo>
                    <a:pt x="651417" y="540944"/>
                  </a:lnTo>
                  <a:lnTo>
                    <a:pt x="658799" y="537248"/>
                  </a:lnTo>
                  <a:lnTo>
                    <a:pt x="666171" y="537248"/>
                  </a:lnTo>
                  <a:lnTo>
                    <a:pt x="669867" y="537248"/>
                  </a:lnTo>
                  <a:lnTo>
                    <a:pt x="673553" y="540944"/>
                  </a:lnTo>
                  <a:lnTo>
                    <a:pt x="677239" y="540944"/>
                  </a:lnTo>
                  <a:lnTo>
                    <a:pt x="680935" y="544630"/>
                  </a:lnTo>
                  <a:lnTo>
                    <a:pt x="680935" y="548326"/>
                  </a:lnTo>
                  <a:lnTo>
                    <a:pt x="680935" y="552012"/>
                  </a:lnTo>
                  <a:lnTo>
                    <a:pt x="684621" y="552012"/>
                  </a:lnTo>
                  <a:lnTo>
                    <a:pt x="688307" y="552012"/>
                  </a:lnTo>
                  <a:lnTo>
                    <a:pt x="692003" y="552012"/>
                  </a:lnTo>
                  <a:lnTo>
                    <a:pt x="699375" y="555708"/>
                  </a:lnTo>
                  <a:lnTo>
                    <a:pt x="703071" y="555708"/>
                  </a:lnTo>
                  <a:lnTo>
                    <a:pt x="699375" y="548326"/>
                  </a:lnTo>
                  <a:lnTo>
                    <a:pt x="703071" y="552012"/>
                  </a:lnTo>
                  <a:lnTo>
                    <a:pt x="699375" y="544630"/>
                  </a:lnTo>
                  <a:lnTo>
                    <a:pt x="699375" y="540944"/>
                  </a:lnTo>
                  <a:lnTo>
                    <a:pt x="703071" y="537248"/>
                  </a:lnTo>
                  <a:lnTo>
                    <a:pt x="699375" y="537248"/>
                  </a:lnTo>
                  <a:lnTo>
                    <a:pt x="699375" y="533562"/>
                  </a:lnTo>
                  <a:lnTo>
                    <a:pt x="695689" y="533562"/>
                  </a:lnTo>
                  <a:lnTo>
                    <a:pt x="692003" y="529876"/>
                  </a:lnTo>
                  <a:lnTo>
                    <a:pt x="692003" y="526180"/>
                  </a:lnTo>
                  <a:lnTo>
                    <a:pt x="692003" y="518799"/>
                  </a:lnTo>
                  <a:lnTo>
                    <a:pt x="699375" y="522494"/>
                  </a:lnTo>
                  <a:lnTo>
                    <a:pt x="703071" y="522494"/>
                  </a:lnTo>
                  <a:lnTo>
                    <a:pt x="706757" y="526180"/>
                  </a:lnTo>
                  <a:lnTo>
                    <a:pt x="710443" y="526180"/>
                  </a:lnTo>
                  <a:lnTo>
                    <a:pt x="710443" y="529876"/>
                  </a:lnTo>
                  <a:lnTo>
                    <a:pt x="714139" y="529876"/>
                  </a:lnTo>
                  <a:lnTo>
                    <a:pt x="717825" y="529876"/>
                  </a:lnTo>
                  <a:lnTo>
                    <a:pt x="721512" y="526180"/>
                  </a:lnTo>
                  <a:lnTo>
                    <a:pt x="725207" y="533562"/>
                  </a:lnTo>
                  <a:lnTo>
                    <a:pt x="728893" y="533562"/>
                  </a:lnTo>
                  <a:lnTo>
                    <a:pt x="732580" y="537248"/>
                  </a:lnTo>
                  <a:lnTo>
                    <a:pt x="736266" y="533562"/>
                  </a:lnTo>
                  <a:lnTo>
                    <a:pt x="747334" y="529876"/>
                  </a:lnTo>
                  <a:lnTo>
                    <a:pt x="747334" y="526180"/>
                  </a:lnTo>
                  <a:lnTo>
                    <a:pt x="747334" y="522494"/>
                  </a:lnTo>
                  <a:lnTo>
                    <a:pt x="751029" y="522494"/>
                  </a:lnTo>
                  <a:lnTo>
                    <a:pt x="754716" y="518799"/>
                  </a:lnTo>
                  <a:lnTo>
                    <a:pt x="758402" y="518799"/>
                  </a:lnTo>
                  <a:lnTo>
                    <a:pt x="762098" y="518799"/>
                  </a:lnTo>
                  <a:lnTo>
                    <a:pt x="765784" y="515112"/>
                  </a:lnTo>
                  <a:lnTo>
                    <a:pt x="765784" y="511417"/>
                  </a:lnTo>
                  <a:lnTo>
                    <a:pt x="769470" y="511417"/>
                  </a:lnTo>
                  <a:lnTo>
                    <a:pt x="773166" y="507730"/>
                  </a:lnTo>
                  <a:lnTo>
                    <a:pt x="773166" y="511417"/>
                  </a:lnTo>
                  <a:lnTo>
                    <a:pt x="776852" y="511417"/>
                  </a:lnTo>
                  <a:lnTo>
                    <a:pt x="780538" y="507730"/>
                  </a:lnTo>
                  <a:lnTo>
                    <a:pt x="787920" y="504035"/>
                  </a:lnTo>
                  <a:lnTo>
                    <a:pt x="806360" y="496653"/>
                  </a:lnTo>
                  <a:lnTo>
                    <a:pt x="810056" y="496653"/>
                  </a:lnTo>
                  <a:lnTo>
                    <a:pt x="813742" y="496653"/>
                  </a:lnTo>
                  <a:lnTo>
                    <a:pt x="813742" y="492967"/>
                  </a:lnTo>
                  <a:lnTo>
                    <a:pt x="821124" y="489271"/>
                  </a:lnTo>
                  <a:lnTo>
                    <a:pt x="828496" y="485585"/>
                  </a:lnTo>
                  <a:lnTo>
                    <a:pt x="832192" y="485585"/>
                  </a:lnTo>
                  <a:lnTo>
                    <a:pt x="835878" y="481899"/>
                  </a:lnTo>
                  <a:lnTo>
                    <a:pt x="835878" y="485585"/>
                  </a:lnTo>
                  <a:lnTo>
                    <a:pt x="839564" y="485585"/>
                  </a:lnTo>
                  <a:lnTo>
                    <a:pt x="843260" y="485585"/>
                  </a:lnTo>
                  <a:lnTo>
                    <a:pt x="843260" y="489271"/>
                  </a:lnTo>
                  <a:lnTo>
                    <a:pt x="846946" y="492967"/>
                  </a:lnTo>
                  <a:lnTo>
                    <a:pt x="854328" y="500349"/>
                  </a:lnTo>
                  <a:lnTo>
                    <a:pt x="861700" y="496653"/>
                  </a:lnTo>
                  <a:lnTo>
                    <a:pt x="861700" y="492967"/>
                  </a:lnTo>
                  <a:lnTo>
                    <a:pt x="865396" y="492967"/>
                  </a:lnTo>
                  <a:lnTo>
                    <a:pt x="869082" y="489271"/>
                  </a:lnTo>
                  <a:lnTo>
                    <a:pt x="872769" y="489271"/>
                  </a:lnTo>
                  <a:lnTo>
                    <a:pt x="872769" y="485585"/>
                  </a:lnTo>
                  <a:lnTo>
                    <a:pt x="876455" y="481899"/>
                  </a:lnTo>
                  <a:lnTo>
                    <a:pt x="880150" y="481899"/>
                  </a:lnTo>
                  <a:lnTo>
                    <a:pt x="887523" y="470821"/>
                  </a:lnTo>
                  <a:lnTo>
                    <a:pt x="891218" y="467135"/>
                  </a:lnTo>
                  <a:lnTo>
                    <a:pt x="891218" y="463439"/>
                  </a:lnTo>
                  <a:lnTo>
                    <a:pt x="891218" y="459753"/>
                  </a:lnTo>
                  <a:lnTo>
                    <a:pt x="891218" y="448676"/>
                  </a:lnTo>
                  <a:lnTo>
                    <a:pt x="898591" y="444989"/>
                  </a:lnTo>
                  <a:lnTo>
                    <a:pt x="905973" y="444989"/>
                  </a:lnTo>
                  <a:lnTo>
                    <a:pt x="909659" y="437607"/>
                  </a:lnTo>
                  <a:lnTo>
                    <a:pt x="905973" y="433921"/>
                  </a:lnTo>
                  <a:lnTo>
                    <a:pt x="905973" y="426539"/>
                  </a:lnTo>
                  <a:lnTo>
                    <a:pt x="905973" y="422844"/>
                  </a:lnTo>
                  <a:lnTo>
                    <a:pt x="894905" y="419158"/>
                  </a:lnTo>
                  <a:lnTo>
                    <a:pt x="898591" y="419158"/>
                  </a:lnTo>
                  <a:lnTo>
                    <a:pt x="876455" y="404394"/>
                  </a:lnTo>
                  <a:lnTo>
                    <a:pt x="872769" y="400698"/>
                  </a:lnTo>
                  <a:lnTo>
                    <a:pt x="869082" y="393316"/>
                  </a:lnTo>
                  <a:lnTo>
                    <a:pt x="850632" y="385944"/>
                  </a:lnTo>
                  <a:lnTo>
                    <a:pt x="835878" y="385944"/>
                  </a:lnTo>
                  <a:lnTo>
                    <a:pt x="835878" y="382248"/>
                  </a:lnTo>
                  <a:lnTo>
                    <a:pt x="835878" y="374866"/>
                  </a:lnTo>
                  <a:lnTo>
                    <a:pt x="835878" y="371180"/>
                  </a:lnTo>
                  <a:lnTo>
                    <a:pt x="839564" y="367484"/>
                  </a:lnTo>
                  <a:lnTo>
                    <a:pt x="839564" y="363798"/>
                  </a:lnTo>
                  <a:lnTo>
                    <a:pt x="839564" y="360103"/>
                  </a:lnTo>
                  <a:lnTo>
                    <a:pt x="850632" y="360103"/>
                  </a:lnTo>
                  <a:lnTo>
                    <a:pt x="858014" y="356416"/>
                  </a:lnTo>
                  <a:lnTo>
                    <a:pt x="865396" y="352721"/>
                  </a:lnTo>
                  <a:lnTo>
                    <a:pt x="865396" y="349035"/>
                  </a:lnTo>
                  <a:lnTo>
                    <a:pt x="865396" y="345339"/>
                  </a:lnTo>
                  <a:lnTo>
                    <a:pt x="865396" y="341653"/>
                  </a:lnTo>
                  <a:lnTo>
                    <a:pt x="869082" y="341653"/>
                  </a:lnTo>
                  <a:lnTo>
                    <a:pt x="869082" y="337966"/>
                  </a:lnTo>
                  <a:lnTo>
                    <a:pt x="872769" y="323203"/>
                  </a:lnTo>
                  <a:lnTo>
                    <a:pt x="850632" y="323203"/>
                  </a:lnTo>
                  <a:lnTo>
                    <a:pt x="846946" y="323203"/>
                  </a:lnTo>
                  <a:lnTo>
                    <a:pt x="839564" y="319507"/>
                  </a:lnTo>
                  <a:lnTo>
                    <a:pt x="832192" y="315821"/>
                  </a:lnTo>
                  <a:lnTo>
                    <a:pt x="828496" y="315821"/>
                  </a:lnTo>
                  <a:lnTo>
                    <a:pt x="821124" y="315821"/>
                  </a:lnTo>
                  <a:lnTo>
                    <a:pt x="828496" y="304743"/>
                  </a:lnTo>
                  <a:lnTo>
                    <a:pt x="828496" y="293675"/>
                  </a:lnTo>
                  <a:lnTo>
                    <a:pt x="828496" y="289989"/>
                  </a:lnTo>
                  <a:lnTo>
                    <a:pt x="828496" y="286293"/>
                  </a:lnTo>
                  <a:lnTo>
                    <a:pt x="817428" y="278911"/>
                  </a:lnTo>
                  <a:lnTo>
                    <a:pt x="813742" y="278911"/>
                  </a:lnTo>
                  <a:lnTo>
                    <a:pt x="810056" y="286293"/>
                  </a:lnTo>
                  <a:lnTo>
                    <a:pt x="810056" y="282607"/>
                  </a:lnTo>
                  <a:lnTo>
                    <a:pt x="806360" y="278911"/>
                  </a:lnTo>
                  <a:lnTo>
                    <a:pt x="802674" y="282607"/>
                  </a:lnTo>
                  <a:lnTo>
                    <a:pt x="798988" y="286293"/>
                  </a:lnTo>
                  <a:lnTo>
                    <a:pt x="798988" y="289989"/>
                  </a:lnTo>
                  <a:lnTo>
                    <a:pt x="795302" y="286293"/>
                  </a:lnTo>
                  <a:lnTo>
                    <a:pt x="791606" y="282607"/>
                  </a:lnTo>
                  <a:lnTo>
                    <a:pt x="795302" y="278911"/>
                  </a:lnTo>
                  <a:lnTo>
                    <a:pt x="787920" y="275225"/>
                  </a:lnTo>
                  <a:lnTo>
                    <a:pt x="784234" y="275225"/>
                  </a:lnTo>
                  <a:lnTo>
                    <a:pt x="769470" y="278911"/>
                  </a:lnTo>
                  <a:lnTo>
                    <a:pt x="751029" y="275225"/>
                  </a:lnTo>
                  <a:lnTo>
                    <a:pt x="747334" y="275225"/>
                  </a:lnTo>
                  <a:lnTo>
                    <a:pt x="739961" y="278911"/>
                  </a:lnTo>
                  <a:lnTo>
                    <a:pt x="736266" y="275225"/>
                  </a:lnTo>
                  <a:lnTo>
                    <a:pt x="732580" y="275225"/>
                  </a:lnTo>
                  <a:lnTo>
                    <a:pt x="732580" y="271530"/>
                  </a:lnTo>
                  <a:lnTo>
                    <a:pt x="728893" y="267843"/>
                  </a:lnTo>
                  <a:lnTo>
                    <a:pt x="728893" y="260461"/>
                  </a:lnTo>
                  <a:lnTo>
                    <a:pt x="721512" y="260461"/>
                  </a:lnTo>
                  <a:lnTo>
                    <a:pt x="721512" y="256766"/>
                  </a:lnTo>
                  <a:lnTo>
                    <a:pt x="717825" y="256766"/>
                  </a:lnTo>
                  <a:lnTo>
                    <a:pt x="717825" y="249384"/>
                  </a:lnTo>
                  <a:lnTo>
                    <a:pt x="706757" y="242012"/>
                  </a:lnTo>
                  <a:lnTo>
                    <a:pt x="703071" y="234630"/>
                  </a:lnTo>
                  <a:lnTo>
                    <a:pt x="703071" y="230934"/>
                  </a:lnTo>
                  <a:lnTo>
                    <a:pt x="703071" y="227248"/>
                  </a:lnTo>
                  <a:lnTo>
                    <a:pt x="699375" y="227248"/>
                  </a:lnTo>
                  <a:lnTo>
                    <a:pt x="692003" y="227248"/>
                  </a:lnTo>
                  <a:lnTo>
                    <a:pt x="688307" y="227248"/>
                  </a:lnTo>
                  <a:lnTo>
                    <a:pt x="684621" y="227248"/>
                  </a:lnTo>
                  <a:lnTo>
                    <a:pt x="684621" y="223552"/>
                  </a:lnTo>
                  <a:lnTo>
                    <a:pt x="680935" y="227248"/>
                  </a:lnTo>
                  <a:lnTo>
                    <a:pt x="677239" y="227248"/>
                  </a:lnTo>
                  <a:lnTo>
                    <a:pt x="669867" y="227248"/>
                  </a:lnTo>
                  <a:lnTo>
                    <a:pt x="666171" y="230934"/>
                  </a:lnTo>
                  <a:lnTo>
                    <a:pt x="662485" y="230934"/>
                  </a:lnTo>
                  <a:lnTo>
                    <a:pt x="662485" y="238316"/>
                  </a:lnTo>
                  <a:lnTo>
                    <a:pt x="655113" y="238316"/>
                  </a:lnTo>
                  <a:lnTo>
                    <a:pt x="655113" y="242012"/>
                  </a:lnTo>
                  <a:lnTo>
                    <a:pt x="644045" y="242012"/>
                  </a:lnTo>
                  <a:lnTo>
                    <a:pt x="644045" y="238316"/>
                  </a:lnTo>
                  <a:lnTo>
                    <a:pt x="640349" y="238316"/>
                  </a:lnTo>
                  <a:lnTo>
                    <a:pt x="636663" y="238316"/>
                  </a:lnTo>
                  <a:lnTo>
                    <a:pt x="632977" y="238316"/>
                  </a:lnTo>
                  <a:lnTo>
                    <a:pt x="629281" y="242012"/>
                  </a:lnTo>
                  <a:lnTo>
                    <a:pt x="625595" y="238316"/>
                  </a:lnTo>
                  <a:lnTo>
                    <a:pt x="621909" y="238316"/>
                  </a:lnTo>
                  <a:lnTo>
                    <a:pt x="614527" y="238316"/>
                  </a:lnTo>
                  <a:lnTo>
                    <a:pt x="610840" y="238316"/>
                  </a:lnTo>
                  <a:lnTo>
                    <a:pt x="607145" y="238316"/>
                  </a:lnTo>
                  <a:lnTo>
                    <a:pt x="603459" y="238316"/>
                  </a:lnTo>
                  <a:lnTo>
                    <a:pt x="603459" y="242012"/>
                  </a:lnTo>
                  <a:lnTo>
                    <a:pt x="599772" y="238316"/>
                  </a:lnTo>
                  <a:lnTo>
                    <a:pt x="596077" y="238316"/>
                  </a:lnTo>
                  <a:lnTo>
                    <a:pt x="588704" y="238316"/>
                  </a:lnTo>
                  <a:lnTo>
                    <a:pt x="588704" y="234630"/>
                  </a:lnTo>
                  <a:lnTo>
                    <a:pt x="585009" y="234630"/>
                  </a:lnTo>
                  <a:lnTo>
                    <a:pt x="577636" y="238316"/>
                  </a:lnTo>
                  <a:lnTo>
                    <a:pt x="577636" y="242012"/>
                  </a:lnTo>
                  <a:lnTo>
                    <a:pt x="581323" y="245698"/>
                  </a:lnTo>
                  <a:lnTo>
                    <a:pt x="577636" y="249384"/>
                  </a:lnTo>
                  <a:lnTo>
                    <a:pt x="577636" y="245698"/>
                  </a:lnTo>
                  <a:lnTo>
                    <a:pt x="577636" y="242012"/>
                  </a:lnTo>
                  <a:lnTo>
                    <a:pt x="573950" y="242012"/>
                  </a:lnTo>
                  <a:lnTo>
                    <a:pt x="570254" y="242012"/>
                  </a:lnTo>
                  <a:lnTo>
                    <a:pt x="566568" y="234630"/>
                  </a:lnTo>
                  <a:lnTo>
                    <a:pt x="566568" y="230934"/>
                  </a:lnTo>
                  <a:lnTo>
                    <a:pt x="570254" y="227248"/>
                  </a:lnTo>
                  <a:lnTo>
                    <a:pt x="573950" y="227248"/>
                  </a:lnTo>
                  <a:lnTo>
                    <a:pt x="573950" y="223552"/>
                  </a:lnTo>
                  <a:lnTo>
                    <a:pt x="570254" y="223552"/>
                  </a:lnTo>
                  <a:lnTo>
                    <a:pt x="566568" y="223552"/>
                  </a:lnTo>
                  <a:lnTo>
                    <a:pt x="562882" y="223552"/>
                  </a:lnTo>
                  <a:lnTo>
                    <a:pt x="559186" y="219866"/>
                  </a:lnTo>
                  <a:lnTo>
                    <a:pt x="559186" y="216170"/>
                  </a:lnTo>
                  <a:lnTo>
                    <a:pt x="559186" y="212484"/>
                  </a:lnTo>
                  <a:lnTo>
                    <a:pt x="559186" y="208788"/>
                  </a:lnTo>
                  <a:lnTo>
                    <a:pt x="555500" y="205102"/>
                  </a:lnTo>
                  <a:lnTo>
                    <a:pt x="551814" y="201407"/>
                  </a:lnTo>
                  <a:lnTo>
                    <a:pt x="551814" y="190338"/>
                  </a:lnTo>
                  <a:lnTo>
                    <a:pt x="548118" y="190338"/>
                  </a:lnTo>
                  <a:lnTo>
                    <a:pt x="548118" y="186652"/>
                  </a:lnTo>
                  <a:lnTo>
                    <a:pt x="548118" y="182957"/>
                  </a:lnTo>
                  <a:lnTo>
                    <a:pt x="544432" y="182957"/>
                  </a:lnTo>
                  <a:lnTo>
                    <a:pt x="540746" y="182957"/>
                  </a:lnTo>
                  <a:lnTo>
                    <a:pt x="537050" y="182957"/>
                  </a:lnTo>
                  <a:lnTo>
                    <a:pt x="537050" y="171889"/>
                  </a:lnTo>
                  <a:lnTo>
                    <a:pt x="537050" y="168193"/>
                  </a:lnTo>
                  <a:lnTo>
                    <a:pt x="533364" y="168193"/>
                  </a:lnTo>
                  <a:lnTo>
                    <a:pt x="529678" y="168193"/>
                  </a:lnTo>
                  <a:lnTo>
                    <a:pt x="529678" y="164507"/>
                  </a:lnTo>
                  <a:lnTo>
                    <a:pt x="533364" y="164507"/>
                  </a:lnTo>
                  <a:lnTo>
                    <a:pt x="533364" y="157125"/>
                  </a:lnTo>
                  <a:lnTo>
                    <a:pt x="533364" y="149743"/>
                  </a:lnTo>
                  <a:lnTo>
                    <a:pt x="533364" y="142361"/>
                  </a:lnTo>
                  <a:lnTo>
                    <a:pt x="537050" y="142361"/>
                  </a:lnTo>
                  <a:lnTo>
                    <a:pt x="540746" y="138675"/>
                  </a:lnTo>
                  <a:lnTo>
                    <a:pt x="544432" y="138675"/>
                  </a:lnTo>
                  <a:lnTo>
                    <a:pt x="540746" y="134979"/>
                  </a:lnTo>
                  <a:lnTo>
                    <a:pt x="537050" y="134979"/>
                  </a:lnTo>
                  <a:lnTo>
                    <a:pt x="533364" y="131293"/>
                  </a:lnTo>
                  <a:lnTo>
                    <a:pt x="533364" y="127597"/>
                  </a:lnTo>
                  <a:lnTo>
                    <a:pt x="537050" y="127597"/>
                  </a:lnTo>
                  <a:lnTo>
                    <a:pt x="537050" y="123909"/>
                  </a:lnTo>
                  <a:lnTo>
                    <a:pt x="544432" y="123909"/>
                  </a:lnTo>
                  <a:lnTo>
                    <a:pt x="551814" y="120218"/>
                  </a:lnTo>
                  <a:lnTo>
                    <a:pt x="555500" y="120218"/>
                  </a:lnTo>
                  <a:lnTo>
                    <a:pt x="555500" y="116528"/>
                  </a:lnTo>
                  <a:lnTo>
                    <a:pt x="559186" y="116528"/>
                  </a:lnTo>
                  <a:lnTo>
                    <a:pt x="559186" y="109147"/>
                  </a:lnTo>
                  <a:lnTo>
                    <a:pt x="559186" y="105456"/>
                  </a:lnTo>
                  <a:lnTo>
                    <a:pt x="559186" y="101766"/>
                  </a:lnTo>
                  <a:lnTo>
                    <a:pt x="555500" y="101766"/>
                  </a:lnTo>
                  <a:lnTo>
                    <a:pt x="551814" y="98075"/>
                  </a:lnTo>
                  <a:lnTo>
                    <a:pt x="551814" y="90695"/>
                  </a:lnTo>
                  <a:lnTo>
                    <a:pt x="551814" y="87004"/>
                  </a:lnTo>
                  <a:lnTo>
                    <a:pt x="555500" y="83313"/>
                  </a:lnTo>
                  <a:lnTo>
                    <a:pt x="555500" y="75932"/>
                  </a:lnTo>
                  <a:lnTo>
                    <a:pt x="551814" y="72242"/>
                  </a:lnTo>
                  <a:lnTo>
                    <a:pt x="548118" y="68551"/>
                  </a:lnTo>
                  <a:lnTo>
                    <a:pt x="548118" y="61170"/>
                  </a:lnTo>
                  <a:lnTo>
                    <a:pt x="544432" y="50098"/>
                  </a:lnTo>
                  <a:lnTo>
                    <a:pt x="544432" y="46407"/>
                  </a:lnTo>
                  <a:lnTo>
                    <a:pt x="540746" y="42717"/>
                  </a:lnTo>
                  <a:lnTo>
                    <a:pt x="529678" y="39026"/>
                  </a:lnTo>
                  <a:lnTo>
                    <a:pt x="525982" y="35335"/>
                  </a:lnTo>
                  <a:lnTo>
                    <a:pt x="525982" y="31645"/>
                  </a:lnTo>
                  <a:lnTo>
                    <a:pt x="525982" y="27954"/>
                  </a:lnTo>
                  <a:lnTo>
                    <a:pt x="522296" y="24264"/>
                  </a:lnTo>
                  <a:lnTo>
                    <a:pt x="518610" y="20573"/>
                  </a:lnTo>
                  <a:lnTo>
                    <a:pt x="514924" y="20573"/>
                  </a:lnTo>
                  <a:lnTo>
                    <a:pt x="511228" y="16882"/>
                  </a:lnTo>
                  <a:lnTo>
                    <a:pt x="507542" y="20573"/>
                  </a:lnTo>
                  <a:lnTo>
                    <a:pt x="503856" y="20573"/>
                  </a:lnTo>
                  <a:lnTo>
                    <a:pt x="500160" y="20573"/>
                  </a:lnTo>
                  <a:lnTo>
                    <a:pt x="496474" y="24264"/>
                  </a:lnTo>
                  <a:lnTo>
                    <a:pt x="489092" y="31645"/>
                  </a:lnTo>
                  <a:lnTo>
                    <a:pt x="481720" y="39026"/>
                  </a:lnTo>
                  <a:lnTo>
                    <a:pt x="478024" y="42717"/>
                  </a:lnTo>
                  <a:lnTo>
                    <a:pt x="474338" y="39026"/>
                  </a:lnTo>
                  <a:lnTo>
                    <a:pt x="474338" y="35335"/>
                  </a:lnTo>
                  <a:lnTo>
                    <a:pt x="470652" y="39026"/>
                  </a:lnTo>
                  <a:lnTo>
                    <a:pt x="466956" y="42717"/>
                  </a:lnTo>
                  <a:lnTo>
                    <a:pt x="459583" y="46407"/>
                  </a:lnTo>
                  <a:lnTo>
                    <a:pt x="459583" y="39026"/>
                  </a:lnTo>
                  <a:lnTo>
                    <a:pt x="452202" y="27954"/>
                  </a:lnTo>
                  <a:lnTo>
                    <a:pt x="448516" y="20573"/>
                  </a:lnTo>
                  <a:lnTo>
                    <a:pt x="441134" y="9502"/>
                  </a:lnTo>
                  <a:lnTo>
                    <a:pt x="437447" y="5812"/>
                  </a:lnTo>
                  <a:close/>
                  <a:moveTo>
                    <a:pt x="315699" y="138675"/>
                  </a:moveTo>
                  <a:lnTo>
                    <a:pt x="308326" y="134979"/>
                  </a:lnTo>
                  <a:lnTo>
                    <a:pt x="312013" y="138675"/>
                  </a:lnTo>
                  <a:lnTo>
                    <a:pt x="315699" y="138675"/>
                  </a:lnTo>
                  <a:close/>
                </a:path>
              </a:pathLst>
            </a:custGeom>
            <a:solidFill>
              <a:schemeClr val="accent5"/>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35</a:t>
              </a:r>
            </a:p>
          </p:txBody>
        </p:sp>
        <p:sp>
          <p:nvSpPr>
            <p:cNvPr id="74" name="Freeform: Shape 73">
              <a:extLst>
                <a:ext uri="{FF2B5EF4-FFF2-40B4-BE49-F238E27FC236}">
                  <a16:creationId xmlns:a16="http://schemas.microsoft.com/office/drawing/2014/main" id="{03B207E8-3E14-4366-8D29-6428C9C30BC4}"/>
                </a:ext>
              </a:extLst>
            </p:cNvPr>
            <p:cNvSpPr/>
            <p:nvPr/>
          </p:nvSpPr>
          <p:spPr>
            <a:xfrm>
              <a:off x="1958611" y="4027472"/>
              <a:ext cx="676397" cy="476554"/>
            </a:xfrm>
            <a:custGeom>
              <a:avLst/>
              <a:gdLst>
                <a:gd name="connsiteX0" fmla="*/ 112797 w 419100"/>
                <a:gd name="connsiteY0" fmla="*/ 5812 h 295275"/>
                <a:gd name="connsiteX1" fmla="*/ 112797 w 419100"/>
                <a:gd name="connsiteY1" fmla="*/ 9507 h 295275"/>
                <a:gd name="connsiteX2" fmla="*/ 109108 w 419100"/>
                <a:gd name="connsiteY2" fmla="*/ 9507 h 295275"/>
                <a:gd name="connsiteX3" fmla="*/ 109108 w 419100"/>
                <a:gd name="connsiteY3" fmla="*/ 13193 h 295275"/>
                <a:gd name="connsiteX4" fmla="*/ 109108 w 419100"/>
                <a:gd name="connsiteY4" fmla="*/ 16889 h 295275"/>
                <a:gd name="connsiteX5" fmla="*/ 101730 w 419100"/>
                <a:gd name="connsiteY5" fmla="*/ 13193 h 295275"/>
                <a:gd name="connsiteX6" fmla="*/ 101730 w 419100"/>
                <a:gd name="connsiteY6" fmla="*/ 16889 h 295275"/>
                <a:gd name="connsiteX7" fmla="*/ 94351 w 419100"/>
                <a:gd name="connsiteY7" fmla="*/ 20575 h 295275"/>
                <a:gd name="connsiteX8" fmla="*/ 94351 w 419100"/>
                <a:gd name="connsiteY8" fmla="*/ 24262 h 295275"/>
                <a:gd name="connsiteX9" fmla="*/ 90662 w 419100"/>
                <a:gd name="connsiteY9" fmla="*/ 24262 h 295275"/>
                <a:gd name="connsiteX10" fmla="*/ 86973 w 419100"/>
                <a:gd name="connsiteY10" fmla="*/ 24262 h 295275"/>
                <a:gd name="connsiteX11" fmla="*/ 83284 w 419100"/>
                <a:gd name="connsiteY11" fmla="*/ 24262 h 295275"/>
                <a:gd name="connsiteX12" fmla="*/ 75906 w 419100"/>
                <a:gd name="connsiteY12" fmla="*/ 20575 h 295275"/>
                <a:gd name="connsiteX13" fmla="*/ 72217 w 419100"/>
                <a:gd name="connsiteY13" fmla="*/ 24262 h 295275"/>
                <a:gd name="connsiteX14" fmla="*/ 72217 w 419100"/>
                <a:gd name="connsiteY14" fmla="*/ 27957 h 295275"/>
                <a:gd name="connsiteX15" fmla="*/ 75906 w 419100"/>
                <a:gd name="connsiteY15" fmla="*/ 31643 h 295275"/>
                <a:gd name="connsiteX16" fmla="*/ 72217 w 419100"/>
                <a:gd name="connsiteY16" fmla="*/ 35339 h 295275"/>
                <a:gd name="connsiteX17" fmla="*/ 68527 w 419100"/>
                <a:gd name="connsiteY17" fmla="*/ 39025 h 295275"/>
                <a:gd name="connsiteX18" fmla="*/ 68527 w 419100"/>
                <a:gd name="connsiteY18" fmla="*/ 42721 h 295275"/>
                <a:gd name="connsiteX19" fmla="*/ 64838 w 419100"/>
                <a:gd name="connsiteY19" fmla="*/ 42721 h 295275"/>
                <a:gd name="connsiteX20" fmla="*/ 61149 w 419100"/>
                <a:gd name="connsiteY20" fmla="*/ 42721 h 295275"/>
                <a:gd name="connsiteX21" fmla="*/ 61149 w 419100"/>
                <a:gd name="connsiteY21" fmla="*/ 46407 h 295275"/>
                <a:gd name="connsiteX22" fmla="*/ 57460 w 419100"/>
                <a:gd name="connsiteY22" fmla="*/ 42721 h 295275"/>
                <a:gd name="connsiteX23" fmla="*/ 53771 w 419100"/>
                <a:gd name="connsiteY23" fmla="*/ 42721 h 295275"/>
                <a:gd name="connsiteX24" fmla="*/ 50082 w 419100"/>
                <a:gd name="connsiteY24" fmla="*/ 42721 h 295275"/>
                <a:gd name="connsiteX25" fmla="*/ 46393 w 419100"/>
                <a:gd name="connsiteY25" fmla="*/ 46407 h 295275"/>
                <a:gd name="connsiteX26" fmla="*/ 39014 w 419100"/>
                <a:gd name="connsiteY26" fmla="*/ 50103 h 295275"/>
                <a:gd name="connsiteX27" fmla="*/ 39014 w 419100"/>
                <a:gd name="connsiteY27" fmla="*/ 53789 h 295275"/>
                <a:gd name="connsiteX28" fmla="*/ 35325 w 419100"/>
                <a:gd name="connsiteY28" fmla="*/ 53789 h 295275"/>
                <a:gd name="connsiteX29" fmla="*/ 31636 w 419100"/>
                <a:gd name="connsiteY29" fmla="*/ 57485 h 295275"/>
                <a:gd name="connsiteX30" fmla="*/ 27947 w 419100"/>
                <a:gd name="connsiteY30" fmla="*/ 57485 h 295275"/>
                <a:gd name="connsiteX31" fmla="*/ 27947 w 419100"/>
                <a:gd name="connsiteY31" fmla="*/ 61171 h 295275"/>
                <a:gd name="connsiteX32" fmla="*/ 24257 w 419100"/>
                <a:gd name="connsiteY32" fmla="*/ 61171 h 295275"/>
                <a:gd name="connsiteX33" fmla="*/ 20568 w 419100"/>
                <a:gd name="connsiteY33" fmla="*/ 64867 h 295275"/>
                <a:gd name="connsiteX34" fmla="*/ 16879 w 419100"/>
                <a:gd name="connsiteY34" fmla="*/ 64867 h 295275"/>
                <a:gd name="connsiteX35" fmla="*/ 13190 w 419100"/>
                <a:gd name="connsiteY35" fmla="*/ 64867 h 295275"/>
                <a:gd name="connsiteX36" fmla="*/ 9501 w 419100"/>
                <a:gd name="connsiteY36" fmla="*/ 64867 h 295275"/>
                <a:gd name="connsiteX37" fmla="*/ 9501 w 419100"/>
                <a:gd name="connsiteY37" fmla="*/ 68553 h 295275"/>
                <a:gd name="connsiteX38" fmla="*/ 13190 w 419100"/>
                <a:gd name="connsiteY38" fmla="*/ 72239 h 295275"/>
                <a:gd name="connsiteX39" fmla="*/ 13190 w 419100"/>
                <a:gd name="connsiteY39" fmla="*/ 79621 h 295275"/>
                <a:gd name="connsiteX40" fmla="*/ 13190 w 419100"/>
                <a:gd name="connsiteY40" fmla="*/ 83316 h 295275"/>
                <a:gd name="connsiteX41" fmla="*/ 16879 w 419100"/>
                <a:gd name="connsiteY41" fmla="*/ 83316 h 295275"/>
                <a:gd name="connsiteX42" fmla="*/ 16879 w 419100"/>
                <a:gd name="connsiteY42" fmla="*/ 87003 h 295275"/>
                <a:gd name="connsiteX43" fmla="*/ 20568 w 419100"/>
                <a:gd name="connsiteY43" fmla="*/ 90698 h 295275"/>
                <a:gd name="connsiteX44" fmla="*/ 24257 w 419100"/>
                <a:gd name="connsiteY44" fmla="*/ 90698 h 295275"/>
                <a:gd name="connsiteX45" fmla="*/ 24257 w 419100"/>
                <a:gd name="connsiteY45" fmla="*/ 94385 h 295275"/>
                <a:gd name="connsiteX46" fmla="*/ 27947 w 419100"/>
                <a:gd name="connsiteY46" fmla="*/ 98080 h 295275"/>
                <a:gd name="connsiteX47" fmla="*/ 31636 w 419100"/>
                <a:gd name="connsiteY47" fmla="*/ 101766 h 295275"/>
                <a:gd name="connsiteX48" fmla="*/ 39014 w 419100"/>
                <a:gd name="connsiteY48" fmla="*/ 101766 h 295275"/>
                <a:gd name="connsiteX49" fmla="*/ 42703 w 419100"/>
                <a:gd name="connsiteY49" fmla="*/ 105462 h 295275"/>
                <a:gd name="connsiteX50" fmla="*/ 57460 w 419100"/>
                <a:gd name="connsiteY50" fmla="*/ 116530 h 295275"/>
                <a:gd name="connsiteX51" fmla="*/ 46393 w 419100"/>
                <a:gd name="connsiteY51" fmla="*/ 120216 h 295275"/>
                <a:gd name="connsiteX52" fmla="*/ 46393 w 419100"/>
                <a:gd name="connsiteY52" fmla="*/ 134980 h 295275"/>
                <a:gd name="connsiteX53" fmla="*/ 42703 w 419100"/>
                <a:gd name="connsiteY53" fmla="*/ 134980 h 295275"/>
                <a:gd name="connsiteX54" fmla="*/ 39014 w 419100"/>
                <a:gd name="connsiteY54" fmla="*/ 134980 h 295275"/>
                <a:gd name="connsiteX55" fmla="*/ 31636 w 419100"/>
                <a:gd name="connsiteY55" fmla="*/ 134980 h 295275"/>
                <a:gd name="connsiteX56" fmla="*/ 27947 w 419100"/>
                <a:gd name="connsiteY56" fmla="*/ 134980 h 295275"/>
                <a:gd name="connsiteX57" fmla="*/ 27947 w 419100"/>
                <a:gd name="connsiteY57" fmla="*/ 131294 h 295275"/>
                <a:gd name="connsiteX58" fmla="*/ 20568 w 419100"/>
                <a:gd name="connsiteY58" fmla="*/ 131294 h 295275"/>
                <a:gd name="connsiteX59" fmla="*/ 16879 w 419100"/>
                <a:gd name="connsiteY59" fmla="*/ 134980 h 295275"/>
                <a:gd name="connsiteX60" fmla="*/ 13190 w 419100"/>
                <a:gd name="connsiteY60" fmla="*/ 138676 h 295275"/>
                <a:gd name="connsiteX61" fmla="*/ 16879 w 419100"/>
                <a:gd name="connsiteY61" fmla="*/ 138676 h 295275"/>
                <a:gd name="connsiteX62" fmla="*/ 13190 w 419100"/>
                <a:gd name="connsiteY62" fmla="*/ 142362 h 295275"/>
                <a:gd name="connsiteX63" fmla="*/ 13190 w 419100"/>
                <a:gd name="connsiteY63" fmla="*/ 146058 h 295275"/>
                <a:gd name="connsiteX64" fmla="*/ 9501 w 419100"/>
                <a:gd name="connsiteY64" fmla="*/ 146058 h 295275"/>
                <a:gd name="connsiteX65" fmla="*/ 5812 w 419100"/>
                <a:gd name="connsiteY65" fmla="*/ 146058 h 295275"/>
                <a:gd name="connsiteX66" fmla="*/ 5812 w 419100"/>
                <a:gd name="connsiteY66" fmla="*/ 149744 h 295275"/>
                <a:gd name="connsiteX67" fmla="*/ 20568 w 419100"/>
                <a:gd name="connsiteY67" fmla="*/ 157126 h 295275"/>
                <a:gd name="connsiteX68" fmla="*/ 24257 w 419100"/>
                <a:gd name="connsiteY68" fmla="*/ 160821 h 295275"/>
                <a:gd name="connsiteX69" fmla="*/ 20568 w 419100"/>
                <a:gd name="connsiteY69" fmla="*/ 160821 h 295275"/>
                <a:gd name="connsiteX70" fmla="*/ 20568 w 419100"/>
                <a:gd name="connsiteY70" fmla="*/ 171890 h 295275"/>
                <a:gd name="connsiteX71" fmla="*/ 24257 w 419100"/>
                <a:gd name="connsiteY71" fmla="*/ 182958 h 295275"/>
                <a:gd name="connsiteX72" fmla="*/ 24257 w 419100"/>
                <a:gd name="connsiteY72" fmla="*/ 186653 h 295275"/>
                <a:gd name="connsiteX73" fmla="*/ 27947 w 419100"/>
                <a:gd name="connsiteY73" fmla="*/ 186653 h 295275"/>
                <a:gd name="connsiteX74" fmla="*/ 24257 w 419100"/>
                <a:gd name="connsiteY74" fmla="*/ 190339 h 295275"/>
                <a:gd name="connsiteX75" fmla="*/ 31636 w 419100"/>
                <a:gd name="connsiteY75" fmla="*/ 190339 h 295275"/>
                <a:gd name="connsiteX76" fmla="*/ 46393 w 419100"/>
                <a:gd name="connsiteY76" fmla="*/ 190339 h 295275"/>
                <a:gd name="connsiteX77" fmla="*/ 42703 w 419100"/>
                <a:gd name="connsiteY77" fmla="*/ 194035 h 295275"/>
                <a:gd name="connsiteX78" fmla="*/ 39014 w 419100"/>
                <a:gd name="connsiteY78" fmla="*/ 197721 h 295275"/>
                <a:gd name="connsiteX79" fmla="*/ 35325 w 419100"/>
                <a:gd name="connsiteY79" fmla="*/ 197721 h 295275"/>
                <a:gd name="connsiteX80" fmla="*/ 24257 w 419100"/>
                <a:gd name="connsiteY80" fmla="*/ 205103 h 295275"/>
                <a:gd name="connsiteX81" fmla="*/ 20568 w 419100"/>
                <a:gd name="connsiteY81" fmla="*/ 216171 h 295275"/>
                <a:gd name="connsiteX82" fmla="*/ 16879 w 419100"/>
                <a:gd name="connsiteY82" fmla="*/ 219867 h 295275"/>
                <a:gd name="connsiteX83" fmla="*/ 13190 w 419100"/>
                <a:gd name="connsiteY83" fmla="*/ 219867 h 295275"/>
                <a:gd name="connsiteX84" fmla="*/ 13190 w 419100"/>
                <a:gd name="connsiteY84" fmla="*/ 223553 h 295275"/>
                <a:gd name="connsiteX85" fmla="*/ 9501 w 419100"/>
                <a:gd name="connsiteY85" fmla="*/ 227249 h 295275"/>
                <a:gd name="connsiteX86" fmla="*/ 13190 w 419100"/>
                <a:gd name="connsiteY86" fmla="*/ 234631 h 295275"/>
                <a:gd name="connsiteX87" fmla="*/ 16879 w 419100"/>
                <a:gd name="connsiteY87" fmla="*/ 234631 h 295275"/>
                <a:gd name="connsiteX88" fmla="*/ 20568 w 419100"/>
                <a:gd name="connsiteY88" fmla="*/ 230935 h 295275"/>
                <a:gd name="connsiteX89" fmla="*/ 24257 w 419100"/>
                <a:gd name="connsiteY89" fmla="*/ 230935 h 295275"/>
                <a:gd name="connsiteX90" fmla="*/ 27947 w 419100"/>
                <a:gd name="connsiteY90" fmla="*/ 230935 h 295275"/>
                <a:gd name="connsiteX91" fmla="*/ 31636 w 419100"/>
                <a:gd name="connsiteY91" fmla="*/ 230935 h 295275"/>
                <a:gd name="connsiteX92" fmla="*/ 35325 w 419100"/>
                <a:gd name="connsiteY92" fmla="*/ 230935 h 295275"/>
                <a:gd name="connsiteX93" fmla="*/ 39014 w 419100"/>
                <a:gd name="connsiteY93" fmla="*/ 242013 h 295275"/>
                <a:gd name="connsiteX94" fmla="*/ 35325 w 419100"/>
                <a:gd name="connsiteY94" fmla="*/ 242013 h 295275"/>
                <a:gd name="connsiteX95" fmla="*/ 20568 w 419100"/>
                <a:gd name="connsiteY95" fmla="*/ 245699 h 295275"/>
                <a:gd name="connsiteX96" fmla="*/ 24257 w 419100"/>
                <a:gd name="connsiteY96" fmla="*/ 249394 h 295275"/>
                <a:gd name="connsiteX97" fmla="*/ 27947 w 419100"/>
                <a:gd name="connsiteY97" fmla="*/ 256776 h 295275"/>
                <a:gd name="connsiteX98" fmla="*/ 31636 w 419100"/>
                <a:gd name="connsiteY98" fmla="*/ 264149 h 295275"/>
                <a:gd name="connsiteX99" fmla="*/ 35325 w 419100"/>
                <a:gd name="connsiteY99" fmla="*/ 267844 h 295275"/>
                <a:gd name="connsiteX100" fmla="*/ 39014 w 419100"/>
                <a:gd name="connsiteY100" fmla="*/ 271531 h 295275"/>
                <a:gd name="connsiteX101" fmla="*/ 42703 w 419100"/>
                <a:gd name="connsiteY101" fmla="*/ 275226 h 295275"/>
                <a:gd name="connsiteX102" fmla="*/ 42703 w 419100"/>
                <a:gd name="connsiteY102" fmla="*/ 278912 h 295275"/>
                <a:gd name="connsiteX103" fmla="*/ 46393 w 419100"/>
                <a:gd name="connsiteY103" fmla="*/ 282608 h 295275"/>
                <a:gd name="connsiteX104" fmla="*/ 46393 w 419100"/>
                <a:gd name="connsiteY104" fmla="*/ 289990 h 295275"/>
                <a:gd name="connsiteX105" fmla="*/ 46393 w 419100"/>
                <a:gd name="connsiteY105" fmla="*/ 293676 h 295275"/>
                <a:gd name="connsiteX106" fmla="*/ 50082 w 419100"/>
                <a:gd name="connsiteY106" fmla="*/ 293676 h 295275"/>
                <a:gd name="connsiteX107" fmla="*/ 57460 w 419100"/>
                <a:gd name="connsiteY107" fmla="*/ 293676 h 295275"/>
                <a:gd name="connsiteX108" fmla="*/ 61149 w 419100"/>
                <a:gd name="connsiteY108" fmla="*/ 293676 h 295275"/>
                <a:gd name="connsiteX109" fmla="*/ 64838 w 419100"/>
                <a:gd name="connsiteY109" fmla="*/ 289990 h 295275"/>
                <a:gd name="connsiteX110" fmla="*/ 68527 w 419100"/>
                <a:gd name="connsiteY110" fmla="*/ 289990 h 295275"/>
                <a:gd name="connsiteX111" fmla="*/ 68527 w 419100"/>
                <a:gd name="connsiteY111" fmla="*/ 286294 h 295275"/>
                <a:gd name="connsiteX112" fmla="*/ 72217 w 419100"/>
                <a:gd name="connsiteY112" fmla="*/ 286294 h 295275"/>
                <a:gd name="connsiteX113" fmla="*/ 75906 w 419100"/>
                <a:gd name="connsiteY113" fmla="*/ 278912 h 295275"/>
                <a:gd name="connsiteX114" fmla="*/ 79595 w 419100"/>
                <a:gd name="connsiteY114" fmla="*/ 275226 h 295275"/>
                <a:gd name="connsiteX115" fmla="*/ 83284 w 419100"/>
                <a:gd name="connsiteY115" fmla="*/ 275226 h 295275"/>
                <a:gd name="connsiteX116" fmla="*/ 86973 w 419100"/>
                <a:gd name="connsiteY116" fmla="*/ 275226 h 295275"/>
                <a:gd name="connsiteX117" fmla="*/ 90662 w 419100"/>
                <a:gd name="connsiteY117" fmla="*/ 278912 h 295275"/>
                <a:gd name="connsiteX118" fmla="*/ 94351 w 419100"/>
                <a:gd name="connsiteY118" fmla="*/ 278912 h 295275"/>
                <a:gd name="connsiteX119" fmla="*/ 98041 w 419100"/>
                <a:gd name="connsiteY119" fmla="*/ 275226 h 295275"/>
                <a:gd name="connsiteX120" fmla="*/ 98041 w 419100"/>
                <a:gd name="connsiteY120" fmla="*/ 271531 h 295275"/>
                <a:gd name="connsiteX121" fmla="*/ 101730 w 419100"/>
                <a:gd name="connsiteY121" fmla="*/ 267844 h 295275"/>
                <a:gd name="connsiteX122" fmla="*/ 105419 w 419100"/>
                <a:gd name="connsiteY122" fmla="*/ 264149 h 295275"/>
                <a:gd name="connsiteX123" fmla="*/ 109108 w 419100"/>
                <a:gd name="connsiteY123" fmla="*/ 264149 h 295275"/>
                <a:gd name="connsiteX124" fmla="*/ 112797 w 419100"/>
                <a:gd name="connsiteY124" fmla="*/ 264149 h 295275"/>
                <a:gd name="connsiteX125" fmla="*/ 120176 w 419100"/>
                <a:gd name="connsiteY125" fmla="*/ 271531 h 295275"/>
                <a:gd name="connsiteX126" fmla="*/ 123865 w 419100"/>
                <a:gd name="connsiteY126" fmla="*/ 271531 h 295275"/>
                <a:gd name="connsiteX127" fmla="*/ 127554 w 419100"/>
                <a:gd name="connsiteY127" fmla="*/ 267844 h 295275"/>
                <a:gd name="connsiteX128" fmla="*/ 127554 w 419100"/>
                <a:gd name="connsiteY128" fmla="*/ 264149 h 295275"/>
                <a:gd name="connsiteX129" fmla="*/ 131243 w 419100"/>
                <a:gd name="connsiteY129" fmla="*/ 264149 h 295275"/>
                <a:gd name="connsiteX130" fmla="*/ 134932 w 419100"/>
                <a:gd name="connsiteY130" fmla="*/ 264149 h 295275"/>
                <a:gd name="connsiteX131" fmla="*/ 138621 w 419100"/>
                <a:gd name="connsiteY131" fmla="*/ 275226 h 295275"/>
                <a:gd name="connsiteX132" fmla="*/ 134932 w 419100"/>
                <a:gd name="connsiteY132" fmla="*/ 282608 h 295275"/>
                <a:gd name="connsiteX133" fmla="*/ 149690 w 419100"/>
                <a:gd name="connsiteY133" fmla="*/ 286294 h 295275"/>
                <a:gd name="connsiteX134" fmla="*/ 157068 w 419100"/>
                <a:gd name="connsiteY134" fmla="*/ 289990 h 295275"/>
                <a:gd name="connsiteX135" fmla="*/ 171825 w 419100"/>
                <a:gd name="connsiteY135" fmla="*/ 297372 h 295275"/>
                <a:gd name="connsiteX136" fmla="*/ 175514 w 419100"/>
                <a:gd name="connsiteY136" fmla="*/ 297372 h 295275"/>
                <a:gd name="connsiteX137" fmla="*/ 179203 w 419100"/>
                <a:gd name="connsiteY137" fmla="*/ 297372 h 295275"/>
                <a:gd name="connsiteX138" fmla="*/ 182892 w 419100"/>
                <a:gd name="connsiteY138" fmla="*/ 297372 h 295275"/>
                <a:gd name="connsiteX139" fmla="*/ 190271 w 419100"/>
                <a:gd name="connsiteY139" fmla="*/ 289990 h 295275"/>
                <a:gd name="connsiteX140" fmla="*/ 193960 w 419100"/>
                <a:gd name="connsiteY140" fmla="*/ 278912 h 295275"/>
                <a:gd name="connsiteX141" fmla="*/ 197649 w 419100"/>
                <a:gd name="connsiteY141" fmla="*/ 271531 h 295275"/>
                <a:gd name="connsiteX142" fmla="*/ 201338 w 419100"/>
                <a:gd name="connsiteY142" fmla="*/ 275226 h 295275"/>
                <a:gd name="connsiteX143" fmla="*/ 205027 w 419100"/>
                <a:gd name="connsiteY143" fmla="*/ 278912 h 295275"/>
                <a:gd name="connsiteX144" fmla="*/ 208716 w 419100"/>
                <a:gd name="connsiteY144" fmla="*/ 278912 h 295275"/>
                <a:gd name="connsiteX145" fmla="*/ 212406 w 419100"/>
                <a:gd name="connsiteY145" fmla="*/ 278912 h 295275"/>
                <a:gd name="connsiteX146" fmla="*/ 216095 w 419100"/>
                <a:gd name="connsiteY146" fmla="*/ 275226 h 295275"/>
                <a:gd name="connsiteX147" fmla="*/ 219784 w 419100"/>
                <a:gd name="connsiteY147" fmla="*/ 271531 h 295275"/>
                <a:gd name="connsiteX148" fmla="*/ 219784 w 419100"/>
                <a:gd name="connsiteY148" fmla="*/ 264149 h 295275"/>
                <a:gd name="connsiteX149" fmla="*/ 223473 w 419100"/>
                <a:gd name="connsiteY149" fmla="*/ 264149 h 295275"/>
                <a:gd name="connsiteX150" fmla="*/ 227162 w 419100"/>
                <a:gd name="connsiteY150" fmla="*/ 264149 h 295275"/>
                <a:gd name="connsiteX151" fmla="*/ 234541 w 419100"/>
                <a:gd name="connsiteY151" fmla="*/ 267844 h 295275"/>
                <a:gd name="connsiteX152" fmla="*/ 241923 w 419100"/>
                <a:gd name="connsiteY152" fmla="*/ 275226 h 295275"/>
                <a:gd name="connsiteX153" fmla="*/ 245609 w 419100"/>
                <a:gd name="connsiteY153" fmla="*/ 275226 h 295275"/>
                <a:gd name="connsiteX154" fmla="*/ 256677 w 419100"/>
                <a:gd name="connsiteY154" fmla="*/ 275226 h 295275"/>
                <a:gd name="connsiteX155" fmla="*/ 260363 w 419100"/>
                <a:gd name="connsiteY155" fmla="*/ 278912 h 295275"/>
                <a:gd name="connsiteX156" fmla="*/ 264050 w 419100"/>
                <a:gd name="connsiteY156" fmla="*/ 282608 h 295275"/>
                <a:gd name="connsiteX157" fmla="*/ 267745 w 419100"/>
                <a:gd name="connsiteY157" fmla="*/ 282608 h 295275"/>
                <a:gd name="connsiteX158" fmla="*/ 271431 w 419100"/>
                <a:gd name="connsiteY158" fmla="*/ 278912 h 295275"/>
                <a:gd name="connsiteX159" fmla="*/ 275118 w 419100"/>
                <a:gd name="connsiteY159" fmla="*/ 278912 h 295275"/>
                <a:gd name="connsiteX160" fmla="*/ 275118 w 419100"/>
                <a:gd name="connsiteY160" fmla="*/ 275226 h 295275"/>
                <a:gd name="connsiteX161" fmla="*/ 278813 w 419100"/>
                <a:gd name="connsiteY161" fmla="*/ 271531 h 295275"/>
                <a:gd name="connsiteX162" fmla="*/ 282499 w 419100"/>
                <a:gd name="connsiteY162" fmla="*/ 271531 h 295275"/>
                <a:gd name="connsiteX163" fmla="*/ 286186 w 419100"/>
                <a:gd name="connsiteY163" fmla="*/ 267844 h 295275"/>
                <a:gd name="connsiteX164" fmla="*/ 293568 w 419100"/>
                <a:gd name="connsiteY164" fmla="*/ 271531 h 295275"/>
                <a:gd name="connsiteX165" fmla="*/ 297254 w 419100"/>
                <a:gd name="connsiteY165" fmla="*/ 271531 h 295275"/>
                <a:gd name="connsiteX166" fmla="*/ 300949 w 419100"/>
                <a:gd name="connsiteY166" fmla="*/ 267844 h 295275"/>
                <a:gd name="connsiteX167" fmla="*/ 304636 w 419100"/>
                <a:gd name="connsiteY167" fmla="*/ 267844 h 295275"/>
                <a:gd name="connsiteX168" fmla="*/ 312017 w 419100"/>
                <a:gd name="connsiteY168" fmla="*/ 264149 h 295275"/>
                <a:gd name="connsiteX169" fmla="*/ 315704 w 419100"/>
                <a:gd name="connsiteY169" fmla="*/ 264149 h 295275"/>
                <a:gd name="connsiteX170" fmla="*/ 319390 w 419100"/>
                <a:gd name="connsiteY170" fmla="*/ 260462 h 295275"/>
                <a:gd name="connsiteX171" fmla="*/ 323086 w 419100"/>
                <a:gd name="connsiteY171" fmla="*/ 256776 h 295275"/>
                <a:gd name="connsiteX172" fmla="*/ 326772 w 419100"/>
                <a:gd name="connsiteY172" fmla="*/ 256776 h 295275"/>
                <a:gd name="connsiteX173" fmla="*/ 330458 w 419100"/>
                <a:gd name="connsiteY173" fmla="*/ 260462 h 295275"/>
                <a:gd name="connsiteX174" fmla="*/ 341526 w 419100"/>
                <a:gd name="connsiteY174" fmla="*/ 260462 h 295275"/>
                <a:gd name="connsiteX175" fmla="*/ 345212 w 419100"/>
                <a:gd name="connsiteY175" fmla="*/ 260462 h 295275"/>
                <a:gd name="connsiteX176" fmla="*/ 348908 w 419100"/>
                <a:gd name="connsiteY176" fmla="*/ 260462 h 295275"/>
                <a:gd name="connsiteX177" fmla="*/ 352594 w 419100"/>
                <a:gd name="connsiteY177" fmla="*/ 264149 h 295275"/>
                <a:gd name="connsiteX178" fmla="*/ 359976 w 419100"/>
                <a:gd name="connsiteY178" fmla="*/ 267844 h 295275"/>
                <a:gd name="connsiteX179" fmla="*/ 363662 w 419100"/>
                <a:gd name="connsiteY179" fmla="*/ 267844 h 295275"/>
                <a:gd name="connsiteX180" fmla="*/ 367348 w 419100"/>
                <a:gd name="connsiteY180" fmla="*/ 271531 h 295275"/>
                <a:gd name="connsiteX181" fmla="*/ 371044 w 419100"/>
                <a:gd name="connsiteY181" fmla="*/ 271531 h 295275"/>
                <a:gd name="connsiteX182" fmla="*/ 374730 w 419100"/>
                <a:gd name="connsiteY182" fmla="*/ 271531 h 295275"/>
                <a:gd name="connsiteX183" fmla="*/ 378416 w 419100"/>
                <a:gd name="connsiteY183" fmla="*/ 278912 h 295275"/>
                <a:gd name="connsiteX184" fmla="*/ 385798 w 419100"/>
                <a:gd name="connsiteY184" fmla="*/ 282608 h 295275"/>
                <a:gd name="connsiteX185" fmla="*/ 396866 w 419100"/>
                <a:gd name="connsiteY185" fmla="*/ 286294 h 295275"/>
                <a:gd name="connsiteX186" fmla="*/ 404239 w 419100"/>
                <a:gd name="connsiteY186" fmla="*/ 289990 h 295275"/>
                <a:gd name="connsiteX187" fmla="*/ 411620 w 419100"/>
                <a:gd name="connsiteY187" fmla="*/ 286294 h 295275"/>
                <a:gd name="connsiteX188" fmla="*/ 415307 w 419100"/>
                <a:gd name="connsiteY188" fmla="*/ 282608 h 295275"/>
                <a:gd name="connsiteX189" fmla="*/ 415307 w 419100"/>
                <a:gd name="connsiteY189" fmla="*/ 278912 h 295275"/>
                <a:gd name="connsiteX190" fmla="*/ 415307 w 419100"/>
                <a:gd name="connsiteY190" fmla="*/ 275226 h 295275"/>
                <a:gd name="connsiteX191" fmla="*/ 411620 w 419100"/>
                <a:gd name="connsiteY191" fmla="*/ 271531 h 295275"/>
                <a:gd name="connsiteX192" fmla="*/ 415307 w 419100"/>
                <a:gd name="connsiteY192" fmla="*/ 267844 h 295275"/>
                <a:gd name="connsiteX193" fmla="*/ 411620 w 419100"/>
                <a:gd name="connsiteY193" fmla="*/ 264149 h 295275"/>
                <a:gd name="connsiteX194" fmla="*/ 411620 w 419100"/>
                <a:gd name="connsiteY194" fmla="*/ 260462 h 295275"/>
                <a:gd name="connsiteX195" fmla="*/ 407934 w 419100"/>
                <a:gd name="connsiteY195" fmla="*/ 253081 h 295275"/>
                <a:gd name="connsiteX196" fmla="*/ 407934 w 419100"/>
                <a:gd name="connsiteY196" fmla="*/ 249394 h 295275"/>
                <a:gd name="connsiteX197" fmla="*/ 404239 w 419100"/>
                <a:gd name="connsiteY197" fmla="*/ 249394 h 295275"/>
                <a:gd name="connsiteX198" fmla="*/ 400552 w 419100"/>
                <a:gd name="connsiteY198" fmla="*/ 245699 h 295275"/>
                <a:gd name="connsiteX199" fmla="*/ 396866 w 419100"/>
                <a:gd name="connsiteY199" fmla="*/ 242013 h 295275"/>
                <a:gd name="connsiteX200" fmla="*/ 396866 w 419100"/>
                <a:gd name="connsiteY200" fmla="*/ 238317 h 295275"/>
                <a:gd name="connsiteX201" fmla="*/ 396866 w 419100"/>
                <a:gd name="connsiteY201" fmla="*/ 234631 h 295275"/>
                <a:gd name="connsiteX202" fmla="*/ 396866 w 419100"/>
                <a:gd name="connsiteY202" fmla="*/ 230935 h 295275"/>
                <a:gd name="connsiteX203" fmla="*/ 396866 w 419100"/>
                <a:gd name="connsiteY203" fmla="*/ 219867 h 295275"/>
                <a:gd name="connsiteX204" fmla="*/ 385798 w 419100"/>
                <a:gd name="connsiteY204" fmla="*/ 212485 h 295275"/>
                <a:gd name="connsiteX205" fmla="*/ 389484 w 419100"/>
                <a:gd name="connsiteY205" fmla="*/ 212485 h 295275"/>
                <a:gd name="connsiteX206" fmla="*/ 389484 w 419100"/>
                <a:gd name="connsiteY206" fmla="*/ 208799 h 295275"/>
                <a:gd name="connsiteX207" fmla="*/ 382112 w 419100"/>
                <a:gd name="connsiteY207" fmla="*/ 208799 h 295275"/>
                <a:gd name="connsiteX208" fmla="*/ 382112 w 419100"/>
                <a:gd name="connsiteY208" fmla="*/ 190339 h 295275"/>
                <a:gd name="connsiteX209" fmla="*/ 382112 w 419100"/>
                <a:gd name="connsiteY209" fmla="*/ 186653 h 295275"/>
                <a:gd name="connsiteX210" fmla="*/ 385798 w 419100"/>
                <a:gd name="connsiteY210" fmla="*/ 182958 h 295275"/>
                <a:gd name="connsiteX211" fmla="*/ 382112 w 419100"/>
                <a:gd name="connsiteY211" fmla="*/ 179271 h 295275"/>
                <a:gd name="connsiteX212" fmla="*/ 382112 w 419100"/>
                <a:gd name="connsiteY212" fmla="*/ 175576 h 295275"/>
                <a:gd name="connsiteX213" fmla="*/ 382112 w 419100"/>
                <a:gd name="connsiteY213" fmla="*/ 171890 h 295275"/>
                <a:gd name="connsiteX214" fmla="*/ 382112 w 419100"/>
                <a:gd name="connsiteY214" fmla="*/ 168194 h 295275"/>
                <a:gd name="connsiteX215" fmla="*/ 378416 w 419100"/>
                <a:gd name="connsiteY215" fmla="*/ 160821 h 295275"/>
                <a:gd name="connsiteX216" fmla="*/ 367348 w 419100"/>
                <a:gd name="connsiteY216" fmla="*/ 164508 h 295275"/>
                <a:gd name="connsiteX217" fmla="*/ 371044 w 419100"/>
                <a:gd name="connsiteY217" fmla="*/ 168194 h 295275"/>
                <a:gd name="connsiteX218" fmla="*/ 371044 w 419100"/>
                <a:gd name="connsiteY218" fmla="*/ 171890 h 295275"/>
                <a:gd name="connsiteX219" fmla="*/ 371044 w 419100"/>
                <a:gd name="connsiteY219" fmla="*/ 175576 h 295275"/>
                <a:gd name="connsiteX220" fmla="*/ 367348 w 419100"/>
                <a:gd name="connsiteY220" fmla="*/ 175576 h 295275"/>
                <a:gd name="connsiteX221" fmla="*/ 367348 w 419100"/>
                <a:gd name="connsiteY221" fmla="*/ 179271 h 295275"/>
                <a:gd name="connsiteX222" fmla="*/ 363662 w 419100"/>
                <a:gd name="connsiteY222" fmla="*/ 182958 h 295275"/>
                <a:gd name="connsiteX223" fmla="*/ 359976 w 419100"/>
                <a:gd name="connsiteY223" fmla="*/ 182958 h 295275"/>
                <a:gd name="connsiteX224" fmla="*/ 356280 w 419100"/>
                <a:gd name="connsiteY224" fmla="*/ 186653 h 295275"/>
                <a:gd name="connsiteX225" fmla="*/ 352594 w 419100"/>
                <a:gd name="connsiteY225" fmla="*/ 190339 h 295275"/>
                <a:gd name="connsiteX226" fmla="*/ 348908 w 419100"/>
                <a:gd name="connsiteY226" fmla="*/ 190339 h 295275"/>
                <a:gd name="connsiteX227" fmla="*/ 345212 w 419100"/>
                <a:gd name="connsiteY227" fmla="*/ 190339 h 295275"/>
                <a:gd name="connsiteX228" fmla="*/ 337840 w 419100"/>
                <a:gd name="connsiteY228" fmla="*/ 186653 h 295275"/>
                <a:gd name="connsiteX229" fmla="*/ 334144 w 419100"/>
                <a:gd name="connsiteY229" fmla="*/ 182958 h 295275"/>
                <a:gd name="connsiteX230" fmla="*/ 334144 w 419100"/>
                <a:gd name="connsiteY230" fmla="*/ 179271 h 295275"/>
                <a:gd name="connsiteX231" fmla="*/ 337840 w 419100"/>
                <a:gd name="connsiteY231" fmla="*/ 179271 h 295275"/>
                <a:gd name="connsiteX232" fmla="*/ 341526 w 419100"/>
                <a:gd name="connsiteY232" fmla="*/ 175576 h 295275"/>
                <a:gd name="connsiteX233" fmla="*/ 345212 w 419100"/>
                <a:gd name="connsiteY233" fmla="*/ 171890 h 295275"/>
                <a:gd name="connsiteX234" fmla="*/ 345212 w 419100"/>
                <a:gd name="connsiteY234" fmla="*/ 168194 h 295275"/>
                <a:gd name="connsiteX235" fmla="*/ 345212 w 419100"/>
                <a:gd name="connsiteY235" fmla="*/ 160821 h 295275"/>
                <a:gd name="connsiteX236" fmla="*/ 348908 w 419100"/>
                <a:gd name="connsiteY236" fmla="*/ 157126 h 295275"/>
                <a:gd name="connsiteX237" fmla="*/ 348908 w 419100"/>
                <a:gd name="connsiteY237" fmla="*/ 153440 h 295275"/>
                <a:gd name="connsiteX238" fmla="*/ 352594 w 419100"/>
                <a:gd name="connsiteY238" fmla="*/ 153440 h 295275"/>
                <a:gd name="connsiteX239" fmla="*/ 356280 w 419100"/>
                <a:gd name="connsiteY239" fmla="*/ 153440 h 295275"/>
                <a:gd name="connsiteX240" fmla="*/ 356280 w 419100"/>
                <a:gd name="connsiteY240" fmla="*/ 149744 h 295275"/>
                <a:gd name="connsiteX241" fmla="*/ 352594 w 419100"/>
                <a:gd name="connsiteY241" fmla="*/ 149744 h 295275"/>
                <a:gd name="connsiteX242" fmla="*/ 352594 w 419100"/>
                <a:gd name="connsiteY242" fmla="*/ 146058 h 295275"/>
                <a:gd name="connsiteX243" fmla="*/ 352594 w 419100"/>
                <a:gd name="connsiteY243" fmla="*/ 142362 h 295275"/>
                <a:gd name="connsiteX244" fmla="*/ 359976 w 419100"/>
                <a:gd name="connsiteY244" fmla="*/ 142362 h 295275"/>
                <a:gd name="connsiteX245" fmla="*/ 359976 w 419100"/>
                <a:gd name="connsiteY245" fmla="*/ 138676 h 295275"/>
                <a:gd name="connsiteX246" fmla="*/ 359976 w 419100"/>
                <a:gd name="connsiteY246" fmla="*/ 134980 h 295275"/>
                <a:gd name="connsiteX247" fmla="*/ 352594 w 419100"/>
                <a:gd name="connsiteY247" fmla="*/ 134980 h 295275"/>
                <a:gd name="connsiteX248" fmla="*/ 352594 w 419100"/>
                <a:gd name="connsiteY248" fmla="*/ 127598 h 295275"/>
                <a:gd name="connsiteX249" fmla="*/ 348908 w 419100"/>
                <a:gd name="connsiteY249" fmla="*/ 127598 h 295275"/>
                <a:gd name="connsiteX250" fmla="*/ 345212 w 419100"/>
                <a:gd name="connsiteY250" fmla="*/ 127598 h 295275"/>
                <a:gd name="connsiteX251" fmla="*/ 345212 w 419100"/>
                <a:gd name="connsiteY251" fmla="*/ 123912 h 295275"/>
                <a:gd name="connsiteX252" fmla="*/ 345212 w 419100"/>
                <a:gd name="connsiteY252" fmla="*/ 120216 h 295275"/>
                <a:gd name="connsiteX253" fmla="*/ 341526 w 419100"/>
                <a:gd name="connsiteY253" fmla="*/ 116530 h 295275"/>
                <a:gd name="connsiteX254" fmla="*/ 345212 w 419100"/>
                <a:gd name="connsiteY254" fmla="*/ 116530 h 295275"/>
                <a:gd name="connsiteX255" fmla="*/ 345212 w 419100"/>
                <a:gd name="connsiteY255" fmla="*/ 112844 h 295275"/>
                <a:gd name="connsiteX256" fmla="*/ 326772 w 419100"/>
                <a:gd name="connsiteY256" fmla="*/ 112844 h 295275"/>
                <a:gd name="connsiteX257" fmla="*/ 323086 w 419100"/>
                <a:gd name="connsiteY257" fmla="*/ 109148 h 295275"/>
                <a:gd name="connsiteX258" fmla="*/ 323086 w 419100"/>
                <a:gd name="connsiteY258" fmla="*/ 98080 h 295275"/>
                <a:gd name="connsiteX259" fmla="*/ 323086 w 419100"/>
                <a:gd name="connsiteY259" fmla="*/ 94385 h 295275"/>
                <a:gd name="connsiteX260" fmla="*/ 323086 w 419100"/>
                <a:gd name="connsiteY260" fmla="*/ 90698 h 295275"/>
                <a:gd name="connsiteX261" fmla="*/ 323086 w 419100"/>
                <a:gd name="connsiteY261" fmla="*/ 87003 h 295275"/>
                <a:gd name="connsiteX262" fmla="*/ 323086 w 419100"/>
                <a:gd name="connsiteY262" fmla="*/ 83316 h 295275"/>
                <a:gd name="connsiteX263" fmla="*/ 308322 w 419100"/>
                <a:gd name="connsiteY263" fmla="*/ 72239 h 295275"/>
                <a:gd name="connsiteX264" fmla="*/ 308322 w 419100"/>
                <a:gd name="connsiteY264" fmla="*/ 75935 h 295275"/>
                <a:gd name="connsiteX265" fmla="*/ 300949 w 419100"/>
                <a:gd name="connsiteY265" fmla="*/ 72239 h 295275"/>
                <a:gd name="connsiteX266" fmla="*/ 300949 w 419100"/>
                <a:gd name="connsiteY266" fmla="*/ 68553 h 295275"/>
                <a:gd name="connsiteX267" fmla="*/ 304636 w 419100"/>
                <a:gd name="connsiteY267" fmla="*/ 50103 h 295275"/>
                <a:gd name="connsiteX268" fmla="*/ 300949 w 419100"/>
                <a:gd name="connsiteY268" fmla="*/ 46407 h 295275"/>
                <a:gd name="connsiteX269" fmla="*/ 297254 w 419100"/>
                <a:gd name="connsiteY269" fmla="*/ 42721 h 295275"/>
                <a:gd name="connsiteX270" fmla="*/ 293568 w 419100"/>
                <a:gd name="connsiteY270" fmla="*/ 39025 h 295275"/>
                <a:gd name="connsiteX271" fmla="*/ 289881 w 419100"/>
                <a:gd name="connsiteY271" fmla="*/ 39025 h 295275"/>
                <a:gd name="connsiteX272" fmla="*/ 289881 w 419100"/>
                <a:gd name="connsiteY272" fmla="*/ 35339 h 295275"/>
                <a:gd name="connsiteX273" fmla="*/ 286186 w 419100"/>
                <a:gd name="connsiteY273" fmla="*/ 31643 h 295275"/>
                <a:gd name="connsiteX274" fmla="*/ 282499 w 419100"/>
                <a:gd name="connsiteY274" fmla="*/ 31643 h 295275"/>
                <a:gd name="connsiteX275" fmla="*/ 278813 w 419100"/>
                <a:gd name="connsiteY275" fmla="*/ 31643 h 295275"/>
                <a:gd name="connsiteX276" fmla="*/ 275118 w 419100"/>
                <a:gd name="connsiteY276" fmla="*/ 31643 h 295275"/>
                <a:gd name="connsiteX277" fmla="*/ 271431 w 419100"/>
                <a:gd name="connsiteY277" fmla="*/ 27957 h 295275"/>
                <a:gd name="connsiteX278" fmla="*/ 264050 w 419100"/>
                <a:gd name="connsiteY278" fmla="*/ 27957 h 295275"/>
                <a:gd name="connsiteX279" fmla="*/ 260363 w 419100"/>
                <a:gd name="connsiteY279" fmla="*/ 24262 h 295275"/>
                <a:gd name="connsiteX280" fmla="*/ 245609 w 419100"/>
                <a:gd name="connsiteY280" fmla="*/ 24262 h 295275"/>
                <a:gd name="connsiteX281" fmla="*/ 238227 w 419100"/>
                <a:gd name="connsiteY281" fmla="*/ 20575 h 295275"/>
                <a:gd name="connsiteX282" fmla="*/ 227162 w 419100"/>
                <a:gd name="connsiteY282" fmla="*/ 42721 h 295275"/>
                <a:gd name="connsiteX283" fmla="*/ 227162 w 419100"/>
                <a:gd name="connsiteY283" fmla="*/ 46407 h 295275"/>
                <a:gd name="connsiteX284" fmla="*/ 227162 w 419100"/>
                <a:gd name="connsiteY284" fmla="*/ 50103 h 295275"/>
                <a:gd name="connsiteX285" fmla="*/ 223473 w 419100"/>
                <a:gd name="connsiteY285" fmla="*/ 57485 h 295275"/>
                <a:gd name="connsiteX286" fmla="*/ 219784 w 419100"/>
                <a:gd name="connsiteY286" fmla="*/ 68553 h 295275"/>
                <a:gd name="connsiteX287" fmla="*/ 216095 w 419100"/>
                <a:gd name="connsiteY287" fmla="*/ 75935 h 295275"/>
                <a:gd name="connsiteX288" fmla="*/ 216095 w 419100"/>
                <a:gd name="connsiteY288" fmla="*/ 83316 h 295275"/>
                <a:gd name="connsiteX289" fmla="*/ 212406 w 419100"/>
                <a:gd name="connsiteY289" fmla="*/ 87003 h 295275"/>
                <a:gd name="connsiteX290" fmla="*/ 212406 w 419100"/>
                <a:gd name="connsiteY290" fmla="*/ 90698 h 295275"/>
                <a:gd name="connsiteX291" fmla="*/ 205027 w 419100"/>
                <a:gd name="connsiteY291" fmla="*/ 105462 h 295275"/>
                <a:gd name="connsiteX292" fmla="*/ 197649 w 419100"/>
                <a:gd name="connsiteY292" fmla="*/ 105462 h 295275"/>
                <a:gd name="connsiteX293" fmla="*/ 193960 w 419100"/>
                <a:gd name="connsiteY293" fmla="*/ 105462 h 295275"/>
                <a:gd name="connsiteX294" fmla="*/ 190271 w 419100"/>
                <a:gd name="connsiteY294" fmla="*/ 105462 h 295275"/>
                <a:gd name="connsiteX295" fmla="*/ 168136 w 419100"/>
                <a:gd name="connsiteY295" fmla="*/ 101766 h 295275"/>
                <a:gd name="connsiteX296" fmla="*/ 164447 w 419100"/>
                <a:gd name="connsiteY296" fmla="*/ 101766 h 295275"/>
                <a:gd name="connsiteX297" fmla="*/ 146001 w 419100"/>
                <a:gd name="connsiteY297" fmla="*/ 109148 h 295275"/>
                <a:gd name="connsiteX298" fmla="*/ 131243 w 419100"/>
                <a:gd name="connsiteY298" fmla="*/ 112844 h 295275"/>
                <a:gd name="connsiteX299" fmla="*/ 131243 w 419100"/>
                <a:gd name="connsiteY299" fmla="*/ 98080 h 295275"/>
                <a:gd name="connsiteX300" fmla="*/ 127554 w 419100"/>
                <a:gd name="connsiteY300" fmla="*/ 98080 h 295275"/>
                <a:gd name="connsiteX301" fmla="*/ 127554 w 419100"/>
                <a:gd name="connsiteY301" fmla="*/ 90698 h 295275"/>
                <a:gd name="connsiteX302" fmla="*/ 127554 w 419100"/>
                <a:gd name="connsiteY302" fmla="*/ 87003 h 295275"/>
                <a:gd name="connsiteX303" fmla="*/ 123865 w 419100"/>
                <a:gd name="connsiteY303" fmla="*/ 87003 h 295275"/>
                <a:gd name="connsiteX304" fmla="*/ 120176 w 419100"/>
                <a:gd name="connsiteY304" fmla="*/ 83316 h 295275"/>
                <a:gd name="connsiteX305" fmla="*/ 127554 w 419100"/>
                <a:gd name="connsiteY305" fmla="*/ 83316 h 295275"/>
                <a:gd name="connsiteX306" fmla="*/ 127554 w 419100"/>
                <a:gd name="connsiteY306" fmla="*/ 79621 h 295275"/>
                <a:gd name="connsiteX307" fmla="*/ 127554 w 419100"/>
                <a:gd name="connsiteY307" fmla="*/ 75935 h 295275"/>
                <a:gd name="connsiteX308" fmla="*/ 127554 w 419100"/>
                <a:gd name="connsiteY308" fmla="*/ 68553 h 295275"/>
                <a:gd name="connsiteX309" fmla="*/ 127554 w 419100"/>
                <a:gd name="connsiteY309" fmla="*/ 61171 h 295275"/>
                <a:gd name="connsiteX310" fmla="*/ 131243 w 419100"/>
                <a:gd name="connsiteY310" fmla="*/ 61171 h 295275"/>
                <a:gd name="connsiteX311" fmla="*/ 138621 w 419100"/>
                <a:gd name="connsiteY311" fmla="*/ 57485 h 295275"/>
                <a:gd name="connsiteX312" fmla="*/ 131243 w 419100"/>
                <a:gd name="connsiteY312" fmla="*/ 53789 h 295275"/>
                <a:gd name="connsiteX313" fmla="*/ 131243 w 419100"/>
                <a:gd name="connsiteY313" fmla="*/ 46407 h 295275"/>
                <a:gd name="connsiteX314" fmla="*/ 131243 w 419100"/>
                <a:gd name="connsiteY314" fmla="*/ 42721 h 295275"/>
                <a:gd name="connsiteX315" fmla="*/ 127554 w 419100"/>
                <a:gd name="connsiteY315" fmla="*/ 42721 h 295275"/>
                <a:gd name="connsiteX316" fmla="*/ 127554 w 419100"/>
                <a:gd name="connsiteY316" fmla="*/ 46407 h 295275"/>
                <a:gd name="connsiteX317" fmla="*/ 123865 w 419100"/>
                <a:gd name="connsiteY317" fmla="*/ 42721 h 295275"/>
                <a:gd name="connsiteX318" fmla="*/ 120176 w 419100"/>
                <a:gd name="connsiteY318" fmla="*/ 31643 h 295275"/>
                <a:gd name="connsiteX319" fmla="*/ 120176 w 419100"/>
                <a:gd name="connsiteY319" fmla="*/ 27957 h 295275"/>
                <a:gd name="connsiteX320" fmla="*/ 123865 w 419100"/>
                <a:gd name="connsiteY320" fmla="*/ 27957 h 295275"/>
                <a:gd name="connsiteX321" fmla="*/ 127554 w 419100"/>
                <a:gd name="connsiteY321" fmla="*/ 27957 h 295275"/>
                <a:gd name="connsiteX322" fmla="*/ 127554 w 419100"/>
                <a:gd name="connsiteY322" fmla="*/ 24262 h 295275"/>
                <a:gd name="connsiteX323" fmla="*/ 131243 w 419100"/>
                <a:gd name="connsiteY323" fmla="*/ 24262 h 295275"/>
                <a:gd name="connsiteX324" fmla="*/ 134932 w 419100"/>
                <a:gd name="connsiteY324" fmla="*/ 24262 h 295275"/>
                <a:gd name="connsiteX325" fmla="*/ 134932 w 419100"/>
                <a:gd name="connsiteY325" fmla="*/ 20575 h 295275"/>
                <a:gd name="connsiteX326" fmla="*/ 138621 w 419100"/>
                <a:gd name="connsiteY326" fmla="*/ 20575 h 295275"/>
                <a:gd name="connsiteX327" fmla="*/ 142312 w 419100"/>
                <a:gd name="connsiteY327" fmla="*/ 20575 h 295275"/>
                <a:gd name="connsiteX328" fmla="*/ 138621 w 419100"/>
                <a:gd name="connsiteY328" fmla="*/ 16889 h 295275"/>
                <a:gd name="connsiteX329" fmla="*/ 134932 w 419100"/>
                <a:gd name="connsiteY329" fmla="*/ 16889 h 295275"/>
                <a:gd name="connsiteX330" fmla="*/ 131243 w 419100"/>
                <a:gd name="connsiteY330" fmla="*/ 20575 h 295275"/>
                <a:gd name="connsiteX331" fmla="*/ 127554 w 419100"/>
                <a:gd name="connsiteY331" fmla="*/ 20575 h 295275"/>
                <a:gd name="connsiteX332" fmla="*/ 123865 w 419100"/>
                <a:gd name="connsiteY332" fmla="*/ 16889 h 295275"/>
                <a:gd name="connsiteX333" fmla="*/ 120176 w 419100"/>
                <a:gd name="connsiteY333" fmla="*/ 20575 h 295275"/>
                <a:gd name="connsiteX334" fmla="*/ 120176 w 419100"/>
                <a:gd name="connsiteY334" fmla="*/ 5812 h 295275"/>
                <a:gd name="connsiteX335" fmla="*/ 116486 w 419100"/>
                <a:gd name="connsiteY335" fmla="*/ 5812 h 295275"/>
                <a:gd name="connsiteX336" fmla="*/ 112797 w 419100"/>
                <a:gd name="connsiteY336" fmla="*/ 5812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419100" h="295275">
                  <a:moveTo>
                    <a:pt x="112797" y="5812"/>
                  </a:moveTo>
                  <a:lnTo>
                    <a:pt x="112797" y="9507"/>
                  </a:lnTo>
                  <a:lnTo>
                    <a:pt x="109108" y="9507"/>
                  </a:lnTo>
                  <a:lnTo>
                    <a:pt x="109108" y="13193"/>
                  </a:lnTo>
                  <a:lnTo>
                    <a:pt x="109108" y="16889"/>
                  </a:lnTo>
                  <a:lnTo>
                    <a:pt x="101730" y="13193"/>
                  </a:lnTo>
                  <a:lnTo>
                    <a:pt x="101730" y="16889"/>
                  </a:lnTo>
                  <a:lnTo>
                    <a:pt x="94351" y="20575"/>
                  </a:lnTo>
                  <a:lnTo>
                    <a:pt x="94351" y="24262"/>
                  </a:lnTo>
                  <a:lnTo>
                    <a:pt x="90662" y="24262"/>
                  </a:lnTo>
                  <a:lnTo>
                    <a:pt x="86973" y="24262"/>
                  </a:lnTo>
                  <a:lnTo>
                    <a:pt x="83284" y="24262"/>
                  </a:lnTo>
                  <a:lnTo>
                    <a:pt x="75906" y="20575"/>
                  </a:lnTo>
                  <a:lnTo>
                    <a:pt x="72217" y="24262"/>
                  </a:lnTo>
                  <a:lnTo>
                    <a:pt x="72217" y="27957"/>
                  </a:lnTo>
                  <a:lnTo>
                    <a:pt x="75906" y="31643"/>
                  </a:lnTo>
                  <a:lnTo>
                    <a:pt x="72217" y="35339"/>
                  </a:lnTo>
                  <a:lnTo>
                    <a:pt x="68527" y="39025"/>
                  </a:lnTo>
                  <a:lnTo>
                    <a:pt x="68527" y="42721"/>
                  </a:lnTo>
                  <a:lnTo>
                    <a:pt x="64838" y="42721"/>
                  </a:lnTo>
                  <a:lnTo>
                    <a:pt x="61149" y="42721"/>
                  </a:lnTo>
                  <a:lnTo>
                    <a:pt x="61149" y="46407"/>
                  </a:lnTo>
                  <a:lnTo>
                    <a:pt x="57460" y="42721"/>
                  </a:lnTo>
                  <a:lnTo>
                    <a:pt x="53771" y="42721"/>
                  </a:lnTo>
                  <a:lnTo>
                    <a:pt x="50082" y="42721"/>
                  </a:lnTo>
                  <a:lnTo>
                    <a:pt x="46393" y="46407"/>
                  </a:lnTo>
                  <a:lnTo>
                    <a:pt x="39014" y="50103"/>
                  </a:lnTo>
                  <a:lnTo>
                    <a:pt x="39014" y="53789"/>
                  </a:lnTo>
                  <a:lnTo>
                    <a:pt x="35325" y="53789"/>
                  </a:lnTo>
                  <a:lnTo>
                    <a:pt x="31636" y="57485"/>
                  </a:lnTo>
                  <a:lnTo>
                    <a:pt x="27947" y="57485"/>
                  </a:lnTo>
                  <a:lnTo>
                    <a:pt x="27947" y="61171"/>
                  </a:lnTo>
                  <a:lnTo>
                    <a:pt x="24257" y="61171"/>
                  </a:lnTo>
                  <a:lnTo>
                    <a:pt x="20568" y="64867"/>
                  </a:lnTo>
                  <a:lnTo>
                    <a:pt x="16879" y="64867"/>
                  </a:lnTo>
                  <a:lnTo>
                    <a:pt x="13190" y="64867"/>
                  </a:lnTo>
                  <a:lnTo>
                    <a:pt x="9501" y="64867"/>
                  </a:lnTo>
                  <a:lnTo>
                    <a:pt x="9501" y="68553"/>
                  </a:lnTo>
                  <a:lnTo>
                    <a:pt x="13190" y="72239"/>
                  </a:lnTo>
                  <a:lnTo>
                    <a:pt x="13190" y="79621"/>
                  </a:lnTo>
                  <a:lnTo>
                    <a:pt x="13190" y="83316"/>
                  </a:lnTo>
                  <a:lnTo>
                    <a:pt x="16879" y="83316"/>
                  </a:lnTo>
                  <a:lnTo>
                    <a:pt x="16879" y="87003"/>
                  </a:lnTo>
                  <a:lnTo>
                    <a:pt x="20568" y="90698"/>
                  </a:lnTo>
                  <a:lnTo>
                    <a:pt x="24257" y="90698"/>
                  </a:lnTo>
                  <a:lnTo>
                    <a:pt x="24257" y="94385"/>
                  </a:lnTo>
                  <a:lnTo>
                    <a:pt x="27947" y="98080"/>
                  </a:lnTo>
                  <a:lnTo>
                    <a:pt x="31636" y="101766"/>
                  </a:lnTo>
                  <a:lnTo>
                    <a:pt x="39014" y="101766"/>
                  </a:lnTo>
                  <a:lnTo>
                    <a:pt x="42703" y="105462"/>
                  </a:lnTo>
                  <a:lnTo>
                    <a:pt x="57460" y="116530"/>
                  </a:lnTo>
                  <a:lnTo>
                    <a:pt x="46393" y="120216"/>
                  </a:lnTo>
                  <a:lnTo>
                    <a:pt x="46393" y="134980"/>
                  </a:lnTo>
                  <a:lnTo>
                    <a:pt x="42703" y="134980"/>
                  </a:lnTo>
                  <a:lnTo>
                    <a:pt x="39014" y="134980"/>
                  </a:lnTo>
                  <a:lnTo>
                    <a:pt x="31636" y="134980"/>
                  </a:lnTo>
                  <a:lnTo>
                    <a:pt x="27947" y="134980"/>
                  </a:lnTo>
                  <a:lnTo>
                    <a:pt x="27947" y="131294"/>
                  </a:lnTo>
                  <a:lnTo>
                    <a:pt x="20568" y="131294"/>
                  </a:lnTo>
                  <a:lnTo>
                    <a:pt x="16879" y="134980"/>
                  </a:lnTo>
                  <a:lnTo>
                    <a:pt x="13190" y="138676"/>
                  </a:lnTo>
                  <a:lnTo>
                    <a:pt x="16879" y="138676"/>
                  </a:lnTo>
                  <a:lnTo>
                    <a:pt x="13190" y="142362"/>
                  </a:lnTo>
                  <a:lnTo>
                    <a:pt x="13190" y="146058"/>
                  </a:lnTo>
                  <a:lnTo>
                    <a:pt x="9501" y="146058"/>
                  </a:lnTo>
                  <a:lnTo>
                    <a:pt x="5812" y="146058"/>
                  </a:lnTo>
                  <a:lnTo>
                    <a:pt x="5812" y="149744"/>
                  </a:lnTo>
                  <a:lnTo>
                    <a:pt x="20568" y="157126"/>
                  </a:lnTo>
                  <a:lnTo>
                    <a:pt x="24257" y="160821"/>
                  </a:lnTo>
                  <a:lnTo>
                    <a:pt x="20568" y="160821"/>
                  </a:lnTo>
                  <a:lnTo>
                    <a:pt x="20568" y="171890"/>
                  </a:lnTo>
                  <a:lnTo>
                    <a:pt x="24257" y="182958"/>
                  </a:lnTo>
                  <a:lnTo>
                    <a:pt x="24257" y="186653"/>
                  </a:lnTo>
                  <a:lnTo>
                    <a:pt x="27947" y="186653"/>
                  </a:lnTo>
                  <a:lnTo>
                    <a:pt x="24257" y="190339"/>
                  </a:lnTo>
                  <a:lnTo>
                    <a:pt x="31636" y="190339"/>
                  </a:lnTo>
                  <a:lnTo>
                    <a:pt x="46393" y="190339"/>
                  </a:lnTo>
                  <a:lnTo>
                    <a:pt x="42703" y="194035"/>
                  </a:lnTo>
                  <a:lnTo>
                    <a:pt x="39014" y="197721"/>
                  </a:lnTo>
                  <a:lnTo>
                    <a:pt x="35325" y="197721"/>
                  </a:lnTo>
                  <a:lnTo>
                    <a:pt x="24257" y="205103"/>
                  </a:lnTo>
                  <a:lnTo>
                    <a:pt x="20568" y="216171"/>
                  </a:lnTo>
                  <a:lnTo>
                    <a:pt x="16879" y="219867"/>
                  </a:lnTo>
                  <a:lnTo>
                    <a:pt x="13190" y="219867"/>
                  </a:lnTo>
                  <a:lnTo>
                    <a:pt x="13190" y="223553"/>
                  </a:lnTo>
                  <a:lnTo>
                    <a:pt x="9501" y="227249"/>
                  </a:lnTo>
                  <a:lnTo>
                    <a:pt x="13190" y="234631"/>
                  </a:lnTo>
                  <a:lnTo>
                    <a:pt x="16879" y="234631"/>
                  </a:lnTo>
                  <a:lnTo>
                    <a:pt x="20568" y="230935"/>
                  </a:lnTo>
                  <a:lnTo>
                    <a:pt x="24257" y="230935"/>
                  </a:lnTo>
                  <a:lnTo>
                    <a:pt x="27947" y="230935"/>
                  </a:lnTo>
                  <a:lnTo>
                    <a:pt x="31636" y="230935"/>
                  </a:lnTo>
                  <a:lnTo>
                    <a:pt x="35325" y="230935"/>
                  </a:lnTo>
                  <a:lnTo>
                    <a:pt x="39014" y="242013"/>
                  </a:lnTo>
                  <a:lnTo>
                    <a:pt x="35325" y="242013"/>
                  </a:lnTo>
                  <a:lnTo>
                    <a:pt x="20568" y="245699"/>
                  </a:lnTo>
                  <a:lnTo>
                    <a:pt x="24257" y="249394"/>
                  </a:lnTo>
                  <a:lnTo>
                    <a:pt x="27947" y="256776"/>
                  </a:lnTo>
                  <a:lnTo>
                    <a:pt x="31636" y="264149"/>
                  </a:lnTo>
                  <a:lnTo>
                    <a:pt x="35325" y="267844"/>
                  </a:lnTo>
                  <a:lnTo>
                    <a:pt x="39014" y="271531"/>
                  </a:lnTo>
                  <a:lnTo>
                    <a:pt x="42703" y="275226"/>
                  </a:lnTo>
                  <a:lnTo>
                    <a:pt x="42703" y="278912"/>
                  </a:lnTo>
                  <a:lnTo>
                    <a:pt x="46393" y="282608"/>
                  </a:lnTo>
                  <a:lnTo>
                    <a:pt x="46393" y="289990"/>
                  </a:lnTo>
                  <a:lnTo>
                    <a:pt x="46393" y="293676"/>
                  </a:lnTo>
                  <a:lnTo>
                    <a:pt x="50082" y="293676"/>
                  </a:lnTo>
                  <a:lnTo>
                    <a:pt x="57460" y="293676"/>
                  </a:lnTo>
                  <a:lnTo>
                    <a:pt x="61149" y="293676"/>
                  </a:lnTo>
                  <a:lnTo>
                    <a:pt x="64838" y="289990"/>
                  </a:lnTo>
                  <a:lnTo>
                    <a:pt x="68527" y="289990"/>
                  </a:lnTo>
                  <a:lnTo>
                    <a:pt x="68527" y="286294"/>
                  </a:lnTo>
                  <a:lnTo>
                    <a:pt x="72217" y="286294"/>
                  </a:lnTo>
                  <a:lnTo>
                    <a:pt x="75906" y="278912"/>
                  </a:lnTo>
                  <a:lnTo>
                    <a:pt x="79595" y="275226"/>
                  </a:lnTo>
                  <a:lnTo>
                    <a:pt x="83284" y="275226"/>
                  </a:lnTo>
                  <a:lnTo>
                    <a:pt x="86973" y="275226"/>
                  </a:lnTo>
                  <a:lnTo>
                    <a:pt x="90662" y="278912"/>
                  </a:lnTo>
                  <a:lnTo>
                    <a:pt x="94351" y="278912"/>
                  </a:lnTo>
                  <a:lnTo>
                    <a:pt x="98041" y="275226"/>
                  </a:lnTo>
                  <a:lnTo>
                    <a:pt x="98041" y="271531"/>
                  </a:lnTo>
                  <a:lnTo>
                    <a:pt x="101730" y="267844"/>
                  </a:lnTo>
                  <a:lnTo>
                    <a:pt x="105419" y="264149"/>
                  </a:lnTo>
                  <a:lnTo>
                    <a:pt x="109108" y="264149"/>
                  </a:lnTo>
                  <a:lnTo>
                    <a:pt x="112797" y="264149"/>
                  </a:lnTo>
                  <a:lnTo>
                    <a:pt x="120176" y="271531"/>
                  </a:lnTo>
                  <a:lnTo>
                    <a:pt x="123865" y="271531"/>
                  </a:lnTo>
                  <a:lnTo>
                    <a:pt x="127554" y="267844"/>
                  </a:lnTo>
                  <a:lnTo>
                    <a:pt x="127554" y="264149"/>
                  </a:lnTo>
                  <a:lnTo>
                    <a:pt x="131243" y="264149"/>
                  </a:lnTo>
                  <a:lnTo>
                    <a:pt x="134932" y="264149"/>
                  </a:lnTo>
                  <a:lnTo>
                    <a:pt x="138621" y="275226"/>
                  </a:lnTo>
                  <a:lnTo>
                    <a:pt x="134932" y="282608"/>
                  </a:lnTo>
                  <a:lnTo>
                    <a:pt x="149690" y="286294"/>
                  </a:lnTo>
                  <a:lnTo>
                    <a:pt x="157068" y="289990"/>
                  </a:lnTo>
                  <a:lnTo>
                    <a:pt x="171825" y="297372"/>
                  </a:lnTo>
                  <a:lnTo>
                    <a:pt x="175514" y="297372"/>
                  </a:lnTo>
                  <a:lnTo>
                    <a:pt x="179203" y="297372"/>
                  </a:lnTo>
                  <a:lnTo>
                    <a:pt x="182892" y="297372"/>
                  </a:lnTo>
                  <a:lnTo>
                    <a:pt x="190271" y="289990"/>
                  </a:lnTo>
                  <a:lnTo>
                    <a:pt x="193960" y="278912"/>
                  </a:lnTo>
                  <a:lnTo>
                    <a:pt x="197649" y="271531"/>
                  </a:lnTo>
                  <a:lnTo>
                    <a:pt x="201338" y="275226"/>
                  </a:lnTo>
                  <a:lnTo>
                    <a:pt x="205027" y="278912"/>
                  </a:lnTo>
                  <a:lnTo>
                    <a:pt x="208716" y="278912"/>
                  </a:lnTo>
                  <a:lnTo>
                    <a:pt x="212406" y="278912"/>
                  </a:lnTo>
                  <a:lnTo>
                    <a:pt x="216095" y="275226"/>
                  </a:lnTo>
                  <a:lnTo>
                    <a:pt x="219784" y="271531"/>
                  </a:lnTo>
                  <a:lnTo>
                    <a:pt x="219784" y="264149"/>
                  </a:lnTo>
                  <a:lnTo>
                    <a:pt x="223473" y="264149"/>
                  </a:lnTo>
                  <a:lnTo>
                    <a:pt x="227162" y="264149"/>
                  </a:lnTo>
                  <a:lnTo>
                    <a:pt x="234541" y="267844"/>
                  </a:lnTo>
                  <a:lnTo>
                    <a:pt x="241923" y="275226"/>
                  </a:lnTo>
                  <a:lnTo>
                    <a:pt x="245609" y="275226"/>
                  </a:lnTo>
                  <a:lnTo>
                    <a:pt x="256677" y="275226"/>
                  </a:lnTo>
                  <a:lnTo>
                    <a:pt x="260363" y="278912"/>
                  </a:lnTo>
                  <a:lnTo>
                    <a:pt x="264050" y="282608"/>
                  </a:lnTo>
                  <a:lnTo>
                    <a:pt x="267745" y="282608"/>
                  </a:lnTo>
                  <a:lnTo>
                    <a:pt x="271431" y="278912"/>
                  </a:lnTo>
                  <a:lnTo>
                    <a:pt x="275118" y="278912"/>
                  </a:lnTo>
                  <a:lnTo>
                    <a:pt x="275118" y="275226"/>
                  </a:lnTo>
                  <a:lnTo>
                    <a:pt x="278813" y="271531"/>
                  </a:lnTo>
                  <a:lnTo>
                    <a:pt x="282499" y="271531"/>
                  </a:lnTo>
                  <a:lnTo>
                    <a:pt x="286186" y="267844"/>
                  </a:lnTo>
                  <a:lnTo>
                    <a:pt x="293568" y="271531"/>
                  </a:lnTo>
                  <a:lnTo>
                    <a:pt x="297254" y="271531"/>
                  </a:lnTo>
                  <a:lnTo>
                    <a:pt x="300949" y="267844"/>
                  </a:lnTo>
                  <a:lnTo>
                    <a:pt x="304636" y="267844"/>
                  </a:lnTo>
                  <a:lnTo>
                    <a:pt x="312017" y="264149"/>
                  </a:lnTo>
                  <a:lnTo>
                    <a:pt x="315704" y="264149"/>
                  </a:lnTo>
                  <a:lnTo>
                    <a:pt x="319390" y="260462"/>
                  </a:lnTo>
                  <a:lnTo>
                    <a:pt x="323086" y="256776"/>
                  </a:lnTo>
                  <a:lnTo>
                    <a:pt x="326772" y="256776"/>
                  </a:lnTo>
                  <a:lnTo>
                    <a:pt x="330458" y="260462"/>
                  </a:lnTo>
                  <a:lnTo>
                    <a:pt x="341526" y="260462"/>
                  </a:lnTo>
                  <a:lnTo>
                    <a:pt x="345212" y="260462"/>
                  </a:lnTo>
                  <a:lnTo>
                    <a:pt x="348908" y="260462"/>
                  </a:lnTo>
                  <a:lnTo>
                    <a:pt x="352594" y="264149"/>
                  </a:lnTo>
                  <a:lnTo>
                    <a:pt x="359976" y="267844"/>
                  </a:lnTo>
                  <a:lnTo>
                    <a:pt x="363662" y="267844"/>
                  </a:lnTo>
                  <a:lnTo>
                    <a:pt x="367348" y="271531"/>
                  </a:lnTo>
                  <a:lnTo>
                    <a:pt x="371044" y="271531"/>
                  </a:lnTo>
                  <a:lnTo>
                    <a:pt x="374730" y="271531"/>
                  </a:lnTo>
                  <a:lnTo>
                    <a:pt x="378416" y="278912"/>
                  </a:lnTo>
                  <a:lnTo>
                    <a:pt x="385798" y="282608"/>
                  </a:lnTo>
                  <a:lnTo>
                    <a:pt x="396866" y="286294"/>
                  </a:lnTo>
                  <a:lnTo>
                    <a:pt x="404239" y="289990"/>
                  </a:lnTo>
                  <a:lnTo>
                    <a:pt x="411620" y="286294"/>
                  </a:lnTo>
                  <a:lnTo>
                    <a:pt x="415307" y="282608"/>
                  </a:lnTo>
                  <a:lnTo>
                    <a:pt x="415307" y="278912"/>
                  </a:lnTo>
                  <a:lnTo>
                    <a:pt x="415307" y="275226"/>
                  </a:lnTo>
                  <a:lnTo>
                    <a:pt x="411620" y="271531"/>
                  </a:lnTo>
                  <a:lnTo>
                    <a:pt x="415307" y="267844"/>
                  </a:lnTo>
                  <a:lnTo>
                    <a:pt x="411620" y="264149"/>
                  </a:lnTo>
                  <a:lnTo>
                    <a:pt x="411620" y="260462"/>
                  </a:lnTo>
                  <a:lnTo>
                    <a:pt x="407934" y="253081"/>
                  </a:lnTo>
                  <a:lnTo>
                    <a:pt x="407934" y="249394"/>
                  </a:lnTo>
                  <a:lnTo>
                    <a:pt x="404239" y="249394"/>
                  </a:lnTo>
                  <a:lnTo>
                    <a:pt x="400552" y="245699"/>
                  </a:lnTo>
                  <a:lnTo>
                    <a:pt x="396866" y="242013"/>
                  </a:lnTo>
                  <a:lnTo>
                    <a:pt x="396866" y="238317"/>
                  </a:lnTo>
                  <a:lnTo>
                    <a:pt x="396866" y="234631"/>
                  </a:lnTo>
                  <a:lnTo>
                    <a:pt x="396866" y="230935"/>
                  </a:lnTo>
                  <a:lnTo>
                    <a:pt x="396866" y="219867"/>
                  </a:lnTo>
                  <a:lnTo>
                    <a:pt x="385798" y="212485"/>
                  </a:lnTo>
                  <a:lnTo>
                    <a:pt x="389484" y="212485"/>
                  </a:lnTo>
                  <a:lnTo>
                    <a:pt x="389484" y="208799"/>
                  </a:lnTo>
                  <a:lnTo>
                    <a:pt x="382112" y="208799"/>
                  </a:lnTo>
                  <a:lnTo>
                    <a:pt x="382112" y="190339"/>
                  </a:lnTo>
                  <a:lnTo>
                    <a:pt x="382112" y="186653"/>
                  </a:lnTo>
                  <a:lnTo>
                    <a:pt x="385798" y="182958"/>
                  </a:lnTo>
                  <a:lnTo>
                    <a:pt x="382112" y="179271"/>
                  </a:lnTo>
                  <a:lnTo>
                    <a:pt x="382112" y="175576"/>
                  </a:lnTo>
                  <a:lnTo>
                    <a:pt x="382112" y="171890"/>
                  </a:lnTo>
                  <a:lnTo>
                    <a:pt x="382112" y="168194"/>
                  </a:lnTo>
                  <a:lnTo>
                    <a:pt x="378416" y="160821"/>
                  </a:lnTo>
                  <a:lnTo>
                    <a:pt x="367348" y="164508"/>
                  </a:lnTo>
                  <a:lnTo>
                    <a:pt x="371044" y="168194"/>
                  </a:lnTo>
                  <a:lnTo>
                    <a:pt x="371044" y="171890"/>
                  </a:lnTo>
                  <a:lnTo>
                    <a:pt x="371044" y="175576"/>
                  </a:lnTo>
                  <a:lnTo>
                    <a:pt x="367348" y="175576"/>
                  </a:lnTo>
                  <a:lnTo>
                    <a:pt x="367348" y="179271"/>
                  </a:lnTo>
                  <a:lnTo>
                    <a:pt x="363662" y="182958"/>
                  </a:lnTo>
                  <a:lnTo>
                    <a:pt x="359976" y="182958"/>
                  </a:lnTo>
                  <a:lnTo>
                    <a:pt x="356280" y="186653"/>
                  </a:lnTo>
                  <a:lnTo>
                    <a:pt x="352594" y="190339"/>
                  </a:lnTo>
                  <a:lnTo>
                    <a:pt x="348908" y="190339"/>
                  </a:lnTo>
                  <a:lnTo>
                    <a:pt x="345212" y="190339"/>
                  </a:lnTo>
                  <a:lnTo>
                    <a:pt x="337840" y="186653"/>
                  </a:lnTo>
                  <a:lnTo>
                    <a:pt x="334144" y="182958"/>
                  </a:lnTo>
                  <a:lnTo>
                    <a:pt x="334144" y="179271"/>
                  </a:lnTo>
                  <a:lnTo>
                    <a:pt x="337840" y="179271"/>
                  </a:lnTo>
                  <a:lnTo>
                    <a:pt x="341526" y="175576"/>
                  </a:lnTo>
                  <a:lnTo>
                    <a:pt x="345212" y="171890"/>
                  </a:lnTo>
                  <a:lnTo>
                    <a:pt x="345212" y="168194"/>
                  </a:lnTo>
                  <a:lnTo>
                    <a:pt x="345212" y="160821"/>
                  </a:lnTo>
                  <a:lnTo>
                    <a:pt x="348908" y="157126"/>
                  </a:lnTo>
                  <a:lnTo>
                    <a:pt x="348908" y="153440"/>
                  </a:lnTo>
                  <a:lnTo>
                    <a:pt x="352594" y="153440"/>
                  </a:lnTo>
                  <a:lnTo>
                    <a:pt x="356280" y="153440"/>
                  </a:lnTo>
                  <a:lnTo>
                    <a:pt x="356280" y="149744"/>
                  </a:lnTo>
                  <a:lnTo>
                    <a:pt x="352594" y="149744"/>
                  </a:lnTo>
                  <a:lnTo>
                    <a:pt x="352594" y="146058"/>
                  </a:lnTo>
                  <a:lnTo>
                    <a:pt x="352594" y="142362"/>
                  </a:lnTo>
                  <a:lnTo>
                    <a:pt x="359976" y="142362"/>
                  </a:lnTo>
                  <a:lnTo>
                    <a:pt x="359976" y="138676"/>
                  </a:lnTo>
                  <a:lnTo>
                    <a:pt x="359976" y="134980"/>
                  </a:lnTo>
                  <a:lnTo>
                    <a:pt x="352594" y="134980"/>
                  </a:lnTo>
                  <a:lnTo>
                    <a:pt x="352594" y="127598"/>
                  </a:lnTo>
                  <a:lnTo>
                    <a:pt x="348908" y="127598"/>
                  </a:lnTo>
                  <a:lnTo>
                    <a:pt x="345212" y="127598"/>
                  </a:lnTo>
                  <a:lnTo>
                    <a:pt x="345212" y="123912"/>
                  </a:lnTo>
                  <a:lnTo>
                    <a:pt x="345212" y="120216"/>
                  </a:lnTo>
                  <a:lnTo>
                    <a:pt x="341526" y="116530"/>
                  </a:lnTo>
                  <a:lnTo>
                    <a:pt x="345212" y="116530"/>
                  </a:lnTo>
                  <a:lnTo>
                    <a:pt x="345212" y="112844"/>
                  </a:lnTo>
                  <a:lnTo>
                    <a:pt x="326772" y="112844"/>
                  </a:lnTo>
                  <a:lnTo>
                    <a:pt x="323086" y="109148"/>
                  </a:lnTo>
                  <a:lnTo>
                    <a:pt x="323086" y="98080"/>
                  </a:lnTo>
                  <a:lnTo>
                    <a:pt x="323086" y="94385"/>
                  </a:lnTo>
                  <a:lnTo>
                    <a:pt x="323086" y="90698"/>
                  </a:lnTo>
                  <a:lnTo>
                    <a:pt x="323086" y="87003"/>
                  </a:lnTo>
                  <a:lnTo>
                    <a:pt x="323086" y="83316"/>
                  </a:lnTo>
                  <a:lnTo>
                    <a:pt x="308322" y="72239"/>
                  </a:lnTo>
                  <a:lnTo>
                    <a:pt x="308322" y="75935"/>
                  </a:lnTo>
                  <a:lnTo>
                    <a:pt x="300949" y="72239"/>
                  </a:lnTo>
                  <a:lnTo>
                    <a:pt x="300949" y="68553"/>
                  </a:lnTo>
                  <a:lnTo>
                    <a:pt x="304636" y="50103"/>
                  </a:lnTo>
                  <a:lnTo>
                    <a:pt x="300949" y="46407"/>
                  </a:lnTo>
                  <a:lnTo>
                    <a:pt x="297254" y="42721"/>
                  </a:lnTo>
                  <a:lnTo>
                    <a:pt x="293568" y="39025"/>
                  </a:lnTo>
                  <a:lnTo>
                    <a:pt x="289881" y="39025"/>
                  </a:lnTo>
                  <a:lnTo>
                    <a:pt x="289881" y="35339"/>
                  </a:lnTo>
                  <a:lnTo>
                    <a:pt x="286186" y="31643"/>
                  </a:lnTo>
                  <a:lnTo>
                    <a:pt x="282499" y="31643"/>
                  </a:lnTo>
                  <a:lnTo>
                    <a:pt x="278813" y="31643"/>
                  </a:lnTo>
                  <a:lnTo>
                    <a:pt x="275118" y="31643"/>
                  </a:lnTo>
                  <a:lnTo>
                    <a:pt x="271431" y="27957"/>
                  </a:lnTo>
                  <a:lnTo>
                    <a:pt x="264050" y="27957"/>
                  </a:lnTo>
                  <a:lnTo>
                    <a:pt x="260363" y="24262"/>
                  </a:lnTo>
                  <a:lnTo>
                    <a:pt x="245609" y="24262"/>
                  </a:lnTo>
                  <a:lnTo>
                    <a:pt x="238227" y="20575"/>
                  </a:lnTo>
                  <a:lnTo>
                    <a:pt x="227162" y="42721"/>
                  </a:lnTo>
                  <a:lnTo>
                    <a:pt x="227162" y="46407"/>
                  </a:lnTo>
                  <a:lnTo>
                    <a:pt x="227162" y="50103"/>
                  </a:lnTo>
                  <a:lnTo>
                    <a:pt x="223473" y="57485"/>
                  </a:lnTo>
                  <a:lnTo>
                    <a:pt x="219784" y="68553"/>
                  </a:lnTo>
                  <a:lnTo>
                    <a:pt x="216095" y="75935"/>
                  </a:lnTo>
                  <a:lnTo>
                    <a:pt x="216095" y="83316"/>
                  </a:lnTo>
                  <a:lnTo>
                    <a:pt x="212406" y="87003"/>
                  </a:lnTo>
                  <a:lnTo>
                    <a:pt x="212406" y="90698"/>
                  </a:lnTo>
                  <a:lnTo>
                    <a:pt x="205027" y="105462"/>
                  </a:lnTo>
                  <a:lnTo>
                    <a:pt x="197649" y="105462"/>
                  </a:lnTo>
                  <a:lnTo>
                    <a:pt x="193960" y="105462"/>
                  </a:lnTo>
                  <a:lnTo>
                    <a:pt x="190271" y="105462"/>
                  </a:lnTo>
                  <a:lnTo>
                    <a:pt x="168136" y="101766"/>
                  </a:lnTo>
                  <a:lnTo>
                    <a:pt x="164447" y="101766"/>
                  </a:lnTo>
                  <a:lnTo>
                    <a:pt x="146001" y="109148"/>
                  </a:lnTo>
                  <a:lnTo>
                    <a:pt x="131243" y="112844"/>
                  </a:lnTo>
                  <a:lnTo>
                    <a:pt x="131243" y="98080"/>
                  </a:lnTo>
                  <a:lnTo>
                    <a:pt x="127554" y="98080"/>
                  </a:lnTo>
                  <a:lnTo>
                    <a:pt x="127554" y="90698"/>
                  </a:lnTo>
                  <a:lnTo>
                    <a:pt x="127554" y="87003"/>
                  </a:lnTo>
                  <a:lnTo>
                    <a:pt x="123865" y="87003"/>
                  </a:lnTo>
                  <a:lnTo>
                    <a:pt x="120176" y="83316"/>
                  </a:lnTo>
                  <a:lnTo>
                    <a:pt x="127554" y="83316"/>
                  </a:lnTo>
                  <a:lnTo>
                    <a:pt x="127554" y="79621"/>
                  </a:lnTo>
                  <a:lnTo>
                    <a:pt x="127554" y="75935"/>
                  </a:lnTo>
                  <a:lnTo>
                    <a:pt x="127554" y="68553"/>
                  </a:lnTo>
                  <a:lnTo>
                    <a:pt x="127554" y="61171"/>
                  </a:lnTo>
                  <a:lnTo>
                    <a:pt x="131243" y="61171"/>
                  </a:lnTo>
                  <a:lnTo>
                    <a:pt x="138621" y="57485"/>
                  </a:lnTo>
                  <a:lnTo>
                    <a:pt x="131243" y="53789"/>
                  </a:lnTo>
                  <a:lnTo>
                    <a:pt x="131243" y="46407"/>
                  </a:lnTo>
                  <a:lnTo>
                    <a:pt x="131243" y="42721"/>
                  </a:lnTo>
                  <a:lnTo>
                    <a:pt x="127554" y="42721"/>
                  </a:lnTo>
                  <a:lnTo>
                    <a:pt x="127554" y="46407"/>
                  </a:lnTo>
                  <a:lnTo>
                    <a:pt x="123865" y="42721"/>
                  </a:lnTo>
                  <a:lnTo>
                    <a:pt x="120176" y="31643"/>
                  </a:lnTo>
                  <a:lnTo>
                    <a:pt x="120176" y="27957"/>
                  </a:lnTo>
                  <a:lnTo>
                    <a:pt x="123865" y="27957"/>
                  </a:lnTo>
                  <a:lnTo>
                    <a:pt x="127554" y="27957"/>
                  </a:lnTo>
                  <a:lnTo>
                    <a:pt x="127554" y="24262"/>
                  </a:lnTo>
                  <a:lnTo>
                    <a:pt x="131243" y="24262"/>
                  </a:lnTo>
                  <a:lnTo>
                    <a:pt x="134932" y="24262"/>
                  </a:lnTo>
                  <a:lnTo>
                    <a:pt x="134932" y="20575"/>
                  </a:lnTo>
                  <a:lnTo>
                    <a:pt x="138621" y="20575"/>
                  </a:lnTo>
                  <a:lnTo>
                    <a:pt x="142312" y="20575"/>
                  </a:lnTo>
                  <a:lnTo>
                    <a:pt x="138621" y="16889"/>
                  </a:lnTo>
                  <a:lnTo>
                    <a:pt x="134932" y="16889"/>
                  </a:lnTo>
                  <a:lnTo>
                    <a:pt x="131243" y="20575"/>
                  </a:lnTo>
                  <a:lnTo>
                    <a:pt x="127554" y="20575"/>
                  </a:lnTo>
                  <a:lnTo>
                    <a:pt x="123865" y="16889"/>
                  </a:lnTo>
                  <a:lnTo>
                    <a:pt x="120176" y="20575"/>
                  </a:lnTo>
                  <a:lnTo>
                    <a:pt x="120176" y="5812"/>
                  </a:lnTo>
                  <a:lnTo>
                    <a:pt x="116486" y="5812"/>
                  </a:lnTo>
                  <a:lnTo>
                    <a:pt x="112797" y="5812"/>
                  </a:lnTo>
                  <a:close/>
                </a:path>
              </a:pathLst>
            </a:custGeom>
            <a:solidFill>
              <a:srgbClr val="68ABB0"/>
            </a:solidFill>
            <a:ln w="12821" cap="flat">
              <a:solidFill>
                <a:schemeClr val="bg1"/>
              </a:solidFill>
              <a:prstDash val="solid"/>
              <a:round/>
            </a:ln>
          </p:spPr>
          <p:txBody>
            <a:bodyPr rot="0" spcFirstLastPara="0" vertOverflow="overflow" horzOverflow="overflow" vert="horz" wrap="square" lIns="91440" tIns="144000" rIns="91440" bIns="4572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66</a:t>
              </a:r>
            </a:p>
          </p:txBody>
        </p:sp>
        <p:sp>
          <p:nvSpPr>
            <p:cNvPr id="75" name="Freeform: Shape 74">
              <a:extLst>
                <a:ext uri="{FF2B5EF4-FFF2-40B4-BE49-F238E27FC236}">
                  <a16:creationId xmlns:a16="http://schemas.microsoft.com/office/drawing/2014/main" id="{3A42CC9B-E086-4D32-A3BF-D5556B239824}"/>
                </a:ext>
              </a:extLst>
            </p:cNvPr>
            <p:cNvSpPr/>
            <p:nvPr/>
          </p:nvSpPr>
          <p:spPr>
            <a:xfrm>
              <a:off x="1857390" y="3151897"/>
              <a:ext cx="61491" cy="46118"/>
            </a:xfrm>
            <a:custGeom>
              <a:avLst/>
              <a:gdLst>
                <a:gd name="connsiteX0" fmla="*/ 27947 w 38100"/>
                <a:gd name="connsiteY0" fmla="*/ 13192 h 28575"/>
                <a:gd name="connsiteX1" fmla="*/ 20569 w 38100"/>
                <a:gd name="connsiteY1" fmla="*/ 16883 h 28575"/>
                <a:gd name="connsiteX2" fmla="*/ 20569 w 38100"/>
                <a:gd name="connsiteY2" fmla="*/ 16883 h 28575"/>
                <a:gd name="connsiteX3" fmla="*/ 20569 w 38100"/>
                <a:gd name="connsiteY3" fmla="*/ 16883 h 28575"/>
                <a:gd name="connsiteX4" fmla="*/ 20569 w 38100"/>
                <a:gd name="connsiteY4" fmla="*/ 16883 h 28575"/>
                <a:gd name="connsiteX5" fmla="*/ 16879 w 38100"/>
                <a:gd name="connsiteY5" fmla="*/ 20573 h 28575"/>
                <a:gd name="connsiteX6" fmla="*/ 13190 w 38100"/>
                <a:gd name="connsiteY6" fmla="*/ 20573 h 28575"/>
                <a:gd name="connsiteX7" fmla="*/ 13190 w 38100"/>
                <a:gd name="connsiteY7" fmla="*/ 24264 h 28575"/>
                <a:gd name="connsiteX8" fmla="*/ 13190 w 38100"/>
                <a:gd name="connsiteY8" fmla="*/ 24264 h 28575"/>
                <a:gd name="connsiteX9" fmla="*/ 9501 w 38100"/>
                <a:gd name="connsiteY9" fmla="*/ 24264 h 28575"/>
                <a:gd name="connsiteX10" fmla="*/ 9501 w 38100"/>
                <a:gd name="connsiteY10" fmla="*/ 24264 h 28575"/>
                <a:gd name="connsiteX11" fmla="*/ 5812 w 38100"/>
                <a:gd name="connsiteY11" fmla="*/ 20573 h 28575"/>
                <a:gd name="connsiteX12" fmla="*/ 5812 w 38100"/>
                <a:gd name="connsiteY12" fmla="*/ 20573 h 28575"/>
                <a:gd name="connsiteX13" fmla="*/ 5812 w 38100"/>
                <a:gd name="connsiteY13" fmla="*/ 16883 h 28575"/>
                <a:gd name="connsiteX14" fmla="*/ 5812 w 38100"/>
                <a:gd name="connsiteY14" fmla="*/ 13192 h 28575"/>
                <a:gd name="connsiteX15" fmla="*/ 5812 w 38100"/>
                <a:gd name="connsiteY15" fmla="*/ 9503 h 28575"/>
                <a:gd name="connsiteX16" fmla="*/ 9501 w 38100"/>
                <a:gd name="connsiteY16" fmla="*/ 9503 h 28575"/>
                <a:gd name="connsiteX17" fmla="*/ 9501 w 38100"/>
                <a:gd name="connsiteY17" fmla="*/ 9503 h 28575"/>
                <a:gd name="connsiteX18" fmla="*/ 9501 w 38100"/>
                <a:gd name="connsiteY18" fmla="*/ 9503 h 28575"/>
                <a:gd name="connsiteX19" fmla="*/ 9501 w 38100"/>
                <a:gd name="connsiteY19" fmla="*/ 9503 h 28575"/>
                <a:gd name="connsiteX20" fmla="*/ 13190 w 38100"/>
                <a:gd name="connsiteY20" fmla="*/ 9503 h 28575"/>
                <a:gd name="connsiteX21" fmla="*/ 16879 w 38100"/>
                <a:gd name="connsiteY21" fmla="*/ 9503 h 28575"/>
                <a:gd name="connsiteX22" fmla="*/ 27947 w 38100"/>
                <a:gd name="connsiteY22" fmla="*/ 5812 h 28575"/>
                <a:gd name="connsiteX23" fmla="*/ 27947 w 38100"/>
                <a:gd name="connsiteY23" fmla="*/ 5812 h 28575"/>
                <a:gd name="connsiteX24" fmla="*/ 35325 w 38100"/>
                <a:gd name="connsiteY24" fmla="*/ 5812 h 28575"/>
                <a:gd name="connsiteX25" fmla="*/ 35325 w 38100"/>
                <a:gd name="connsiteY25" fmla="*/ 9503 h 28575"/>
                <a:gd name="connsiteX26" fmla="*/ 35325 w 38100"/>
                <a:gd name="connsiteY26" fmla="*/ 9503 h 28575"/>
                <a:gd name="connsiteX27" fmla="*/ 27947 w 38100"/>
                <a:gd name="connsiteY27" fmla="*/ 13192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8100" h="28575">
                  <a:moveTo>
                    <a:pt x="27947" y="13192"/>
                  </a:moveTo>
                  <a:lnTo>
                    <a:pt x="20569" y="16883"/>
                  </a:lnTo>
                  <a:lnTo>
                    <a:pt x="20569" y="16883"/>
                  </a:lnTo>
                  <a:lnTo>
                    <a:pt x="20569" y="16883"/>
                  </a:lnTo>
                  <a:lnTo>
                    <a:pt x="20569" y="16883"/>
                  </a:lnTo>
                  <a:lnTo>
                    <a:pt x="16879" y="20573"/>
                  </a:lnTo>
                  <a:lnTo>
                    <a:pt x="13190" y="20573"/>
                  </a:lnTo>
                  <a:lnTo>
                    <a:pt x="13190" y="24264"/>
                  </a:lnTo>
                  <a:lnTo>
                    <a:pt x="13190" y="24264"/>
                  </a:lnTo>
                  <a:lnTo>
                    <a:pt x="9501" y="24264"/>
                  </a:lnTo>
                  <a:lnTo>
                    <a:pt x="9501" y="24264"/>
                  </a:lnTo>
                  <a:lnTo>
                    <a:pt x="5812" y="20573"/>
                  </a:lnTo>
                  <a:lnTo>
                    <a:pt x="5812" y="20573"/>
                  </a:lnTo>
                  <a:lnTo>
                    <a:pt x="5812" y="16883"/>
                  </a:lnTo>
                  <a:lnTo>
                    <a:pt x="5812" y="13192"/>
                  </a:lnTo>
                  <a:lnTo>
                    <a:pt x="5812" y="9503"/>
                  </a:lnTo>
                  <a:lnTo>
                    <a:pt x="9501" y="9503"/>
                  </a:lnTo>
                  <a:lnTo>
                    <a:pt x="9501" y="9503"/>
                  </a:lnTo>
                  <a:lnTo>
                    <a:pt x="9501" y="9503"/>
                  </a:lnTo>
                  <a:lnTo>
                    <a:pt x="9501" y="9503"/>
                  </a:lnTo>
                  <a:lnTo>
                    <a:pt x="13190" y="9503"/>
                  </a:lnTo>
                  <a:lnTo>
                    <a:pt x="16879" y="9503"/>
                  </a:lnTo>
                  <a:lnTo>
                    <a:pt x="27947" y="5812"/>
                  </a:lnTo>
                  <a:lnTo>
                    <a:pt x="27947" y="5812"/>
                  </a:lnTo>
                  <a:lnTo>
                    <a:pt x="35325" y="5812"/>
                  </a:lnTo>
                  <a:lnTo>
                    <a:pt x="35325" y="9503"/>
                  </a:lnTo>
                  <a:lnTo>
                    <a:pt x="35325" y="9503"/>
                  </a:lnTo>
                  <a:lnTo>
                    <a:pt x="27947" y="13192"/>
                  </a:lnTo>
                  <a:close/>
                </a:path>
              </a:pathLst>
            </a:custGeom>
            <a:solidFill>
              <a:schemeClr val="accent3">
                <a:lumMod val="20000"/>
                <a:lumOff val="80000"/>
              </a:schemeClr>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76" name="Freeform: Shape 75">
              <a:extLst>
                <a:ext uri="{FF2B5EF4-FFF2-40B4-BE49-F238E27FC236}">
                  <a16:creationId xmlns:a16="http://schemas.microsoft.com/office/drawing/2014/main" id="{A202AA71-0601-490D-9B6C-7561464E2542}"/>
                </a:ext>
              </a:extLst>
            </p:cNvPr>
            <p:cNvSpPr/>
            <p:nvPr/>
          </p:nvSpPr>
          <p:spPr>
            <a:xfrm>
              <a:off x="1726399" y="3175722"/>
              <a:ext cx="661025" cy="1029969"/>
            </a:xfrm>
            <a:custGeom>
              <a:avLst/>
              <a:gdLst>
                <a:gd name="connsiteX0" fmla="*/ 127555 w 409575"/>
                <a:gd name="connsiteY0" fmla="*/ 5812 h 638175"/>
                <a:gd name="connsiteX1" fmla="*/ 120176 w 409575"/>
                <a:gd name="connsiteY1" fmla="*/ 16883 h 638175"/>
                <a:gd name="connsiteX2" fmla="*/ 120176 w 409575"/>
                <a:gd name="connsiteY2" fmla="*/ 20574 h 638175"/>
                <a:gd name="connsiteX3" fmla="*/ 120176 w 409575"/>
                <a:gd name="connsiteY3" fmla="*/ 24264 h 638175"/>
                <a:gd name="connsiteX4" fmla="*/ 120176 w 409575"/>
                <a:gd name="connsiteY4" fmla="*/ 31646 h 638175"/>
                <a:gd name="connsiteX5" fmla="*/ 116487 w 409575"/>
                <a:gd name="connsiteY5" fmla="*/ 42718 h 638175"/>
                <a:gd name="connsiteX6" fmla="*/ 116487 w 409575"/>
                <a:gd name="connsiteY6" fmla="*/ 53789 h 638175"/>
                <a:gd name="connsiteX7" fmla="*/ 116487 w 409575"/>
                <a:gd name="connsiteY7" fmla="*/ 68552 h 638175"/>
                <a:gd name="connsiteX8" fmla="*/ 109109 w 409575"/>
                <a:gd name="connsiteY8" fmla="*/ 90695 h 638175"/>
                <a:gd name="connsiteX9" fmla="*/ 105420 w 409575"/>
                <a:gd name="connsiteY9" fmla="*/ 112838 h 638175"/>
                <a:gd name="connsiteX10" fmla="*/ 98041 w 409575"/>
                <a:gd name="connsiteY10" fmla="*/ 134982 h 638175"/>
                <a:gd name="connsiteX11" fmla="*/ 98041 w 409575"/>
                <a:gd name="connsiteY11" fmla="*/ 142363 h 638175"/>
                <a:gd name="connsiteX12" fmla="*/ 94352 w 409575"/>
                <a:gd name="connsiteY12" fmla="*/ 142363 h 638175"/>
                <a:gd name="connsiteX13" fmla="*/ 94352 w 409575"/>
                <a:gd name="connsiteY13" fmla="*/ 149744 h 638175"/>
                <a:gd name="connsiteX14" fmla="*/ 86974 w 409575"/>
                <a:gd name="connsiteY14" fmla="*/ 164507 h 638175"/>
                <a:gd name="connsiteX15" fmla="*/ 86974 w 409575"/>
                <a:gd name="connsiteY15" fmla="*/ 171888 h 638175"/>
                <a:gd name="connsiteX16" fmla="*/ 79596 w 409575"/>
                <a:gd name="connsiteY16" fmla="*/ 194031 h 638175"/>
                <a:gd name="connsiteX17" fmla="*/ 79596 w 409575"/>
                <a:gd name="connsiteY17" fmla="*/ 197721 h 638175"/>
                <a:gd name="connsiteX18" fmla="*/ 79596 w 409575"/>
                <a:gd name="connsiteY18" fmla="*/ 201412 h 638175"/>
                <a:gd name="connsiteX19" fmla="*/ 79596 w 409575"/>
                <a:gd name="connsiteY19" fmla="*/ 205102 h 638175"/>
                <a:gd name="connsiteX20" fmla="*/ 79596 w 409575"/>
                <a:gd name="connsiteY20" fmla="*/ 208793 h 638175"/>
                <a:gd name="connsiteX21" fmla="*/ 79596 w 409575"/>
                <a:gd name="connsiteY21" fmla="*/ 219865 h 638175"/>
                <a:gd name="connsiteX22" fmla="*/ 75906 w 409575"/>
                <a:gd name="connsiteY22" fmla="*/ 234627 h 638175"/>
                <a:gd name="connsiteX23" fmla="*/ 75906 w 409575"/>
                <a:gd name="connsiteY23" fmla="*/ 242009 h 638175"/>
                <a:gd name="connsiteX24" fmla="*/ 75906 w 409575"/>
                <a:gd name="connsiteY24" fmla="*/ 249390 h 638175"/>
                <a:gd name="connsiteX25" fmla="*/ 72217 w 409575"/>
                <a:gd name="connsiteY25" fmla="*/ 264151 h 638175"/>
                <a:gd name="connsiteX26" fmla="*/ 72217 w 409575"/>
                <a:gd name="connsiteY26" fmla="*/ 271532 h 638175"/>
                <a:gd name="connsiteX27" fmla="*/ 72217 w 409575"/>
                <a:gd name="connsiteY27" fmla="*/ 275223 h 638175"/>
                <a:gd name="connsiteX28" fmla="*/ 72217 w 409575"/>
                <a:gd name="connsiteY28" fmla="*/ 282604 h 638175"/>
                <a:gd name="connsiteX29" fmla="*/ 68528 w 409575"/>
                <a:gd name="connsiteY29" fmla="*/ 286295 h 638175"/>
                <a:gd name="connsiteX30" fmla="*/ 68528 w 409575"/>
                <a:gd name="connsiteY30" fmla="*/ 289986 h 638175"/>
                <a:gd name="connsiteX31" fmla="*/ 64839 w 409575"/>
                <a:gd name="connsiteY31" fmla="*/ 315820 h 638175"/>
                <a:gd name="connsiteX32" fmla="*/ 61150 w 409575"/>
                <a:gd name="connsiteY32" fmla="*/ 349034 h 638175"/>
                <a:gd name="connsiteX33" fmla="*/ 57461 w 409575"/>
                <a:gd name="connsiteY33" fmla="*/ 367487 h 638175"/>
                <a:gd name="connsiteX34" fmla="*/ 53772 w 409575"/>
                <a:gd name="connsiteY34" fmla="*/ 374869 h 638175"/>
                <a:gd name="connsiteX35" fmla="*/ 50082 w 409575"/>
                <a:gd name="connsiteY35" fmla="*/ 382250 h 638175"/>
                <a:gd name="connsiteX36" fmla="*/ 46393 w 409575"/>
                <a:gd name="connsiteY36" fmla="*/ 389631 h 638175"/>
                <a:gd name="connsiteX37" fmla="*/ 42704 w 409575"/>
                <a:gd name="connsiteY37" fmla="*/ 400703 h 638175"/>
                <a:gd name="connsiteX38" fmla="*/ 50082 w 409575"/>
                <a:gd name="connsiteY38" fmla="*/ 397012 h 638175"/>
                <a:gd name="connsiteX39" fmla="*/ 53772 w 409575"/>
                <a:gd name="connsiteY39" fmla="*/ 397012 h 638175"/>
                <a:gd name="connsiteX40" fmla="*/ 61150 w 409575"/>
                <a:gd name="connsiteY40" fmla="*/ 393322 h 638175"/>
                <a:gd name="connsiteX41" fmla="*/ 64839 w 409575"/>
                <a:gd name="connsiteY41" fmla="*/ 397012 h 638175"/>
                <a:gd name="connsiteX42" fmla="*/ 61150 w 409575"/>
                <a:gd name="connsiteY42" fmla="*/ 397012 h 638175"/>
                <a:gd name="connsiteX43" fmla="*/ 61150 w 409575"/>
                <a:gd name="connsiteY43" fmla="*/ 400703 h 638175"/>
                <a:gd name="connsiteX44" fmla="*/ 53772 w 409575"/>
                <a:gd name="connsiteY44" fmla="*/ 400703 h 638175"/>
                <a:gd name="connsiteX45" fmla="*/ 50082 w 409575"/>
                <a:gd name="connsiteY45" fmla="*/ 404394 h 638175"/>
                <a:gd name="connsiteX46" fmla="*/ 57461 w 409575"/>
                <a:gd name="connsiteY46" fmla="*/ 404394 h 638175"/>
                <a:gd name="connsiteX47" fmla="*/ 57461 w 409575"/>
                <a:gd name="connsiteY47" fmla="*/ 408084 h 638175"/>
                <a:gd name="connsiteX48" fmla="*/ 50082 w 409575"/>
                <a:gd name="connsiteY48" fmla="*/ 404394 h 638175"/>
                <a:gd name="connsiteX49" fmla="*/ 46393 w 409575"/>
                <a:gd name="connsiteY49" fmla="*/ 404394 h 638175"/>
                <a:gd name="connsiteX50" fmla="*/ 46393 w 409575"/>
                <a:gd name="connsiteY50" fmla="*/ 408084 h 638175"/>
                <a:gd name="connsiteX51" fmla="*/ 39015 w 409575"/>
                <a:gd name="connsiteY51" fmla="*/ 404394 h 638175"/>
                <a:gd name="connsiteX52" fmla="*/ 39015 w 409575"/>
                <a:gd name="connsiteY52" fmla="*/ 411775 h 638175"/>
                <a:gd name="connsiteX53" fmla="*/ 42704 w 409575"/>
                <a:gd name="connsiteY53" fmla="*/ 419156 h 638175"/>
                <a:gd name="connsiteX54" fmla="*/ 39015 w 409575"/>
                <a:gd name="connsiteY54" fmla="*/ 422847 h 638175"/>
                <a:gd name="connsiteX55" fmla="*/ 39015 w 409575"/>
                <a:gd name="connsiteY55" fmla="*/ 430227 h 638175"/>
                <a:gd name="connsiteX56" fmla="*/ 35326 w 409575"/>
                <a:gd name="connsiteY56" fmla="*/ 437608 h 638175"/>
                <a:gd name="connsiteX57" fmla="*/ 31637 w 409575"/>
                <a:gd name="connsiteY57" fmla="*/ 452370 h 638175"/>
                <a:gd name="connsiteX58" fmla="*/ 27947 w 409575"/>
                <a:gd name="connsiteY58" fmla="*/ 463442 h 638175"/>
                <a:gd name="connsiteX59" fmla="*/ 20569 w 409575"/>
                <a:gd name="connsiteY59" fmla="*/ 481898 h 638175"/>
                <a:gd name="connsiteX60" fmla="*/ 5812 w 409575"/>
                <a:gd name="connsiteY60" fmla="*/ 511416 h 638175"/>
                <a:gd name="connsiteX61" fmla="*/ 31637 w 409575"/>
                <a:gd name="connsiteY61" fmla="*/ 522493 h 638175"/>
                <a:gd name="connsiteX62" fmla="*/ 42704 w 409575"/>
                <a:gd name="connsiteY62" fmla="*/ 526179 h 638175"/>
                <a:gd name="connsiteX63" fmla="*/ 42704 w 409575"/>
                <a:gd name="connsiteY63" fmla="*/ 518798 h 638175"/>
                <a:gd name="connsiteX64" fmla="*/ 46393 w 409575"/>
                <a:gd name="connsiteY64" fmla="*/ 522493 h 638175"/>
                <a:gd name="connsiteX65" fmla="*/ 50082 w 409575"/>
                <a:gd name="connsiteY65" fmla="*/ 518798 h 638175"/>
                <a:gd name="connsiteX66" fmla="*/ 53772 w 409575"/>
                <a:gd name="connsiteY66" fmla="*/ 518798 h 638175"/>
                <a:gd name="connsiteX67" fmla="*/ 57461 w 409575"/>
                <a:gd name="connsiteY67" fmla="*/ 518798 h 638175"/>
                <a:gd name="connsiteX68" fmla="*/ 64839 w 409575"/>
                <a:gd name="connsiteY68" fmla="*/ 522493 h 638175"/>
                <a:gd name="connsiteX69" fmla="*/ 61150 w 409575"/>
                <a:gd name="connsiteY69" fmla="*/ 529875 h 638175"/>
                <a:gd name="connsiteX70" fmla="*/ 57461 w 409575"/>
                <a:gd name="connsiteY70" fmla="*/ 533561 h 638175"/>
                <a:gd name="connsiteX71" fmla="*/ 57461 w 409575"/>
                <a:gd name="connsiteY71" fmla="*/ 540943 h 638175"/>
                <a:gd name="connsiteX72" fmla="*/ 53772 w 409575"/>
                <a:gd name="connsiteY72" fmla="*/ 540943 h 638175"/>
                <a:gd name="connsiteX73" fmla="*/ 53772 w 409575"/>
                <a:gd name="connsiteY73" fmla="*/ 544639 h 638175"/>
                <a:gd name="connsiteX74" fmla="*/ 53772 w 409575"/>
                <a:gd name="connsiteY74" fmla="*/ 548325 h 638175"/>
                <a:gd name="connsiteX75" fmla="*/ 50082 w 409575"/>
                <a:gd name="connsiteY75" fmla="*/ 552011 h 638175"/>
                <a:gd name="connsiteX76" fmla="*/ 46393 w 409575"/>
                <a:gd name="connsiteY76" fmla="*/ 555707 h 638175"/>
                <a:gd name="connsiteX77" fmla="*/ 42704 w 409575"/>
                <a:gd name="connsiteY77" fmla="*/ 559393 h 638175"/>
                <a:gd name="connsiteX78" fmla="*/ 42704 w 409575"/>
                <a:gd name="connsiteY78" fmla="*/ 563089 h 638175"/>
                <a:gd name="connsiteX79" fmla="*/ 42704 w 409575"/>
                <a:gd name="connsiteY79" fmla="*/ 566775 h 638175"/>
                <a:gd name="connsiteX80" fmla="*/ 42704 w 409575"/>
                <a:gd name="connsiteY80" fmla="*/ 570471 h 638175"/>
                <a:gd name="connsiteX81" fmla="*/ 42704 w 409575"/>
                <a:gd name="connsiteY81" fmla="*/ 577853 h 638175"/>
                <a:gd name="connsiteX82" fmla="*/ 39015 w 409575"/>
                <a:gd name="connsiteY82" fmla="*/ 581539 h 638175"/>
                <a:gd name="connsiteX83" fmla="*/ 39015 w 409575"/>
                <a:gd name="connsiteY83" fmla="*/ 585234 h 638175"/>
                <a:gd name="connsiteX84" fmla="*/ 35326 w 409575"/>
                <a:gd name="connsiteY84" fmla="*/ 585234 h 638175"/>
                <a:gd name="connsiteX85" fmla="*/ 35326 w 409575"/>
                <a:gd name="connsiteY85" fmla="*/ 588921 h 638175"/>
                <a:gd name="connsiteX86" fmla="*/ 35326 w 409575"/>
                <a:gd name="connsiteY86" fmla="*/ 592616 h 638175"/>
                <a:gd name="connsiteX87" fmla="*/ 35326 w 409575"/>
                <a:gd name="connsiteY87" fmla="*/ 596303 h 638175"/>
                <a:gd name="connsiteX88" fmla="*/ 39015 w 409575"/>
                <a:gd name="connsiteY88" fmla="*/ 596303 h 638175"/>
                <a:gd name="connsiteX89" fmla="*/ 42704 w 409575"/>
                <a:gd name="connsiteY89" fmla="*/ 599989 h 638175"/>
                <a:gd name="connsiteX90" fmla="*/ 46393 w 409575"/>
                <a:gd name="connsiteY90" fmla="*/ 599989 h 638175"/>
                <a:gd name="connsiteX91" fmla="*/ 50082 w 409575"/>
                <a:gd name="connsiteY91" fmla="*/ 596303 h 638175"/>
                <a:gd name="connsiteX92" fmla="*/ 57461 w 409575"/>
                <a:gd name="connsiteY92" fmla="*/ 599989 h 638175"/>
                <a:gd name="connsiteX93" fmla="*/ 68528 w 409575"/>
                <a:gd name="connsiteY93" fmla="*/ 599989 h 638175"/>
                <a:gd name="connsiteX94" fmla="*/ 72217 w 409575"/>
                <a:gd name="connsiteY94" fmla="*/ 599989 h 638175"/>
                <a:gd name="connsiteX95" fmla="*/ 75906 w 409575"/>
                <a:gd name="connsiteY95" fmla="*/ 599989 h 638175"/>
                <a:gd name="connsiteX96" fmla="*/ 79596 w 409575"/>
                <a:gd name="connsiteY96" fmla="*/ 596303 h 638175"/>
                <a:gd name="connsiteX97" fmla="*/ 86974 w 409575"/>
                <a:gd name="connsiteY97" fmla="*/ 592616 h 638175"/>
                <a:gd name="connsiteX98" fmla="*/ 90663 w 409575"/>
                <a:gd name="connsiteY98" fmla="*/ 592616 h 638175"/>
                <a:gd name="connsiteX99" fmla="*/ 90663 w 409575"/>
                <a:gd name="connsiteY99" fmla="*/ 588921 h 638175"/>
                <a:gd name="connsiteX100" fmla="*/ 94352 w 409575"/>
                <a:gd name="connsiteY100" fmla="*/ 592616 h 638175"/>
                <a:gd name="connsiteX101" fmla="*/ 98041 w 409575"/>
                <a:gd name="connsiteY101" fmla="*/ 592616 h 638175"/>
                <a:gd name="connsiteX102" fmla="*/ 101731 w 409575"/>
                <a:gd name="connsiteY102" fmla="*/ 592616 h 638175"/>
                <a:gd name="connsiteX103" fmla="*/ 105420 w 409575"/>
                <a:gd name="connsiteY103" fmla="*/ 588921 h 638175"/>
                <a:gd name="connsiteX104" fmla="*/ 109109 w 409575"/>
                <a:gd name="connsiteY104" fmla="*/ 585234 h 638175"/>
                <a:gd name="connsiteX105" fmla="*/ 120176 w 409575"/>
                <a:gd name="connsiteY105" fmla="*/ 588921 h 638175"/>
                <a:gd name="connsiteX106" fmla="*/ 116487 w 409575"/>
                <a:gd name="connsiteY106" fmla="*/ 599989 h 638175"/>
                <a:gd name="connsiteX107" fmla="*/ 120176 w 409575"/>
                <a:gd name="connsiteY107" fmla="*/ 603684 h 638175"/>
                <a:gd name="connsiteX108" fmla="*/ 123866 w 409575"/>
                <a:gd name="connsiteY108" fmla="*/ 607371 h 638175"/>
                <a:gd name="connsiteX109" fmla="*/ 127555 w 409575"/>
                <a:gd name="connsiteY109" fmla="*/ 599989 h 638175"/>
                <a:gd name="connsiteX110" fmla="*/ 131244 w 409575"/>
                <a:gd name="connsiteY110" fmla="*/ 599989 h 638175"/>
                <a:gd name="connsiteX111" fmla="*/ 138622 w 409575"/>
                <a:gd name="connsiteY111" fmla="*/ 599989 h 638175"/>
                <a:gd name="connsiteX112" fmla="*/ 142312 w 409575"/>
                <a:gd name="connsiteY112" fmla="*/ 596303 h 638175"/>
                <a:gd name="connsiteX113" fmla="*/ 142312 w 409575"/>
                <a:gd name="connsiteY113" fmla="*/ 592616 h 638175"/>
                <a:gd name="connsiteX114" fmla="*/ 146001 w 409575"/>
                <a:gd name="connsiteY114" fmla="*/ 592616 h 638175"/>
                <a:gd name="connsiteX115" fmla="*/ 149690 w 409575"/>
                <a:gd name="connsiteY115" fmla="*/ 592616 h 638175"/>
                <a:gd name="connsiteX116" fmla="*/ 153380 w 409575"/>
                <a:gd name="connsiteY116" fmla="*/ 592616 h 638175"/>
                <a:gd name="connsiteX117" fmla="*/ 157069 w 409575"/>
                <a:gd name="connsiteY117" fmla="*/ 592616 h 638175"/>
                <a:gd name="connsiteX118" fmla="*/ 160758 w 409575"/>
                <a:gd name="connsiteY118" fmla="*/ 592616 h 638175"/>
                <a:gd name="connsiteX119" fmla="*/ 164447 w 409575"/>
                <a:gd name="connsiteY119" fmla="*/ 592616 h 638175"/>
                <a:gd name="connsiteX120" fmla="*/ 168136 w 409575"/>
                <a:gd name="connsiteY120" fmla="*/ 588921 h 638175"/>
                <a:gd name="connsiteX121" fmla="*/ 171826 w 409575"/>
                <a:gd name="connsiteY121" fmla="*/ 588921 h 638175"/>
                <a:gd name="connsiteX122" fmla="*/ 171826 w 409575"/>
                <a:gd name="connsiteY122" fmla="*/ 585234 h 638175"/>
                <a:gd name="connsiteX123" fmla="*/ 175515 w 409575"/>
                <a:gd name="connsiteY123" fmla="*/ 585234 h 638175"/>
                <a:gd name="connsiteX124" fmla="*/ 179204 w 409575"/>
                <a:gd name="connsiteY124" fmla="*/ 581539 h 638175"/>
                <a:gd name="connsiteX125" fmla="*/ 182893 w 409575"/>
                <a:gd name="connsiteY125" fmla="*/ 581539 h 638175"/>
                <a:gd name="connsiteX126" fmla="*/ 182893 w 409575"/>
                <a:gd name="connsiteY126" fmla="*/ 577853 h 638175"/>
                <a:gd name="connsiteX127" fmla="*/ 190272 w 409575"/>
                <a:gd name="connsiteY127" fmla="*/ 574157 h 638175"/>
                <a:gd name="connsiteX128" fmla="*/ 193961 w 409575"/>
                <a:gd name="connsiteY128" fmla="*/ 570471 h 638175"/>
                <a:gd name="connsiteX129" fmla="*/ 197650 w 409575"/>
                <a:gd name="connsiteY129" fmla="*/ 570471 h 638175"/>
                <a:gd name="connsiteX130" fmla="*/ 201339 w 409575"/>
                <a:gd name="connsiteY130" fmla="*/ 570471 h 638175"/>
                <a:gd name="connsiteX131" fmla="*/ 205028 w 409575"/>
                <a:gd name="connsiteY131" fmla="*/ 574157 h 638175"/>
                <a:gd name="connsiteX132" fmla="*/ 205028 w 409575"/>
                <a:gd name="connsiteY132" fmla="*/ 570471 h 638175"/>
                <a:gd name="connsiteX133" fmla="*/ 208717 w 409575"/>
                <a:gd name="connsiteY133" fmla="*/ 570471 h 638175"/>
                <a:gd name="connsiteX134" fmla="*/ 212406 w 409575"/>
                <a:gd name="connsiteY134" fmla="*/ 570471 h 638175"/>
                <a:gd name="connsiteX135" fmla="*/ 212406 w 409575"/>
                <a:gd name="connsiteY135" fmla="*/ 566775 h 638175"/>
                <a:gd name="connsiteX136" fmla="*/ 216096 w 409575"/>
                <a:gd name="connsiteY136" fmla="*/ 563089 h 638175"/>
                <a:gd name="connsiteX137" fmla="*/ 219785 w 409575"/>
                <a:gd name="connsiteY137" fmla="*/ 559393 h 638175"/>
                <a:gd name="connsiteX138" fmla="*/ 216096 w 409575"/>
                <a:gd name="connsiteY138" fmla="*/ 555707 h 638175"/>
                <a:gd name="connsiteX139" fmla="*/ 216096 w 409575"/>
                <a:gd name="connsiteY139" fmla="*/ 552011 h 638175"/>
                <a:gd name="connsiteX140" fmla="*/ 219785 w 409575"/>
                <a:gd name="connsiteY140" fmla="*/ 548325 h 638175"/>
                <a:gd name="connsiteX141" fmla="*/ 227163 w 409575"/>
                <a:gd name="connsiteY141" fmla="*/ 552011 h 638175"/>
                <a:gd name="connsiteX142" fmla="*/ 230852 w 409575"/>
                <a:gd name="connsiteY142" fmla="*/ 552011 h 638175"/>
                <a:gd name="connsiteX143" fmla="*/ 234541 w 409575"/>
                <a:gd name="connsiteY143" fmla="*/ 552011 h 638175"/>
                <a:gd name="connsiteX144" fmla="*/ 238230 w 409575"/>
                <a:gd name="connsiteY144" fmla="*/ 552011 h 638175"/>
                <a:gd name="connsiteX145" fmla="*/ 238230 w 409575"/>
                <a:gd name="connsiteY145" fmla="*/ 548325 h 638175"/>
                <a:gd name="connsiteX146" fmla="*/ 245609 w 409575"/>
                <a:gd name="connsiteY146" fmla="*/ 544639 h 638175"/>
                <a:gd name="connsiteX147" fmla="*/ 245609 w 409575"/>
                <a:gd name="connsiteY147" fmla="*/ 540943 h 638175"/>
                <a:gd name="connsiteX148" fmla="*/ 252987 w 409575"/>
                <a:gd name="connsiteY148" fmla="*/ 544639 h 638175"/>
                <a:gd name="connsiteX149" fmla="*/ 252987 w 409575"/>
                <a:gd name="connsiteY149" fmla="*/ 540943 h 638175"/>
                <a:gd name="connsiteX150" fmla="*/ 252987 w 409575"/>
                <a:gd name="connsiteY150" fmla="*/ 537257 h 638175"/>
                <a:gd name="connsiteX151" fmla="*/ 256676 w 409575"/>
                <a:gd name="connsiteY151" fmla="*/ 537257 h 638175"/>
                <a:gd name="connsiteX152" fmla="*/ 256676 w 409575"/>
                <a:gd name="connsiteY152" fmla="*/ 533561 h 638175"/>
                <a:gd name="connsiteX153" fmla="*/ 260365 w 409575"/>
                <a:gd name="connsiteY153" fmla="*/ 533561 h 638175"/>
                <a:gd name="connsiteX154" fmla="*/ 264055 w 409575"/>
                <a:gd name="connsiteY154" fmla="*/ 533561 h 638175"/>
                <a:gd name="connsiteX155" fmla="*/ 264055 w 409575"/>
                <a:gd name="connsiteY155" fmla="*/ 548325 h 638175"/>
                <a:gd name="connsiteX156" fmla="*/ 267744 w 409575"/>
                <a:gd name="connsiteY156" fmla="*/ 544639 h 638175"/>
                <a:gd name="connsiteX157" fmla="*/ 271433 w 409575"/>
                <a:gd name="connsiteY157" fmla="*/ 548325 h 638175"/>
                <a:gd name="connsiteX158" fmla="*/ 275122 w 409575"/>
                <a:gd name="connsiteY158" fmla="*/ 548325 h 638175"/>
                <a:gd name="connsiteX159" fmla="*/ 278811 w 409575"/>
                <a:gd name="connsiteY159" fmla="*/ 544639 h 638175"/>
                <a:gd name="connsiteX160" fmla="*/ 282500 w 409575"/>
                <a:gd name="connsiteY160" fmla="*/ 544639 h 638175"/>
                <a:gd name="connsiteX161" fmla="*/ 286190 w 409575"/>
                <a:gd name="connsiteY161" fmla="*/ 548325 h 638175"/>
                <a:gd name="connsiteX162" fmla="*/ 282500 w 409575"/>
                <a:gd name="connsiteY162" fmla="*/ 548325 h 638175"/>
                <a:gd name="connsiteX163" fmla="*/ 278811 w 409575"/>
                <a:gd name="connsiteY163" fmla="*/ 548325 h 638175"/>
                <a:gd name="connsiteX164" fmla="*/ 278811 w 409575"/>
                <a:gd name="connsiteY164" fmla="*/ 552011 h 638175"/>
                <a:gd name="connsiteX165" fmla="*/ 275122 w 409575"/>
                <a:gd name="connsiteY165" fmla="*/ 552011 h 638175"/>
                <a:gd name="connsiteX166" fmla="*/ 271433 w 409575"/>
                <a:gd name="connsiteY166" fmla="*/ 552011 h 638175"/>
                <a:gd name="connsiteX167" fmla="*/ 271433 w 409575"/>
                <a:gd name="connsiteY167" fmla="*/ 555707 h 638175"/>
                <a:gd name="connsiteX168" fmla="*/ 267744 w 409575"/>
                <a:gd name="connsiteY168" fmla="*/ 555707 h 638175"/>
                <a:gd name="connsiteX169" fmla="*/ 264055 w 409575"/>
                <a:gd name="connsiteY169" fmla="*/ 555707 h 638175"/>
                <a:gd name="connsiteX170" fmla="*/ 264055 w 409575"/>
                <a:gd name="connsiteY170" fmla="*/ 559393 h 638175"/>
                <a:gd name="connsiteX171" fmla="*/ 267744 w 409575"/>
                <a:gd name="connsiteY171" fmla="*/ 570471 h 638175"/>
                <a:gd name="connsiteX172" fmla="*/ 271433 w 409575"/>
                <a:gd name="connsiteY172" fmla="*/ 574157 h 638175"/>
                <a:gd name="connsiteX173" fmla="*/ 271433 w 409575"/>
                <a:gd name="connsiteY173" fmla="*/ 570471 h 638175"/>
                <a:gd name="connsiteX174" fmla="*/ 275122 w 409575"/>
                <a:gd name="connsiteY174" fmla="*/ 570471 h 638175"/>
                <a:gd name="connsiteX175" fmla="*/ 275122 w 409575"/>
                <a:gd name="connsiteY175" fmla="*/ 574157 h 638175"/>
                <a:gd name="connsiteX176" fmla="*/ 275122 w 409575"/>
                <a:gd name="connsiteY176" fmla="*/ 581539 h 638175"/>
                <a:gd name="connsiteX177" fmla="*/ 282500 w 409575"/>
                <a:gd name="connsiteY177" fmla="*/ 585234 h 638175"/>
                <a:gd name="connsiteX178" fmla="*/ 275122 w 409575"/>
                <a:gd name="connsiteY178" fmla="*/ 588921 h 638175"/>
                <a:gd name="connsiteX179" fmla="*/ 271433 w 409575"/>
                <a:gd name="connsiteY179" fmla="*/ 588921 h 638175"/>
                <a:gd name="connsiteX180" fmla="*/ 271433 w 409575"/>
                <a:gd name="connsiteY180" fmla="*/ 596303 h 638175"/>
                <a:gd name="connsiteX181" fmla="*/ 271433 w 409575"/>
                <a:gd name="connsiteY181" fmla="*/ 603684 h 638175"/>
                <a:gd name="connsiteX182" fmla="*/ 271433 w 409575"/>
                <a:gd name="connsiteY182" fmla="*/ 607371 h 638175"/>
                <a:gd name="connsiteX183" fmla="*/ 271433 w 409575"/>
                <a:gd name="connsiteY183" fmla="*/ 611066 h 638175"/>
                <a:gd name="connsiteX184" fmla="*/ 264055 w 409575"/>
                <a:gd name="connsiteY184" fmla="*/ 611066 h 638175"/>
                <a:gd name="connsiteX185" fmla="*/ 267744 w 409575"/>
                <a:gd name="connsiteY185" fmla="*/ 614752 h 638175"/>
                <a:gd name="connsiteX186" fmla="*/ 271433 w 409575"/>
                <a:gd name="connsiteY186" fmla="*/ 614752 h 638175"/>
                <a:gd name="connsiteX187" fmla="*/ 271433 w 409575"/>
                <a:gd name="connsiteY187" fmla="*/ 618448 h 638175"/>
                <a:gd name="connsiteX188" fmla="*/ 271433 w 409575"/>
                <a:gd name="connsiteY188" fmla="*/ 625830 h 638175"/>
                <a:gd name="connsiteX189" fmla="*/ 275122 w 409575"/>
                <a:gd name="connsiteY189" fmla="*/ 625830 h 638175"/>
                <a:gd name="connsiteX190" fmla="*/ 275122 w 409575"/>
                <a:gd name="connsiteY190" fmla="*/ 640594 h 638175"/>
                <a:gd name="connsiteX191" fmla="*/ 289879 w 409575"/>
                <a:gd name="connsiteY191" fmla="*/ 636898 h 638175"/>
                <a:gd name="connsiteX192" fmla="*/ 308326 w 409575"/>
                <a:gd name="connsiteY192" fmla="*/ 629516 h 638175"/>
                <a:gd name="connsiteX193" fmla="*/ 312015 w 409575"/>
                <a:gd name="connsiteY193" fmla="*/ 629516 h 638175"/>
                <a:gd name="connsiteX194" fmla="*/ 334150 w 409575"/>
                <a:gd name="connsiteY194" fmla="*/ 633212 h 638175"/>
                <a:gd name="connsiteX195" fmla="*/ 337839 w 409575"/>
                <a:gd name="connsiteY195" fmla="*/ 633212 h 638175"/>
                <a:gd name="connsiteX196" fmla="*/ 341528 w 409575"/>
                <a:gd name="connsiteY196" fmla="*/ 633212 h 638175"/>
                <a:gd name="connsiteX197" fmla="*/ 348906 w 409575"/>
                <a:gd name="connsiteY197" fmla="*/ 633212 h 638175"/>
                <a:gd name="connsiteX198" fmla="*/ 359974 w 409575"/>
                <a:gd name="connsiteY198" fmla="*/ 611066 h 638175"/>
                <a:gd name="connsiteX199" fmla="*/ 359974 w 409575"/>
                <a:gd name="connsiteY199" fmla="*/ 603684 h 638175"/>
                <a:gd name="connsiteX200" fmla="*/ 363663 w 409575"/>
                <a:gd name="connsiteY200" fmla="*/ 596303 h 638175"/>
                <a:gd name="connsiteX201" fmla="*/ 367352 w 409575"/>
                <a:gd name="connsiteY201" fmla="*/ 585234 h 638175"/>
                <a:gd name="connsiteX202" fmla="*/ 371041 w 409575"/>
                <a:gd name="connsiteY202" fmla="*/ 577853 h 638175"/>
                <a:gd name="connsiteX203" fmla="*/ 371041 w 409575"/>
                <a:gd name="connsiteY203" fmla="*/ 574157 h 638175"/>
                <a:gd name="connsiteX204" fmla="*/ 371041 w 409575"/>
                <a:gd name="connsiteY204" fmla="*/ 570471 h 638175"/>
                <a:gd name="connsiteX205" fmla="*/ 382106 w 409575"/>
                <a:gd name="connsiteY205" fmla="*/ 548325 h 638175"/>
                <a:gd name="connsiteX206" fmla="*/ 389488 w 409575"/>
                <a:gd name="connsiteY206" fmla="*/ 552011 h 638175"/>
                <a:gd name="connsiteX207" fmla="*/ 404242 w 409575"/>
                <a:gd name="connsiteY207" fmla="*/ 552011 h 638175"/>
                <a:gd name="connsiteX208" fmla="*/ 396870 w 409575"/>
                <a:gd name="connsiteY208" fmla="*/ 544639 h 638175"/>
                <a:gd name="connsiteX209" fmla="*/ 396870 w 409575"/>
                <a:gd name="connsiteY209" fmla="*/ 540943 h 638175"/>
                <a:gd name="connsiteX210" fmla="*/ 400556 w 409575"/>
                <a:gd name="connsiteY210" fmla="*/ 537257 h 638175"/>
                <a:gd name="connsiteX211" fmla="*/ 396870 w 409575"/>
                <a:gd name="connsiteY211" fmla="*/ 537257 h 638175"/>
                <a:gd name="connsiteX212" fmla="*/ 393174 w 409575"/>
                <a:gd name="connsiteY212" fmla="*/ 537257 h 638175"/>
                <a:gd name="connsiteX213" fmla="*/ 389488 w 409575"/>
                <a:gd name="connsiteY213" fmla="*/ 533561 h 638175"/>
                <a:gd name="connsiteX214" fmla="*/ 385802 w 409575"/>
                <a:gd name="connsiteY214" fmla="*/ 533561 h 638175"/>
                <a:gd name="connsiteX215" fmla="*/ 382106 w 409575"/>
                <a:gd name="connsiteY215" fmla="*/ 529875 h 638175"/>
                <a:gd name="connsiteX216" fmla="*/ 378420 w 409575"/>
                <a:gd name="connsiteY216" fmla="*/ 529875 h 638175"/>
                <a:gd name="connsiteX217" fmla="*/ 378420 w 409575"/>
                <a:gd name="connsiteY217" fmla="*/ 526179 h 638175"/>
                <a:gd name="connsiteX218" fmla="*/ 374730 w 409575"/>
                <a:gd name="connsiteY218" fmla="*/ 522493 h 638175"/>
                <a:gd name="connsiteX219" fmla="*/ 371041 w 409575"/>
                <a:gd name="connsiteY219" fmla="*/ 526179 h 638175"/>
                <a:gd name="connsiteX220" fmla="*/ 367352 w 409575"/>
                <a:gd name="connsiteY220" fmla="*/ 526179 h 638175"/>
                <a:gd name="connsiteX221" fmla="*/ 363663 w 409575"/>
                <a:gd name="connsiteY221" fmla="*/ 526179 h 638175"/>
                <a:gd name="connsiteX222" fmla="*/ 348906 w 409575"/>
                <a:gd name="connsiteY222" fmla="*/ 526179 h 638175"/>
                <a:gd name="connsiteX223" fmla="*/ 345217 w 409575"/>
                <a:gd name="connsiteY223" fmla="*/ 529875 h 638175"/>
                <a:gd name="connsiteX224" fmla="*/ 341528 w 409575"/>
                <a:gd name="connsiteY224" fmla="*/ 529875 h 638175"/>
                <a:gd name="connsiteX225" fmla="*/ 337839 w 409575"/>
                <a:gd name="connsiteY225" fmla="*/ 533561 h 638175"/>
                <a:gd name="connsiteX226" fmla="*/ 334150 w 409575"/>
                <a:gd name="connsiteY226" fmla="*/ 533561 h 638175"/>
                <a:gd name="connsiteX227" fmla="*/ 334150 w 409575"/>
                <a:gd name="connsiteY227" fmla="*/ 529875 h 638175"/>
                <a:gd name="connsiteX228" fmla="*/ 330460 w 409575"/>
                <a:gd name="connsiteY228" fmla="*/ 529875 h 638175"/>
                <a:gd name="connsiteX229" fmla="*/ 326771 w 409575"/>
                <a:gd name="connsiteY229" fmla="*/ 526179 h 638175"/>
                <a:gd name="connsiteX230" fmla="*/ 323082 w 409575"/>
                <a:gd name="connsiteY230" fmla="*/ 522493 h 638175"/>
                <a:gd name="connsiteX231" fmla="*/ 319393 w 409575"/>
                <a:gd name="connsiteY231" fmla="*/ 515111 h 638175"/>
                <a:gd name="connsiteX232" fmla="*/ 315704 w 409575"/>
                <a:gd name="connsiteY232" fmla="*/ 515111 h 638175"/>
                <a:gd name="connsiteX233" fmla="*/ 315704 w 409575"/>
                <a:gd name="connsiteY233" fmla="*/ 511416 h 638175"/>
                <a:gd name="connsiteX234" fmla="*/ 308326 w 409575"/>
                <a:gd name="connsiteY234" fmla="*/ 511416 h 638175"/>
                <a:gd name="connsiteX235" fmla="*/ 304636 w 409575"/>
                <a:gd name="connsiteY235" fmla="*/ 511416 h 638175"/>
                <a:gd name="connsiteX236" fmla="*/ 300947 w 409575"/>
                <a:gd name="connsiteY236" fmla="*/ 504043 h 638175"/>
                <a:gd name="connsiteX237" fmla="*/ 289879 w 409575"/>
                <a:gd name="connsiteY237" fmla="*/ 504043 h 638175"/>
                <a:gd name="connsiteX238" fmla="*/ 286190 w 409575"/>
                <a:gd name="connsiteY238" fmla="*/ 504043 h 638175"/>
                <a:gd name="connsiteX239" fmla="*/ 282500 w 409575"/>
                <a:gd name="connsiteY239" fmla="*/ 504043 h 638175"/>
                <a:gd name="connsiteX240" fmla="*/ 275122 w 409575"/>
                <a:gd name="connsiteY240" fmla="*/ 507730 h 638175"/>
                <a:gd name="connsiteX241" fmla="*/ 271433 w 409575"/>
                <a:gd name="connsiteY241" fmla="*/ 504043 h 638175"/>
                <a:gd name="connsiteX242" fmla="*/ 271433 w 409575"/>
                <a:gd name="connsiteY242" fmla="*/ 507730 h 638175"/>
                <a:gd name="connsiteX243" fmla="*/ 267744 w 409575"/>
                <a:gd name="connsiteY243" fmla="*/ 507730 h 638175"/>
                <a:gd name="connsiteX244" fmla="*/ 267744 w 409575"/>
                <a:gd name="connsiteY244" fmla="*/ 504043 h 638175"/>
                <a:gd name="connsiteX245" fmla="*/ 271433 w 409575"/>
                <a:gd name="connsiteY245" fmla="*/ 504043 h 638175"/>
                <a:gd name="connsiteX246" fmla="*/ 271433 w 409575"/>
                <a:gd name="connsiteY246" fmla="*/ 500348 h 638175"/>
                <a:gd name="connsiteX247" fmla="*/ 267744 w 409575"/>
                <a:gd name="connsiteY247" fmla="*/ 496662 h 638175"/>
                <a:gd name="connsiteX248" fmla="*/ 264055 w 409575"/>
                <a:gd name="connsiteY248" fmla="*/ 496662 h 638175"/>
                <a:gd name="connsiteX249" fmla="*/ 260365 w 409575"/>
                <a:gd name="connsiteY249" fmla="*/ 500348 h 638175"/>
                <a:gd name="connsiteX250" fmla="*/ 256676 w 409575"/>
                <a:gd name="connsiteY250" fmla="*/ 500348 h 638175"/>
                <a:gd name="connsiteX251" fmla="*/ 252987 w 409575"/>
                <a:gd name="connsiteY251" fmla="*/ 500348 h 638175"/>
                <a:gd name="connsiteX252" fmla="*/ 252987 w 409575"/>
                <a:gd name="connsiteY252" fmla="*/ 496662 h 638175"/>
                <a:gd name="connsiteX253" fmla="*/ 256676 w 409575"/>
                <a:gd name="connsiteY253" fmla="*/ 496662 h 638175"/>
                <a:gd name="connsiteX254" fmla="*/ 256676 w 409575"/>
                <a:gd name="connsiteY254" fmla="*/ 492966 h 638175"/>
                <a:gd name="connsiteX255" fmla="*/ 256676 w 409575"/>
                <a:gd name="connsiteY255" fmla="*/ 489280 h 638175"/>
                <a:gd name="connsiteX256" fmla="*/ 249298 w 409575"/>
                <a:gd name="connsiteY256" fmla="*/ 485584 h 638175"/>
                <a:gd name="connsiteX257" fmla="*/ 245609 w 409575"/>
                <a:gd name="connsiteY257" fmla="*/ 485584 h 638175"/>
                <a:gd name="connsiteX258" fmla="*/ 245609 w 409575"/>
                <a:gd name="connsiteY258" fmla="*/ 489280 h 638175"/>
                <a:gd name="connsiteX259" fmla="*/ 241920 w 409575"/>
                <a:gd name="connsiteY259" fmla="*/ 489280 h 638175"/>
                <a:gd name="connsiteX260" fmla="*/ 238230 w 409575"/>
                <a:gd name="connsiteY260" fmla="*/ 485584 h 638175"/>
                <a:gd name="connsiteX261" fmla="*/ 234541 w 409575"/>
                <a:gd name="connsiteY261" fmla="*/ 485584 h 638175"/>
                <a:gd name="connsiteX262" fmla="*/ 234541 w 409575"/>
                <a:gd name="connsiteY262" fmla="*/ 481898 h 638175"/>
                <a:gd name="connsiteX263" fmla="*/ 238230 w 409575"/>
                <a:gd name="connsiteY263" fmla="*/ 481898 h 638175"/>
                <a:gd name="connsiteX264" fmla="*/ 241920 w 409575"/>
                <a:gd name="connsiteY264" fmla="*/ 481898 h 638175"/>
                <a:gd name="connsiteX265" fmla="*/ 245609 w 409575"/>
                <a:gd name="connsiteY265" fmla="*/ 478202 h 638175"/>
                <a:gd name="connsiteX266" fmla="*/ 234541 w 409575"/>
                <a:gd name="connsiteY266" fmla="*/ 470823 h 638175"/>
                <a:gd name="connsiteX267" fmla="*/ 234541 w 409575"/>
                <a:gd name="connsiteY267" fmla="*/ 467133 h 638175"/>
                <a:gd name="connsiteX268" fmla="*/ 241920 w 409575"/>
                <a:gd name="connsiteY268" fmla="*/ 470823 h 638175"/>
                <a:gd name="connsiteX269" fmla="*/ 245609 w 409575"/>
                <a:gd name="connsiteY269" fmla="*/ 474514 h 638175"/>
                <a:gd name="connsiteX270" fmla="*/ 249298 w 409575"/>
                <a:gd name="connsiteY270" fmla="*/ 474514 h 638175"/>
                <a:gd name="connsiteX271" fmla="*/ 252987 w 409575"/>
                <a:gd name="connsiteY271" fmla="*/ 470823 h 638175"/>
                <a:gd name="connsiteX272" fmla="*/ 252987 w 409575"/>
                <a:gd name="connsiteY272" fmla="*/ 474514 h 638175"/>
                <a:gd name="connsiteX273" fmla="*/ 256676 w 409575"/>
                <a:gd name="connsiteY273" fmla="*/ 478202 h 638175"/>
                <a:gd name="connsiteX274" fmla="*/ 260365 w 409575"/>
                <a:gd name="connsiteY274" fmla="*/ 474514 h 638175"/>
                <a:gd name="connsiteX275" fmla="*/ 260365 w 409575"/>
                <a:gd name="connsiteY275" fmla="*/ 470823 h 638175"/>
                <a:gd name="connsiteX276" fmla="*/ 260365 w 409575"/>
                <a:gd name="connsiteY276" fmla="*/ 467133 h 638175"/>
                <a:gd name="connsiteX277" fmla="*/ 264055 w 409575"/>
                <a:gd name="connsiteY277" fmla="*/ 467133 h 638175"/>
                <a:gd name="connsiteX278" fmla="*/ 267744 w 409575"/>
                <a:gd name="connsiteY278" fmla="*/ 463442 h 638175"/>
                <a:gd name="connsiteX279" fmla="*/ 267744 w 409575"/>
                <a:gd name="connsiteY279" fmla="*/ 456061 h 638175"/>
                <a:gd name="connsiteX280" fmla="*/ 271433 w 409575"/>
                <a:gd name="connsiteY280" fmla="*/ 452370 h 638175"/>
                <a:gd name="connsiteX281" fmla="*/ 275122 w 409575"/>
                <a:gd name="connsiteY281" fmla="*/ 448680 h 638175"/>
                <a:gd name="connsiteX282" fmla="*/ 278811 w 409575"/>
                <a:gd name="connsiteY282" fmla="*/ 444989 h 638175"/>
                <a:gd name="connsiteX283" fmla="*/ 282500 w 409575"/>
                <a:gd name="connsiteY283" fmla="*/ 444989 h 638175"/>
                <a:gd name="connsiteX284" fmla="*/ 286190 w 409575"/>
                <a:gd name="connsiteY284" fmla="*/ 444989 h 638175"/>
                <a:gd name="connsiteX285" fmla="*/ 286190 w 409575"/>
                <a:gd name="connsiteY285" fmla="*/ 441299 h 638175"/>
                <a:gd name="connsiteX286" fmla="*/ 289879 w 409575"/>
                <a:gd name="connsiteY286" fmla="*/ 437608 h 638175"/>
                <a:gd name="connsiteX287" fmla="*/ 289879 w 409575"/>
                <a:gd name="connsiteY287" fmla="*/ 433917 h 638175"/>
                <a:gd name="connsiteX288" fmla="*/ 297258 w 409575"/>
                <a:gd name="connsiteY288" fmla="*/ 426537 h 638175"/>
                <a:gd name="connsiteX289" fmla="*/ 293568 w 409575"/>
                <a:gd name="connsiteY289" fmla="*/ 426537 h 638175"/>
                <a:gd name="connsiteX290" fmla="*/ 289879 w 409575"/>
                <a:gd name="connsiteY290" fmla="*/ 426537 h 638175"/>
                <a:gd name="connsiteX291" fmla="*/ 286190 w 409575"/>
                <a:gd name="connsiteY291" fmla="*/ 422847 h 638175"/>
                <a:gd name="connsiteX292" fmla="*/ 286190 w 409575"/>
                <a:gd name="connsiteY292" fmla="*/ 426537 h 638175"/>
                <a:gd name="connsiteX293" fmla="*/ 278811 w 409575"/>
                <a:gd name="connsiteY293" fmla="*/ 422847 h 638175"/>
                <a:gd name="connsiteX294" fmla="*/ 278811 w 409575"/>
                <a:gd name="connsiteY294" fmla="*/ 419156 h 638175"/>
                <a:gd name="connsiteX295" fmla="*/ 278811 w 409575"/>
                <a:gd name="connsiteY295" fmla="*/ 415465 h 638175"/>
                <a:gd name="connsiteX296" fmla="*/ 278811 w 409575"/>
                <a:gd name="connsiteY296" fmla="*/ 411775 h 638175"/>
                <a:gd name="connsiteX297" fmla="*/ 282500 w 409575"/>
                <a:gd name="connsiteY297" fmla="*/ 408084 h 638175"/>
                <a:gd name="connsiteX298" fmla="*/ 282500 w 409575"/>
                <a:gd name="connsiteY298" fmla="*/ 404394 h 638175"/>
                <a:gd name="connsiteX299" fmla="*/ 278811 w 409575"/>
                <a:gd name="connsiteY299" fmla="*/ 404394 h 638175"/>
                <a:gd name="connsiteX300" fmla="*/ 275122 w 409575"/>
                <a:gd name="connsiteY300" fmla="*/ 408084 h 638175"/>
                <a:gd name="connsiteX301" fmla="*/ 271433 w 409575"/>
                <a:gd name="connsiteY301" fmla="*/ 404394 h 638175"/>
                <a:gd name="connsiteX302" fmla="*/ 278811 w 409575"/>
                <a:gd name="connsiteY302" fmla="*/ 400703 h 638175"/>
                <a:gd name="connsiteX303" fmla="*/ 286190 w 409575"/>
                <a:gd name="connsiteY303" fmla="*/ 400703 h 638175"/>
                <a:gd name="connsiteX304" fmla="*/ 286190 w 409575"/>
                <a:gd name="connsiteY304" fmla="*/ 397012 h 638175"/>
                <a:gd name="connsiteX305" fmla="*/ 282500 w 409575"/>
                <a:gd name="connsiteY305" fmla="*/ 393322 h 638175"/>
                <a:gd name="connsiteX306" fmla="*/ 282500 w 409575"/>
                <a:gd name="connsiteY306" fmla="*/ 389631 h 638175"/>
                <a:gd name="connsiteX307" fmla="*/ 282500 w 409575"/>
                <a:gd name="connsiteY307" fmla="*/ 385940 h 638175"/>
                <a:gd name="connsiteX308" fmla="*/ 286190 w 409575"/>
                <a:gd name="connsiteY308" fmla="*/ 382250 h 638175"/>
                <a:gd name="connsiteX309" fmla="*/ 289879 w 409575"/>
                <a:gd name="connsiteY309" fmla="*/ 385940 h 638175"/>
                <a:gd name="connsiteX310" fmla="*/ 289879 w 409575"/>
                <a:gd name="connsiteY310" fmla="*/ 382250 h 638175"/>
                <a:gd name="connsiteX311" fmla="*/ 293568 w 409575"/>
                <a:gd name="connsiteY311" fmla="*/ 378559 h 638175"/>
                <a:gd name="connsiteX312" fmla="*/ 297258 w 409575"/>
                <a:gd name="connsiteY312" fmla="*/ 371178 h 638175"/>
                <a:gd name="connsiteX313" fmla="*/ 293568 w 409575"/>
                <a:gd name="connsiteY313" fmla="*/ 371178 h 638175"/>
                <a:gd name="connsiteX314" fmla="*/ 293568 w 409575"/>
                <a:gd name="connsiteY314" fmla="*/ 363797 h 638175"/>
                <a:gd name="connsiteX315" fmla="*/ 289879 w 409575"/>
                <a:gd name="connsiteY315" fmla="*/ 363797 h 638175"/>
                <a:gd name="connsiteX316" fmla="*/ 289879 w 409575"/>
                <a:gd name="connsiteY316" fmla="*/ 360106 h 638175"/>
                <a:gd name="connsiteX317" fmla="*/ 286190 w 409575"/>
                <a:gd name="connsiteY317" fmla="*/ 356416 h 638175"/>
                <a:gd name="connsiteX318" fmla="*/ 286190 w 409575"/>
                <a:gd name="connsiteY318" fmla="*/ 352725 h 638175"/>
                <a:gd name="connsiteX319" fmla="*/ 282500 w 409575"/>
                <a:gd name="connsiteY319" fmla="*/ 345344 h 638175"/>
                <a:gd name="connsiteX320" fmla="*/ 282500 w 409575"/>
                <a:gd name="connsiteY320" fmla="*/ 341654 h 638175"/>
                <a:gd name="connsiteX321" fmla="*/ 275122 w 409575"/>
                <a:gd name="connsiteY321" fmla="*/ 330582 h 638175"/>
                <a:gd name="connsiteX322" fmla="*/ 275122 w 409575"/>
                <a:gd name="connsiteY322" fmla="*/ 326892 h 638175"/>
                <a:gd name="connsiteX323" fmla="*/ 271433 w 409575"/>
                <a:gd name="connsiteY323" fmla="*/ 323201 h 638175"/>
                <a:gd name="connsiteX324" fmla="*/ 271433 w 409575"/>
                <a:gd name="connsiteY324" fmla="*/ 315820 h 638175"/>
                <a:gd name="connsiteX325" fmla="*/ 267744 w 409575"/>
                <a:gd name="connsiteY325" fmla="*/ 308439 h 638175"/>
                <a:gd name="connsiteX326" fmla="*/ 267744 w 409575"/>
                <a:gd name="connsiteY326" fmla="*/ 304748 h 638175"/>
                <a:gd name="connsiteX327" fmla="*/ 264055 w 409575"/>
                <a:gd name="connsiteY327" fmla="*/ 301057 h 638175"/>
                <a:gd name="connsiteX328" fmla="*/ 267744 w 409575"/>
                <a:gd name="connsiteY328" fmla="*/ 297367 h 638175"/>
                <a:gd name="connsiteX329" fmla="*/ 264055 w 409575"/>
                <a:gd name="connsiteY329" fmla="*/ 293676 h 638175"/>
                <a:gd name="connsiteX330" fmla="*/ 264055 w 409575"/>
                <a:gd name="connsiteY330" fmla="*/ 289986 h 638175"/>
                <a:gd name="connsiteX331" fmla="*/ 264055 w 409575"/>
                <a:gd name="connsiteY331" fmla="*/ 286295 h 638175"/>
                <a:gd name="connsiteX332" fmla="*/ 264055 w 409575"/>
                <a:gd name="connsiteY332" fmla="*/ 282604 h 638175"/>
                <a:gd name="connsiteX333" fmla="*/ 264055 w 409575"/>
                <a:gd name="connsiteY333" fmla="*/ 275223 h 638175"/>
                <a:gd name="connsiteX334" fmla="*/ 264055 w 409575"/>
                <a:gd name="connsiteY334" fmla="*/ 271532 h 638175"/>
                <a:gd name="connsiteX335" fmla="*/ 267744 w 409575"/>
                <a:gd name="connsiteY335" fmla="*/ 271532 h 638175"/>
                <a:gd name="connsiteX336" fmla="*/ 267744 w 409575"/>
                <a:gd name="connsiteY336" fmla="*/ 267842 h 638175"/>
                <a:gd name="connsiteX337" fmla="*/ 271433 w 409575"/>
                <a:gd name="connsiteY337" fmla="*/ 267842 h 638175"/>
                <a:gd name="connsiteX338" fmla="*/ 275122 w 409575"/>
                <a:gd name="connsiteY338" fmla="*/ 264151 h 638175"/>
                <a:gd name="connsiteX339" fmla="*/ 278811 w 409575"/>
                <a:gd name="connsiteY339" fmla="*/ 264151 h 638175"/>
                <a:gd name="connsiteX340" fmla="*/ 282500 w 409575"/>
                <a:gd name="connsiteY340" fmla="*/ 264151 h 638175"/>
                <a:gd name="connsiteX341" fmla="*/ 282500 w 409575"/>
                <a:gd name="connsiteY341" fmla="*/ 267842 h 638175"/>
                <a:gd name="connsiteX342" fmla="*/ 286190 w 409575"/>
                <a:gd name="connsiteY342" fmla="*/ 271532 h 638175"/>
                <a:gd name="connsiteX343" fmla="*/ 286190 w 409575"/>
                <a:gd name="connsiteY343" fmla="*/ 267842 h 638175"/>
                <a:gd name="connsiteX344" fmla="*/ 289879 w 409575"/>
                <a:gd name="connsiteY344" fmla="*/ 264151 h 638175"/>
                <a:gd name="connsiteX345" fmla="*/ 293568 w 409575"/>
                <a:gd name="connsiteY345" fmla="*/ 264151 h 638175"/>
                <a:gd name="connsiteX346" fmla="*/ 297258 w 409575"/>
                <a:gd name="connsiteY346" fmla="*/ 264151 h 638175"/>
                <a:gd name="connsiteX347" fmla="*/ 300947 w 409575"/>
                <a:gd name="connsiteY347" fmla="*/ 264151 h 638175"/>
                <a:gd name="connsiteX348" fmla="*/ 304636 w 409575"/>
                <a:gd name="connsiteY348" fmla="*/ 267842 h 638175"/>
                <a:gd name="connsiteX349" fmla="*/ 308326 w 409575"/>
                <a:gd name="connsiteY349" fmla="*/ 271532 h 638175"/>
                <a:gd name="connsiteX350" fmla="*/ 312015 w 409575"/>
                <a:gd name="connsiteY350" fmla="*/ 271532 h 638175"/>
                <a:gd name="connsiteX351" fmla="*/ 315704 w 409575"/>
                <a:gd name="connsiteY351" fmla="*/ 275223 h 638175"/>
                <a:gd name="connsiteX352" fmla="*/ 315704 w 409575"/>
                <a:gd name="connsiteY352" fmla="*/ 278914 h 638175"/>
                <a:gd name="connsiteX353" fmla="*/ 323082 w 409575"/>
                <a:gd name="connsiteY353" fmla="*/ 278914 h 638175"/>
                <a:gd name="connsiteX354" fmla="*/ 326771 w 409575"/>
                <a:gd name="connsiteY354" fmla="*/ 278914 h 638175"/>
                <a:gd name="connsiteX355" fmla="*/ 330460 w 409575"/>
                <a:gd name="connsiteY355" fmla="*/ 278914 h 638175"/>
                <a:gd name="connsiteX356" fmla="*/ 334150 w 409575"/>
                <a:gd name="connsiteY356" fmla="*/ 275223 h 638175"/>
                <a:gd name="connsiteX357" fmla="*/ 341528 w 409575"/>
                <a:gd name="connsiteY357" fmla="*/ 267842 h 638175"/>
                <a:gd name="connsiteX358" fmla="*/ 345217 w 409575"/>
                <a:gd name="connsiteY358" fmla="*/ 267842 h 638175"/>
                <a:gd name="connsiteX359" fmla="*/ 352595 w 409575"/>
                <a:gd name="connsiteY359" fmla="*/ 267842 h 638175"/>
                <a:gd name="connsiteX360" fmla="*/ 352595 w 409575"/>
                <a:gd name="connsiteY360" fmla="*/ 264151 h 638175"/>
                <a:gd name="connsiteX361" fmla="*/ 356285 w 409575"/>
                <a:gd name="connsiteY361" fmla="*/ 260461 h 638175"/>
                <a:gd name="connsiteX362" fmla="*/ 359974 w 409575"/>
                <a:gd name="connsiteY362" fmla="*/ 260461 h 638175"/>
                <a:gd name="connsiteX363" fmla="*/ 359974 w 409575"/>
                <a:gd name="connsiteY363" fmla="*/ 256771 h 638175"/>
                <a:gd name="connsiteX364" fmla="*/ 367352 w 409575"/>
                <a:gd name="connsiteY364" fmla="*/ 253080 h 638175"/>
                <a:gd name="connsiteX365" fmla="*/ 367352 w 409575"/>
                <a:gd name="connsiteY365" fmla="*/ 249390 h 638175"/>
                <a:gd name="connsiteX366" fmla="*/ 371041 w 409575"/>
                <a:gd name="connsiteY366" fmla="*/ 245699 h 638175"/>
                <a:gd name="connsiteX367" fmla="*/ 371041 w 409575"/>
                <a:gd name="connsiteY367" fmla="*/ 238318 h 638175"/>
                <a:gd name="connsiteX368" fmla="*/ 371041 w 409575"/>
                <a:gd name="connsiteY368" fmla="*/ 234627 h 638175"/>
                <a:gd name="connsiteX369" fmla="*/ 374730 w 409575"/>
                <a:gd name="connsiteY369" fmla="*/ 227246 h 638175"/>
                <a:gd name="connsiteX370" fmla="*/ 378420 w 409575"/>
                <a:gd name="connsiteY370" fmla="*/ 227246 h 638175"/>
                <a:gd name="connsiteX371" fmla="*/ 382106 w 409575"/>
                <a:gd name="connsiteY371" fmla="*/ 227246 h 638175"/>
                <a:gd name="connsiteX372" fmla="*/ 385802 w 409575"/>
                <a:gd name="connsiteY372" fmla="*/ 227246 h 638175"/>
                <a:gd name="connsiteX373" fmla="*/ 389488 w 409575"/>
                <a:gd name="connsiteY373" fmla="*/ 223555 h 638175"/>
                <a:gd name="connsiteX374" fmla="*/ 393174 w 409575"/>
                <a:gd name="connsiteY374" fmla="*/ 223555 h 638175"/>
                <a:gd name="connsiteX375" fmla="*/ 389488 w 409575"/>
                <a:gd name="connsiteY375" fmla="*/ 219865 h 638175"/>
                <a:gd name="connsiteX376" fmla="*/ 393174 w 409575"/>
                <a:gd name="connsiteY376" fmla="*/ 219865 h 638175"/>
                <a:gd name="connsiteX377" fmla="*/ 396870 w 409575"/>
                <a:gd name="connsiteY377" fmla="*/ 216174 h 638175"/>
                <a:gd name="connsiteX378" fmla="*/ 400556 w 409575"/>
                <a:gd name="connsiteY378" fmla="*/ 212484 h 638175"/>
                <a:gd name="connsiteX379" fmla="*/ 396870 w 409575"/>
                <a:gd name="connsiteY379" fmla="*/ 208793 h 638175"/>
                <a:gd name="connsiteX380" fmla="*/ 393174 w 409575"/>
                <a:gd name="connsiteY380" fmla="*/ 205102 h 638175"/>
                <a:gd name="connsiteX381" fmla="*/ 393174 w 409575"/>
                <a:gd name="connsiteY381" fmla="*/ 201412 h 638175"/>
                <a:gd name="connsiteX382" fmla="*/ 393174 w 409575"/>
                <a:gd name="connsiteY382" fmla="*/ 197721 h 638175"/>
                <a:gd name="connsiteX383" fmla="*/ 393174 w 409575"/>
                <a:gd name="connsiteY383" fmla="*/ 194031 h 638175"/>
                <a:gd name="connsiteX384" fmla="*/ 393174 w 409575"/>
                <a:gd name="connsiteY384" fmla="*/ 190340 h 638175"/>
                <a:gd name="connsiteX385" fmla="*/ 393174 w 409575"/>
                <a:gd name="connsiteY385" fmla="*/ 186649 h 638175"/>
                <a:gd name="connsiteX386" fmla="*/ 393174 w 409575"/>
                <a:gd name="connsiteY386" fmla="*/ 182959 h 638175"/>
                <a:gd name="connsiteX387" fmla="*/ 389488 w 409575"/>
                <a:gd name="connsiteY387" fmla="*/ 182959 h 638175"/>
                <a:gd name="connsiteX388" fmla="*/ 385802 w 409575"/>
                <a:gd name="connsiteY388" fmla="*/ 179268 h 638175"/>
                <a:gd name="connsiteX389" fmla="*/ 378420 w 409575"/>
                <a:gd name="connsiteY389" fmla="*/ 175578 h 638175"/>
                <a:gd name="connsiteX390" fmla="*/ 367352 w 409575"/>
                <a:gd name="connsiteY390" fmla="*/ 175578 h 638175"/>
                <a:gd name="connsiteX391" fmla="*/ 363663 w 409575"/>
                <a:gd name="connsiteY391" fmla="*/ 175578 h 638175"/>
                <a:gd name="connsiteX392" fmla="*/ 359974 w 409575"/>
                <a:gd name="connsiteY392" fmla="*/ 171888 h 638175"/>
                <a:gd name="connsiteX393" fmla="*/ 352595 w 409575"/>
                <a:gd name="connsiteY393" fmla="*/ 171888 h 638175"/>
                <a:gd name="connsiteX394" fmla="*/ 348906 w 409575"/>
                <a:gd name="connsiteY394" fmla="*/ 171888 h 638175"/>
                <a:gd name="connsiteX395" fmla="*/ 345217 w 409575"/>
                <a:gd name="connsiteY395" fmla="*/ 179268 h 638175"/>
                <a:gd name="connsiteX396" fmla="*/ 341528 w 409575"/>
                <a:gd name="connsiteY396" fmla="*/ 182959 h 638175"/>
                <a:gd name="connsiteX397" fmla="*/ 341528 w 409575"/>
                <a:gd name="connsiteY397" fmla="*/ 186649 h 638175"/>
                <a:gd name="connsiteX398" fmla="*/ 337839 w 409575"/>
                <a:gd name="connsiteY398" fmla="*/ 182959 h 638175"/>
                <a:gd name="connsiteX399" fmla="*/ 334150 w 409575"/>
                <a:gd name="connsiteY399" fmla="*/ 182959 h 638175"/>
                <a:gd name="connsiteX400" fmla="*/ 330460 w 409575"/>
                <a:gd name="connsiteY400" fmla="*/ 182959 h 638175"/>
                <a:gd name="connsiteX401" fmla="*/ 326771 w 409575"/>
                <a:gd name="connsiteY401" fmla="*/ 182959 h 638175"/>
                <a:gd name="connsiteX402" fmla="*/ 319393 w 409575"/>
                <a:gd name="connsiteY402" fmla="*/ 175578 h 638175"/>
                <a:gd name="connsiteX403" fmla="*/ 315704 w 409575"/>
                <a:gd name="connsiteY403" fmla="*/ 171888 h 638175"/>
                <a:gd name="connsiteX404" fmla="*/ 312015 w 409575"/>
                <a:gd name="connsiteY404" fmla="*/ 168197 h 638175"/>
                <a:gd name="connsiteX405" fmla="*/ 315704 w 409575"/>
                <a:gd name="connsiteY405" fmla="*/ 160816 h 638175"/>
                <a:gd name="connsiteX406" fmla="*/ 312015 w 409575"/>
                <a:gd name="connsiteY406" fmla="*/ 160816 h 638175"/>
                <a:gd name="connsiteX407" fmla="*/ 308326 w 409575"/>
                <a:gd name="connsiteY407" fmla="*/ 157126 h 638175"/>
                <a:gd name="connsiteX408" fmla="*/ 304636 w 409575"/>
                <a:gd name="connsiteY408" fmla="*/ 157126 h 638175"/>
                <a:gd name="connsiteX409" fmla="*/ 312015 w 409575"/>
                <a:gd name="connsiteY409" fmla="*/ 101766 h 638175"/>
                <a:gd name="connsiteX410" fmla="*/ 304636 w 409575"/>
                <a:gd name="connsiteY410" fmla="*/ 90695 h 638175"/>
                <a:gd name="connsiteX411" fmla="*/ 293568 w 409575"/>
                <a:gd name="connsiteY411" fmla="*/ 68552 h 638175"/>
                <a:gd name="connsiteX412" fmla="*/ 293568 w 409575"/>
                <a:gd name="connsiteY412" fmla="*/ 64861 h 638175"/>
                <a:gd name="connsiteX413" fmla="*/ 289879 w 409575"/>
                <a:gd name="connsiteY413" fmla="*/ 61171 h 638175"/>
                <a:gd name="connsiteX414" fmla="*/ 278811 w 409575"/>
                <a:gd name="connsiteY414" fmla="*/ 39027 h 638175"/>
                <a:gd name="connsiteX415" fmla="*/ 275122 w 409575"/>
                <a:gd name="connsiteY415" fmla="*/ 39027 h 638175"/>
                <a:gd name="connsiteX416" fmla="*/ 275122 w 409575"/>
                <a:gd name="connsiteY416" fmla="*/ 31646 h 638175"/>
                <a:gd name="connsiteX417" fmla="*/ 271433 w 409575"/>
                <a:gd name="connsiteY417" fmla="*/ 27955 h 638175"/>
                <a:gd name="connsiteX418" fmla="*/ 267744 w 409575"/>
                <a:gd name="connsiteY418" fmla="*/ 27955 h 638175"/>
                <a:gd name="connsiteX419" fmla="*/ 264055 w 409575"/>
                <a:gd name="connsiteY419" fmla="*/ 31646 h 638175"/>
                <a:gd name="connsiteX420" fmla="*/ 260365 w 409575"/>
                <a:gd name="connsiteY420" fmla="*/ 31646 h 638175"/>
                <a:gd name="connsiteX421" fmla="*/ 256676 w 409575"/>
                <a:gd name="connsiteY421" fmla="*/ 27955 h 638175"/>
                <a:gd name="connsiteX422" fmla="*/ 252987 w 409575"/>
                <a:gd name="connsiteY422" fmla="*/ 27955 h 638175"/>
                <a:gd name="connsiteX423" fmla="*/ 249298 w 409575"/>
                <a:gd name="connsiteY423" fmla="*/ 31646 h 638175"/>
                <a:gd name="connsiteX424" fmla="*/ 241920 w 409575"/>
                <a:gd name="connsiteY424" fmla="*/ 31646 h 638175"/>
                <a:gd name="connsiteX425" fmla="*/ 234541 w 409575"/>
                <a:gd name="connsiteY425" fmla="*/ 39027 h 638175"/>
                <a:gd name="connsiteX426" fmla="*/ 234541 w 409575"/>
                <a:gd name="connsiteY426" fmla="*/ 42718 h 638175"/>
                <a:gd name="connsiteX427" fmla="*/ 227163 w 409575"/>
                <a:gd name="connsiteY427" fmla="*/ 53789 h 638175"/>
                <a:gd name="connsiteX428" fmla="*/ 223474 w 409575"/>
                <a:gd name="connsiteY428" fmla="*/ 53789 h 638175"/>
                <a:gd name="connsiteX429" fmla="*/ 216096 w 409575"/>
                <a:gd name="connsiteY429" fmla="*/ 57480 h 638175"/>
                <a:gd name="connsiteX430" fmla="*/ 212406 w 409575"/>
                <a:gd name="connsiteY430" fmla="*/ 61171 h 638175"/>
                <a:gd name="connsiteX431" fmla="*/ 197650 w 409575"/>
                <a:gd name="connsiteY431" fmla="*/ 68552 h 638175"/>
                <a:gd name="connsiteX432" fmla="*/ 193961 w 409575"/>
                <a:gd name="connsiteY432" fmla="*/ 64861 h 638175"/>
                <a:gd name="connsiteX433" fmla="*/ 182893 w 409575"/>
                <a:gd name="connsiteY433" fmla="*/ 57480 h 638175"/>
                <a:gd name="connsiteX434" fmla="*/ 179204 w 409575"/>
                <a:gd name="connsiteY434" fmla="*/ 57480 h 638175"/>
                <a:gd name="connsiteX435" fmla="*/ 168136 w 409575"/>
                <a:gd name="connsiteY435" fmla="*/ 50099 h 638175"/>
                <a:gd name="connsiteX436" fmla="*/ 164447 w 409575"/>
                <a:gd name="connsiteY436" fmla="*/ 46408 h 638175"/>
                <a:gd name="connsiteX437" fmla="*/ 160758 w 409575"/>
                <a:gd name="connsiteY437" fmla="*/ 42718 h 638175"/>
                <a:gd name="connsiteX438" fmla="*/ 157069 w 409575"/>
                <a:gd name="connsiteY438" fmla="*/ 35336 h 638175"/>
                <a:gd name="connsiteX439" fmla="*/ 157069 w 409575"/>
                <a:gd name="connsiteY439" fmla="*/ 27955 h 638175"/>
                <a:gd name="connsiteX440" fmla="*/ 157069 w 409575"/>
                <a:gd name="connsiteY440" fmla="*/ 20574 h 638175"/>
                <a:gd name="connsiteX441" fmla="*/ 160758 w 409575"/>
                <a:gd name="connsiteY441" fmla="*/ 13193 h 638175"/>
                <a:gd name="connsiteX442" fmla="*/ 160758 w 409575"/>
                <a:gd name="connsiteY442" fmla="*/ 9502 h 638175"/>
                <a:gd name="connsiteX443" fmla="*/ 157069 w 409575"/>
                <a:gd name="connsiteY443" fmla="*/ 9502 h 638175"/>
                <a:gd name="connsiteX444" fmla="*/ 157069 w 409575"/>
                <a:gd name="connsiteY444" fmla="*/ 13193 h 638175"/>
                <a:gd name="connsiteX445" fmla="*/ 153380 w 409575"/>
                <a:gd name="connsiteY445" fmla="*/ 13193 h 638175"/>
                <a:gd name="connsiteX446" fmla="*/ 149690 w 409575"/>
                <a:gd name="connsiteY446" fmla="*/ 13193 h 638175"/>
                <a:gd name="connsiteX447" fmla="*/ 149690 w 409575"/>
                <a:gd name="connsiteY447" fmla="*/ 9502 h 638175"/>
                <a:gd name="connsiteX448" fmla="*/ 149690 w 409575"/>
                <a:gd name="connsiteY448" fmla="*/ 5812 h 638175"/>
                <a:gd name="connsiteX449" fmla="*/ 142312 w 409575"/>
                <a:gd name="connsiteY449" fmla="*/ 5812 h 638175"/>
                <a:gd name="connsiteX450" fmla="*/ 134933 w 409575"/>
                <a:gd name="connsiteY450" fmla="*/ 5812 h 638175"/>
                <a:gd name="connsiteX451" fmla="*/ 131244 w 409575"/>
                <a:gd name="connsiteY451" fmla="*/ 5812 h 638175"/>
                <a:gd name="connsiteX452" fmla="*/ 127555 w 409575"/>
                <a:gd name="connsiteY452" fmla="*/ 5812 h 638175"/>
                <a:gd name="connsiteX453" fmla="*/ 160758 w 409575"/>
                <a:gd name="connsiteY453" fmla="*/ 9502 h 638175"/>
                <a:gd name="connsiteX454" fmla="*/ 160758 w 409575"/>
                <a:gd name="connsiteY454" fmla="*/ 5812 h 638175"/>
                <a:gd name="connsiteX455" fmla="*/ 157069 w 409575"/>
                <a:gd name="connsiteY455" fmla="*/ 5812 h 638175"/>
                <a:gd name="connsiteX456" fmla="*/ 160758 w 409575"/>
                <a:gd name="connsiteY456" fmla="*/ 9502 h 638175"/>
                <a:gd name="connsiteX457" fmla="*/ 275122 w 409575"/>
                <a:gd name="connsiteY457" fmla="*/ 31646 h 638175"/>
                <a:gd name="connsiteX458" fmla="*/ 278811 w 409575"/>
                <a:gd name="connsiteY458" fmla="*/ 35336 h 638175"/>
                <a:gd name="connsiteX459" fmla="*/ 278811 w 409575"/>
                <a:gd name="connsiteY459" fmla="*/ 27955 h 638175"/>
                <a:gd name="connsiteX460" fmla="*/ 275122 w 409575"/>
                <a:gd name="connsiteY460" fmla="*/ 27955 h 638175"/>
                <a:gd name="connsiteX461" fmla="*/ 275122 w 409575"/>
                <a:gd name="connsiteY461" fmla="*/ 31646 h 638175"/>
                <a:gd name="connsiteX462" fmla="*/ 241920 w 409575"/>
                <a:gd name="connsiteY462" fmla="*/ 481898 h 638175"/>
                <a:gd name="connsiteX463" fmla="*/ 241920 w 409575"/>
                <a:gd name="connsiteY463" fmla="*/ 485584 h 638175"/>
                <a:gd name="connsiteX464" fmla="*/ 245609 w 409575"/>
                <a:gd name="connsiteY464" fmla="*/ 485584 h 638175"/>
                <a:gd name="connsiteX465" fmla="*/ 241920 w 409575"/>
                <a:gd name="connsiteY465" fmla="*/ 481898 h 638175"/>
                <a:gd name="connsiteX466" fmla="*/ 304636 w 409575"/>
                <a:gd name="connsiteY466" fmla="*/ 400703 h 638175"/>
                <a:gd name="connsiteX467" fmla="*/ 304636 w 409575"/>
                <a:gd name="connsiteY467" fmla="*/ 404394 h 638175"/>
                <a:gd name="connsiteX468" fmla="*/ 304636 w 409575"/>
                <a:gd name="connsiteY468" fmla="*/ 408084 h 638175"/>
                <a:gd name="connsiteX469" fmla="*/ 300947 w 409575"/>
                <a:gd name="connsiteY469" fmla="*/ 415465 h 638175"/>
                <a:gd name="connsiteX470" fmla="*/ 304636 w 409575"/>
                <a:gd name="connsiteY470" fmla="*/ 415465 h 638175"/>
                <a:gd name="connsiteX471" fmla="*/ 308326 w 409575"/>
                <a:gd name="connsiteY471" fmla="*/ 411775 h 638175"/>
                <a:gd name="connsiteX472" fmla="*/ 312015 w 409575"/>
                <a:gd name="connsiteY472" fmla="*/ 411775 h 638175"/>
                <a:gd name="connsiteX473" fmla="*/ 315704 w 409575"/>
                <a:gd name="connsiteY473" fmla="*/ 408084 h 638175"/>
                <a:gd name="connsiteX474" fmla="*/ 319393 w 409575"/>
                <a:gd name="connsiteY474" fmla="*/ 408084 h 638175"/>
                <a:gd name="connsiteX475" fmla="*/ 319393 w 409575"/>
                <a:gd name="connsiteY475" fmla="*/ 404394 h 638175"/>
                <a:gd name="connsiteX476" fmla="*/ 312015 w 409575"/>
                <a:gd name="connsiteY476" fmla="*/ 408084 h 638175"/>
                <a:gd name="connsiteX477" fmla="*/ 308326 w 409575"/>
                <a:gd name="connsiteY477" fmla="*/ 404394 h 638175"/>
                <a:gd name="connsiteX478" fmla="*/ 304636 w 409575"/>
                <a:gd name="connsiteY478" fmla="*/ 400703 h 638175"/>
                <a:gd name="connsiteX479" fmla="*/ 404242 w 409575"/>
                <a:gd name="connsiteY479" fmla="*/ 529875 h 638175"/>
                <a:gd name="connsiteX480" fmla="*/ 404242 w 409575"/>
                <a:gd name="connsiteY480" fmla="*/ 533561 h 638175"/>
                <a:gd name="connsiteX481" fmla="*/ 407929 w 409575"/>
                <a:gd name="connsiteY481" fmla="*/ 533561 h 638175"/>
                <a:gd name="connsiteX482" fmla="*/ 404242 w 409575"/>
                <a:gd name="connsiteY482" fmla="*/ 529875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Lst>
              <a:rect l="l" t="t" r="r" b="b"/>
              <a:pathLst>
                <a:path w="409575" h="638175">
                  <a:moveTo>
                    <a:pt x="127555" y="5812"/>
                  </a:moveTo>
                  <a:lnTo>
                    <a:pt x="120176" y="16883"/>
                  </a:lnTo>
                  <a:lnTo>
                    <a:pt x="120176" y="20574"/>
                  </a:lnTo>
                  <a:lnTo>
                    <a:pt x="120176" y="24264"/>
                  </a:lnTo>
                  <a:lnTo>
                    <a:pt x="120176" y="31646"/>
                  </a:lnTo>
                  <a:lnTo>
                    <a:pt x="116487" y="42718"/>
                  </a:lnTo>
                  <a:lnTo>
                    <a:pt x="116487" y="53789"/>
                  </a:lnTo>
                  <a:lnTo>
                    <a:pt x="116487" y="68552"/>
                  </a:lnTo>
                  <a:lnTo>
                    <a:pt x="109109" y="90695"/>
                  </a:lnTo>
                  <a:lnTo>
                    <a:pt x="105420" y="112838"/>
                  </a:lnTo>
                  <a:lnTo>
                    <a:pt x="98041" y="134982"/>
                  </a:lnTo>
                  <a:lnTo>
                    <a:pt x="98041" y="142363"/>
                  </a:lnTo>
                  <a:lnTo>
                    <a:pt x="94352" y="142363"/>
                  </a:lnTo>
                  <a:lnTo>
                    <a:pt x="94352" y="149744"/>
                  </a:lnTo>
                  <a:lnTo>
                    <a:pt x="86974" y="164507"/>
                  </a:lnTo>
                  <a:lnTo>
                    <a:pt x="86974" y="171888"/>
                  </a:lnTo>
                  <a:lnTo>
                    <a:pt x="79596" y="194031"/>
                  </a:lnTo>
                  <a:lnTo>
                    <a:pt x="79596" y="197721"/>
                  </a:lnTo>
                  <a:lnTo>
                    <a:pt x="79596" y="201412"/>
                  </a:lnTo>
                  <a:lnTo>
                    <a:pt x="79596" y="205102"/>
                  </a:lnTo>
                  <a:lnTo>
                    <a:pt x="79596" y="208793"/>
                  </a:lnTo>
                  <a:lnTo>
                    <a:pt x="79596" y="219865"/>
                  </a:lnTo>
                  <a:lnTo>
                    <a:pt x="75906" y="234627"/>
                  </a:lnTo>
                  <a:lnTo>
                    <a:pt x="75906" y="242009"/>
                  </a:lnTo>
                  <a:lnTo>
                    <a:pt x="75906" y="249390"/>
                  </a:lnTo>
                  <a:lnTo>
                    <a:pt x="72217" y="264151"/>
                  </a:lnTo>
                  <a:lnTo>
                    <a:pt x="72217" y="271532"/>
                  </a:lnTo>
                  <a:lnTo>
                    <a:pt x="72217" y="275223"/>
                  </a:lnTo>
                  <a:lnTo>
                    <a:pt x="72217" y="282604"/>
                  </a:lnTo>
                  <a:lnTo>
                    <a:pt x="68528" y="286295"/>
                  </a:lnTo>
                  <a:lnTo>
                    <a:pt x="68528" y="289986"/>
                  </a:lnTo>
                  <a:lnTo>
                    <a:pt x="64839" y="315820"/>
                  </a:lnTo>
                  <a:lnTo>
                    <a:pt x="61150" y="349034"/>
                  </a:lnTo>
                  <a:lnTo>
                    <a:pt x="57461" y="367487"/>
                  </a:lnTo>
                  <a:lnTo>
                    <a:pt x="53772" y="374869"/>
                  </a:lnTo>
                  <a:lnTo>
                    <a:pt x="50082" y="382250"/>
                  </a:lnTo>
                  <a:lnTo>
                    <a:pt x="46393" y="389631"/>
                  </a:lnTo>
                  <a:lnTo>
                    <a:pt x="42704" y="400703"/>
                  </a:lnTo>
                  <a:lnTo>
                    <a:pt x="50082" y="397012"/>
                  </a:lnTo>
                  <a:lnTo>
                    <a:pt x="53772" y="397012"/>
                  </a:lnTo>
                  <a:lnTo>
                    <a:pt x="61150" y="393322"/>
                  </a:lnTo>
                  <a:lnTo>
                    <a:pt x="64839" y="397012"/>
                  </a:lnTo>
                  <a:lnTo>
                    <a:pt x="61150" y="397012"/>
                  </a:lnTo>
                  <a:lnTo>
                    <a:pt x="61150" y="400703"/>
                  </a:lnTo>
                  <a:lnTo>
                    <a:pt x="53772" y="400703"/>
                  </a:lnTo>
                  <a:lnTo>
                    <a:pt x="50082" y="404394"/>
                  </a:lnTo>
                  <a:lnTo>
                    <a:pt x="57461" y="404394"/>
                  </a:lnTo>
                  <a:lnTo>
                    <a:pt x="57461" y="408084"/>
                  </a:lnTo>
                  <a:lnTo>
                    <a:pt x="50082" y="404394"/>
                  </a:lnTo>
                  <a:lnTo>
                    <a:pt x="46393" y="404394"/>
                  </a:lnTo>
                  <a:lnTo>
                    <a:pt x="46393" y="408084"/>
                  </a:lnTo>
                  <a:lnTo>
                    <a:pt x="39015" y="404394"/>
                  </a:lnTo>
                  <a:lnTo>
                    <a:pt x="39015" y="411775"/>
                  </a:lnTo>
                  <a:lnTo>
                    <a:pt x="42704" y="419156"/>
                  </a:lnTo>
                  <a:lnTo>
                    <a:pt x="39015" y="422847"/>
                  </a:lnTo>
                  <a:lnTo>
                    <a:pt x="39015" y="430227"/>
                  </a:lnTo>
                  <a:lnTo>
                    <a:pt x="35326" y="437608"/>
                  </a:lnTo>
                  <a:lnTo>
                    <a:pt x="31637" y="452370"/>
                  </a:lnTo>
                  <a:lnTo>
                    <a:pt x="27947" y="463442"/>
                  </a:lnTo>
                  <a:lnTo>
                    <a:pt x="20569" y="481898"/>
                  </a:lnTo>
                  <a:lnTo>
                    <a:pt x="5812" y="511416"/>
                  </a:lnTo>
                  <a:lnTo>
                    <a:pt x="31637" y="522493"/>
                  </a:lnTo>
                  <a:lnTo>
                    <a:pt x="42704" y="526179"/>
                  </a:lnTo>
                  <a:lnTo>
                    <a:pt x="42704" y="518798"/>
                  </a:lnTo>
                  <a:lnTo>
                    <a:pt x="46393" y="522493"/>
                  </a:lnTo>
                  <a:lnTo>
                    <a:pt x="50082" y="518798"/>
                  </a:lnTo>
                  <a:lnTo>
                    <a:pt x="53772" y="518798"/>
                  </a:lnTo>
                  <a:lnTo>
                    <a:pt x="57461" y="518798"/>
                  </a:lnTo>
                  <a:lnTo>
                    <a:pt x="64839" y="522493"/>
                  </a:lnTo>
                  <a:lnTo>
                    <a:pt x="61150" y="529875"/>
                  </a:lnTo>
                  <a:lnTo>
                    <a:pt x="57461" y="533561"/>
                  </a:lnTo>
                  <a:lnTo>
                    <a:pt x="57461" y="540943"/>
                  </a:lnTo>
                  <a:lnTo>
                    <a:pt x="53772" y="540943"/>
                  </a:lnTo>
                  <a:lnTo>
                    <a:pt x="53772" y="544639"/>
                  </a:lnTo>
                  <a:lnTo>
                    <a:pt x="53772" y="548325"/>
                  </a:lnTo>
                  <a:lnTo>
                    <a:pt x="50082" y="552011"/>
                  </a:lnTo>
                  <a:lnTo>
                    <a:pt x="46393" y="555707"/>
                  </a:lnTo>
                  <a:lnTo>
                    <a:pt x="42704" y="559393"/>
                  </a:lnTo>
                  <a:lnTo>
                    <a:pt x="42704" y="563089"/>
                  </a:lnTo>
                  <a:lnTo>
                    <a:pt x="42704" y="566775"/>
                  </a:lnTo>
                  <a:lnTo>
                    <a:pt x="42704" y="570471"/>
                  </a:lnTo>
                  <a:lnTo>
                    <a:pt x="42704" y="577853"/>
                  </a:lnTo>
                  <a:lnTo>
                    <a:pt x="39015" y="581539"/>
                  </a:lnTo>
                  <a:lnTo>
                    <a:pt x="39015" y="585234"/>
                  </a:lnTo>
                  <a:lnTo>
                    <a:pt x="35326" y="585234"/>
                  </a:lnTo>
                  <a:lnTo>
                    <a:pt x="35326" y="588921"/>
                  </a:lnTo>
                  <a:lnTo>
                    <a:pt x="35326" y="592616"/>
                  </a:lnTo>
                  <a:lnTo>
                    <a:pt x="35326" y="596303"/>
                  </a:lnTo>
                  <a:lnTo>
                    <a:pt x="39015" y="596303"/>
                  </a:lnTo>
                  <a:lnTo>
                    <a:pt x="42704" y="599989"/>
                  </a:lnTo>
                  <a:lnTo>
                    <a:pt x="46393" y="599989"/>
                  </a:lnTo>
                  <a:lnTo>
                    <a:pt x="50082" y="596303"/>
                  </a:lnTo>
                  <a:lnTo>
                    <a:pt x="57461" y="599989"/>
                  </a:lnTo>
                  <a:lnTo>
                    <a:pt x="68528" y="599989"/>
                  </a:lnTo>
                  <a:lnTo>
                    <a:pt x="72217" y="599989"/>
                  </a:lnTo>
                  <a:lnTo>
                    <a:pt x="75906" y="599989"/>
                  </a:lnTo>
                  <a:lnTo>
                    <a:pt x="79596" y="596303"/>
                  </a:lnTo>
                  <a:lnTo>
                    <a:pt x="86974" y="592616"/>
                  </a:lnTo>
                  <a:lnTo>
                    <a:pt x="90663" y="592616"/>
                  </a:lnTo>
                  <a:lnTo>
                    <a:pt x="90663" y="588921"/>
                  </a:lnTo>
                  <a:lnTo>
                    <a:pt x="94352" y="592616"/>
                  </a:lnTo>
                  <a:lnTo>
                    <a:pt x="98041" y="592616"/>
                  </a:lnTo>
                  <a:lnTo>
                    <a:pt x="101731" y="592616"/>
                  </a:lnTo>
                  <a:lnTo>
                    <a:pt x="105420" y="588921"/>
                  </a:lnTo>
                  <a:lnTo>
                    <a:pt x="109109" y="585234"/>
                  </a:lnTo>
                  <a:lnTo>
                    <a:pt x="120176" y="588921"/>
                  </a:lnTo>
                  <a:lnTo>
                    <a:pt x="116487" y="599989"/>
                  </a:lnTo>
                  <a:lnTo>
                    <a:pt x="120176" y="603684"/>
                  </a:lnTo>
                  <a:lnTo>
                    <a:pt x="123866" y="607371"/>
                  </a:lnTo>
                  <a:lnTo>
                    <a:pt x="127555" y="599989"/>
                  </a:lnTo>
                  <a:lnTo>
                    <a:pt x="131244" y="599989"/>
                  </a:lnTo>
                  <a:lnTo>
                    <a:pt x="138622" y="599989"/>
                  </a:lnTo>
                  <a:lnTo>
                    <a:pt x="142312" y="596303"/>
                  </a:lnTo>
                  <a:lnTo>
                    <a:pt x="142312" y="592616"/>
                  </a:lnTo>
                  <a:lnTo>
                    <a:pt x="146001" y="592616"/>
                  </a:lnTo>
                  <a:lnTo>
                    <a:pt x="149690" y="592616"/>
                  </a:lnTo>
                  <a:lnTo>
                    <a:pt x="153380" y="592616"/>
                  </a:lnTo>
                  <a:lnTo>
                    <a:pt x="157069" y="592616"/>
                  </a:lnTo>
                  <a:lnTo>
                    <a:pt x="160758" y="592616"/>
                  </a:lnTo>
                  <a:lnTo>
                    <a:pt x="164447" y="592616"/>
                  </a:lnTo>
                  <a:lnTo>
                    <a:pt x="168136" y="588921"/>
                  </a:lnTo>
                  <a:lnTo>
                    <a:pt x="171826" y="588921"/>
                  </a:lnTo>
                  <a:lnTo>
                    <a:pt x="171826" y="585234"/>
                  </a:lnTo>
                  <a:lnTo>
                    <a:pt x="175515" y="585234"/>
                  </a:lnTo>
                  <a:lnTo>
                    <a:pt x="179204" y="581539"/>
                  </a:lnTo>
                  <a:lnTo>
                    <a:pt x="182893" y="581539"/>
                  </a:lnTo>
                  <a:lnTo>
                    <a:pt x="182893" y="577853"/>
                  </a:lnTo>
                  <a:lnTo>
                    <a:pt x="190272" y="574157"/>
                  </a:lnTo>
                  <a:lnTo>
                    <a:pt x="193961" y="570471"/>
                  </a:lnTo>
                  <a:lnTo>
                    <a:pt x="197650" y="570471"/>
                  </a:lnTo>
                  <a:lnTo>
                    <a:pt x="201339" y="570471"/>
                  </a:lnTo>
                  <a:lnTo>
                    <a:pt x="205028" y="574157"/>
                  </a:lnTo>
                  <a:lnTo>
                    <a:pt x="205028" y="570471"/>
                  </a:lnTo>
                  <a:lnTo>
                    <a:pt x="208717" y="570471"/>
                  </a:lnTo>
                  <a:lnTo>
                    <a:pt x="212406" y="570471"/>
                  </a:lnTo>
                  <a:lnTo>
                    <a:pt x="212406" y="566775"/>
                  </a:lnTo>
                  <a:lnTo>
                    <a:pt x="216096" y="563089"/>
                  </a:lnTo>
                  <a:lnTo>
                    <a:pt x="219785" y="559393"/>
                  </a:lnTo>
                  <a:lnTo>
                    <a:pt x="216096" y="555707"/>
                  </a:lnTo>
                  <a:lnTo>
                    <a:pt x="216096" y="552011"/>
                  </a:lnTo>
                  <a:lnTo>
                    <a:pt x="219785" y="548325"/>
                  </a:lnTo>
                  <a:lnTo>
                    <a:pt x="227163" y="552011"/>
                  </a:lnTo>
                  <a:lnTo>
                    <a:pt x="230852" y="552011"/>
                  </a:lnTo>
                  <a:lnTo>
                    <a:pt x="234541" y="552011"/>
                  </a:lnTo>
                  <a:lnTo>
                    <a:pt x="238230" y="552011"/>
                  </a:lnTo>
                  <a:lnTo>
                    <a:pt x="238230" y="548325"/>
                  </a:lnTo>
                  <a:lnTo>
                    <a:pt x="245609" y="544639"/>
                  </a:lnTo>
                  <a:lnTo>
                    <a:pt x="245609" y="540943"/>
                  </a:lnTo>
                  <a:lnTo>
                    <a:pt x="252987" y="544639"/>
                  </a:lnTo>
                  <a:lnTo>
                    <a:pt x="252987" y="540943"/>
                  </a:lnTo>
                  <a:lnTo>
                    <a:pt x="252987" y="537257"/>
                  </a:lnTo>
                  <a:lnTo>
                    <a:pt x="256676" y="537257"/>
                  </a:lnTo>
                  <a:lnTo>
                    <a:pt x="256676" y="533561"/>
                  </a:lnTo>
                  <a:lnTo>
                    <a:pt x="260365" y="533561"/>
                  </a:lnTo>
                  <a:lnTo>
                    <a:pt x="264055" y="533561"/>
                  </a:lnTo>
                  <a:lnTo>
                    <a:pt x="264055" y="548325"/>
                  </a:lnTo>
                  <a:lnTo>
                    <a:pt x="267744" y="544639"/>
                  </a:lnTo>
                  <a:lnTo>
                    <a:pt x="271433" y="548325"/>
                  </a:lnTo>
                  <a:lnTo>
                    <a:pt x="275122" y="548325"/>
                  </a:lnTo>
                  <a:lnTo>
                    <a:pt x="278811" y="544639"/>
                  </a:lnTo>
                  <a:lnTo>
                    <a:pt x="282500" y="544639"/>
                  </a:lnTo>
                  <a:lnTo>
                    <a:pt x="286190" y="548325"/>
                  </a:lnTo>
                  <a:lnTo>
                    <a:pt x="282500" y="548325"/>
                  </a:lnTo>
                  <a:lnTo>
                    <a:pt x="278811" y="548325"/>
                  </a:lnTo>
                  <a:lnTo>
                    <a:pt x="278811" y="552011"/>
                  </a:lnTo>
                  <a:lnTo>
                    <a:pt x="275122" y="552011"/>
                  </a:lnTo>
                  <a:lnTo>
                    <a:pt x="271433" y="552011"/>
                  </a:lnTo>
                  <a:lnTo>
                    <a:pt x="271433" y="555707"/>
                  </a:lnTo>
                  <a:lnTo>
                    <a:pt x="267744" y="555707"/>
                  </a:lnTo>
                  <a:lnTo>
                    <a:pt x="264055" y="555707"/>
                  </a:lnTo>
                  <a:lnTo>
                    <a:pt x="264055" y="559393"/>
                  </a:lnTo>
                  <a:lnTo>
                    <a:pt x="267744" y="570471"/>
                  </a:lnTo>
                  <a:lnTo>
                    <a:pt x="271433" y="574157"/>
                  </a:lnTo>
                  <a:lnTo>
                    <a:pt x="271433" y="570471"/>
                  </a:lnTo>
                  <a:lnTo>
                    <a:pt x="275122" y="570471"/>
                  </a:lnTo>
                  <a:lnTo>
                    <a:pt x="275122" y="574157"/>
                  </a:lnTo>
                  <a:lnTo>
                    <a:pt x="275122" y="581539"/>
                  </a:lnTo>
                  <a:lnTo>
                    <a:pt x="282500" y="585234"/>
                  </a:lnTo>
                  <a:lnTo>
                    <a:pt x="275122" y="588921"/>
                  </a:lnTo>
                  <a:lnTo>
                    <a:pt x="271433" y="588921"/>
                  </a:lnTo>
                  <a:lnTo>
                    <a:pt x="271433" y="596303"/>
                  </a:lnTo>
                  <a:lnTo>
                    <a:pt x="271433" y="603684"/>
                  </a:lnTo>
                  <a:lnTo>
                    <a:pt x="271433" y="607371"/>
                  </a:lnTo>
                  <a:lnTo>
                    <a:pt x="271433" y="611066"/>
                  </a:lnTo>
                  <a:lnTo>
                    <a:pt x="264055" y="611066"/>
                  </a:lnTo>
                  <a:lnTo>
                    <a:pt x="267744" y="614752"/>
                  </a:lnTo>
                  <a:lnTo>
                    <a:pt x="271433" y="614752"/>
                  </a:lnTo>
                  <a:lnTo>
                    <a:pt x="271433" y="618448"/>
                  </a:lnTo>
                  <a:lnTo>
                    <a:pt x="271433" y="625830"/>
                  </a:lnTo>
                  <a:lnTo>
                    <a:pt x="275122" y="625830"/>
                  </a:lnTo>
                  <a:lnTo>
                    <a:pt x="275122" y="640594"/>
                  </a:lnTo>
                  <a:lnTo>
                    <a:pt x="289879" y="636898"/>
                  </a:lnTo>
                  <a:lnTo>
                    <a:pt x="308326" y="629516"/>
                  </a:lnTo>
                  <a:lnTo>
                    <a:pt x="312015" y="629516"/>
                  </a:lnTo>
                  <a:lnTo>
                    <a:pt x="334150" y="633212"/>
                  </a:lnTo>
                  <a:lnTo>
                    <a:pt x="337839" y="633212"/>
                  </a:lnTo>
                  <a:lnTo>
                    <a:pt x="341528" y="633212"/>
                  </a:lnTo>
                  <a:lnTo>
                    <a:pt x="348906" y="633212"/>
                  </a:lnTo>
                  <a:lnTo>
                    <a:pt x="359974" y="611066"/>
                  </a:lnTo>
                  <a:lnTo>
                    <a:pt x="359974" y="603684"/>
                  </a:lnTo>
                  <a:lnTo>
                    <a:pt x="363663" y="596303"/>
                  </a:lnTo>
                  <a:lnTo>
                    <a:pt x="367352" y="585234"/>
                  </a:lnTo>
                  <a:lnTo>
                    <a:pt x="371041" y="577853"/>
                  </a:lnTo>
                  <a:lnTo>
                    <a:pt x="371041" y="574157"/>
                  </a:lnTo>
                  <a:lnTo>
                    <a:pt x="371041" y="570471"/>
                  </a:lnTo>
                  <a:lnTo>
                    <a:pt x="382106" y="548325"/>
                  </a:lnTo>
                  <a:lnTo>
                    <a:pt x="389488" y="552011"/>
                  </a:lnTo>
                  <a:lnTo>
                    <a:pt x="404242" y="552011"/>
                  </a:lnTo>
                  <a:lnTo>
                    <a:pt x="396870" y="544639"/>
                  </a:lnTo>
                  <a:lnTo>
                    <a:pt x="396870" y="540943"/>
                  </a:lnTo>
                  <a:lnTo>
                    <a:pt x="400556" y="537257"/>
                  </a:lnTo>
                  <a:lnTo>
                    <a:pt x="396870" y="537257"/>
                  </a:lnTo>
                  <a:lnTo>
                    <a:pt x="393174" y="537257"/>
                  </a:lnTo>
                  <a:lnTo>
                    <a:pt x="389488" y="533561"/>
                  </a:lnTo>
                  <a:lnTo>
                    <a:pt x="385802" y="533561"/>
                  </a:lnTo>
                  <a:lnTo>
                    <a:pt x="382106" y="529875"/>
                  </a:lnTo>
                  <a:lnTo>
                    <a:pt x="378420" y="529875"/>
                  </a:lnTo>
                  <a:lnTo>
                    <a:pt x="378420" y="526179"/>
                  </a:lnTo>
                  <a:lnTo>
                    <a:pt x="374730" y="522493"/>
                  </a:lnTo>
                  <a:lnTo>
                    <a:pt x="371041" y="526179"/>
                  </a:lnTo>
                  <a:lnTo>
                    <a:pt x="367352" y="526179"/>
                  </a:lnTo>
                  <a:lnTo>
                    <a:pt x="363663" y="526179"/>
                  </a:lnTo>
                  <a:lnTo>
                    <a:pt x="348906" y="526179"/>
                  </a:lnTo>
                  <a:lnTo>
                    <a:pt x="345217" y="529875"/>
                  </a:lnTo>
                  <a:lnTo>
                    <a:pt x="341528" y="529875"/>
                  </a:lnTo>
                  <a:lnTo>
                    <a:pt x="337839" y="533561"/>
                  </a:lnTo>
                  <a:lnTo>
                    <a:pt x="334150" y="533561"/>
                  </a:lnTo>
                  <a:lnTo>
                    <a:pt x="334150" y="529875"/>
                  </a:lnTo>
                  <a:lnTo>
                    <a:pt x="330460" y="529875"/>
                  </a:lnTo>
                  <a:lnTo>
                    <a:pt x="326771" y="526179"/>
                  </a:lnTo>
                  <a:lnTo>
                    <a:pt x="323082" y="522493"/>
                  </a:lnTo>
                  <a:lnTo>
                    <a:pt x="319393" y="515111"/>
                  </a:lnTo>
                  <a:lnTo>
                    <a:pt x="315704" y="515111"/>
                  </a:lnTo>
                  <a:lnTo>
                    <a:pt x="315704" y="511416"/>
                  </a:lnTo>
                  <a:lnTo>
                    <a:pt x="308326" y="511416"/>
                  </a:lnTo>
                  <a:lnTo>
                    <a:pt x="304636" y="511416"/>
                  </a:lnTo>
                  <a:lnTo>
                    <a:pt x="300947" y="504043"/>
                  </a:lnTo>
                  <a:lnTo>
                    <a:pt x="289879" y="504043"/>
                  </a:lnTo>
                  <a:lnTo>
                    <a:pt x="286190" y="504043"/>
                  </a:lnTo>
                  <a:lnTo>
                    <a:pt x="282500" y="504043"/>
                  </a:lnTo>
                  <a:lnTo>
                    <a:pt x="275122" y="507730"/>
                  </a:lnTo>
                  <a:lnTo>
                    <a:pt x="271433" y="504043"/>
                  </a:lnTo>
                  <a:lnTo>
                    <a:pt x="271433" y="507730"/>
                  </a:lnTo>
                  <a:lnTo>
                    <a:pt x="267744" y="507730"/>
                  </a:lnTo>
                  <a:lnTo>
                    <a:pt x="267744" y="504043"/>
                  </a:lnTo>
                  <a:lnTo>
                    <a:pt x="271433" y="504043"/>
                  </a:lnTo>
                  <a:lnTo>
                    <a:pt x="271433" y="500348"/>
                  </a:lnTo>
                  <a:lnTo>
                    <a:pt x="267744" y="496662"/>
                  </a:lnTo>
                  <a:lnTo>
                    <a:pt x="264055" y="496662"/>
                  </a:lnTo>
                  <a:lnTo>
                    <a:pt x="260365" y="500348"/>
                  </a:lnTo>
                  <a:lnTo>
                    <a:pt x="256676" y="500348"/>
                  </a:lnTo>
                  <a:lnTo>
                    <a:pt x="252987" y="500348"/>
                  </a:lnTo>
                  <a:lnTo>
                    <a:pt x="252987" y="496662"/>
                  </a:lnTo>
                  <a:lnTo>
                    <a:pt x="256676" y="496662"/>
                  </a:lnTo>
                  <a:lnTo>
                    <a:pt x="256676" y="492966"/>
                  </a:lnTo>
                  <a:lnTo>
                    <a:pt x="256676" y="489280"/>
                  </a:lnTo>
                  <a:lnTo>
                    <a:pt x="249298" y="485584"/>
                  </a:lnTo>
                  <a:lnTo>
                    <a:pt x="245609" y="485584"/>
                  </a:lnTo>
                  <a:lnTo>
                    <a:pt x="245609" y="489280"/>
                  </a:lnTo>
                  <a:lnTo>
                    <a:pt x="241920" y="489280"/>
                  </a:lnTo>
                  <a:lnTo>
                    <a:pt x="238230" y="485584"/>
                  </a:lnTo>
                  <a:lnTo>
                    <a:pt x="234541" y="485584"/>
                  </a:lnTo>
                  <a:lnTo>
                    <a:pt x="234541" y="481898"/>
                  </a:lnTo>
                  <a:lnTo>
                    <a:pt x="238230" y="481898"/>
                  </a:lnTo>
                  <a:lnTo>
                    <a:pt x="241920" y="481898"/>
                  </a:lnTo>
                  <a:lnTo>
                    <a:pt x="245609" y="478202"/>
                  </a:lnTo>
                  <a:lnTo>
                    <a:pt x="234541" y="470823"/>
                  </a:lnTo>
                  <a:lnTo>
                    <a:pt x="234541" y="467133"/>
                  </a:lnTo>
                  <a:lnTo>
                    <a:pt x="241920" y="470823"/>
                  </a:lnTo>
                  <a:lnTo>
                    <a:pt x="245609" y="474514"/>
                  </a:lnTo>
                  <a:lnTo>
                    <a:pt x="249298" y="474514"/>
                  </a:lnTo>
                  <a:lnTo>
                    <a:pt x="252987" y="470823"/>
                  </a:lnTo>
                  <a:lnTo>
                    <a:pt x="252987" y="474514"/>
                  </a:lnTo>
                  <a:lnTo>
                    <a:pt x="256676" y="478202"/>
                  </a:lnTo>
                  <a:lnTo>
                    <a:pt x="260365" y="474514"/>
                  </a:lnTo>
                  <a:lnTo>
                    <a:pt x="260365" y="470823"/>
                  </a:lnTo>
                  <a:lnTo>
                    <a:pt x="260365" y="467133"/>
                  </a:lnTo>
                  <a:lnTo>
                    <a:pt x="264055" y="467133"/>
                  </a:lnTo>
                  <a:lnTo>
                    <a:pt x="267744" y="463442"/>
                  </a:lnTo>
                  <a:lnTo>
                    <a:pt x="267744" y="456061"/>
                  </a:lnTo>
                  <a:lnTo>
                    <a:pt x="271433" y="452370"/>
                  </a:lnTo>
                  <a:lnTo>
                    <a:pt x="275122" y="448680"/>
                  </a:lnTo>
                  <a:lnTo>
                    <a:pt x="278811" y="444989"/>
                  </a:lnTo>
                  <a:lnTo>
                    <a:pt x="282500" y="444989"/>
                  </a:lnTo>
                  <a:lnTo>
                    <a:pt x="286190" y="444989"/>
                  </a:lnTo>
                  <a:lnTo>
                    <a:pt x="286190" y="441299"/>
                  </a:lnTo>
                  <a:lnTo>
                    <a:pt x="289879" y="437608"/>
                  </a:lnTo>
                  <a:lnTo>
                    <a:pt x="289879" y="433917"/>
                  </a:lnTo>
                  <a:lnTo>
                    <a:pt x="297258" y="426537"/>
                  </a:lnTo>
                  <a:lnTo>
                    <a:pt x="293568" y="426537"/>
                  </a:lnTo>
                  <a:lnTo>
                    <a:pt x="289879" y="426537"/>
                  </a:lnTo>
                  <a:lnTo>
                    <a:pt x="286190" y="422847"/>
                  </a:lnTo>
                  <a:lnTo>
                    <a:pt x="286190" y="426537"/>
                  </a:lnTo>
                  <a:lnTo>
                    <a:pt x="278811" y="422847"/>
                  </a:lnTo>
                  <a:lnTo>
                    <a:pt x="278811" y="419156"/>
                  </a:lnTo>
                  <a:lnTo>
                    <a:pt x="278811" y="415465"/>
                  </a:lnTo>
                  <a:lnTo>
                    <a:pt x="278811" y="411775"/>
                  </a:lnTo>
                  <a:lnTo>
                    <a:pt x="282500" y="408084"/>
                  </a:lnTo>
                  <a:lnTo>
                    <a:pt x="282500" y="404394"/>
                  </a:lnTo>
                  <a:lnTo>
                    <a:pt x="278811" y="404394"/>
                  </a:lnTo>
                  <a:lnTo>
                    <a:pt x="275122" y="408084"/>
                  </a:lnTo>
                  <a:lnTo>
                    <a:pt x="271433" y="404394"/>
                  </a:lnTo>
                  <a:lnTo>
                    <a:pt x="278811" y="400703"/>
                  </a:lnTo>
                  <a:lnTo>
                    <a:pt x="286190" y="400703"/>
                  </a:lnTo>
                  <a:lnTo>
                    <a:pt x="286190" y="397012"/>
                  </a:lnTo>
                  <a:lnTo>
                    <a:pt x="282500" y="393322"/>
                  </a:lnTo>
                  <a:lnTo>
                    <a:pt x="282500" y="389631"/>
                  </a:lnTo>
                  <a:lnTo>
                    <a:pt x="282500" y="385940"/>
                  </a:lnTo>
                  <a:lnTo>
                    <a:pt x="286190" y="382250"/>
                  </a:lnTo>
                  <a:lnTo>
                    <a:pt x="289879" y="385940"/>
                  </a:lnTo>
                  <a:lnTo>
                    <a:pt x="289879" y="382250"/>
                  </a:lnTo>
                  <a:lnTo>
                    <a:pt x="293568" y="378559"/>
                  </a:lnTo>
                  <a:lnTo>
                    <a:pt x="297258" y="371178"/>
                  </a:lnTo>
                  <a:lnTo>
                    <a:pt x="293568" y="371178"/>
                  </a:lnTo>
                  <a:lnTo>
                    <a:pt x="293568" y="363797"/>
                  </a:lnTo>
                  <a:lnTo>
                    <a:pt x="289879" y="363797"/>
                  </a:lnTo>
                  <a:lnTo>
                    <a:pt x="289879" y="360106"/>
                  </a:lnTo>
                  <a:lnTo>
                    <a:pt x="286190" y="356416"/>
                  </a:lnTo>
                  <a:lnTo>
                    <a:pt x="286190" y="352725"/>
                  </a:lnTo>
                  <a:lnTo>
                    <a:pt x="282500" y="345344"/>
                  </a:lnTo>
                  <a:lnTo>
                    <a:pt x="282500" y="341654"/>
                  </a:lnTo>
                  <a:lnTo>
                    <a:pt x="275122" y="330582"/>
                  </a:lnTo>
                  <a:lnTo>
                    <a:pt x="275122" y="326892"/>
                  </a:lnTo>
                  <a:lnTo>
                    <a:pt x="271433" y="323201"/>
                  </a:lnTo>
                  <a:lnTo>
                    <a:pt x="271433" y="315820"/>
                  </a:lnTo>
                  <a:lnTo>
                    <a:pt x="267744" y="308439"/>
                  </a:lnTo>
                  <a:lnTo>
                    <a:pt x="267744" y="304748"/>
                  </a:lnTo>
                  <a:lnTo>
                    <a:pt x="264055" y="301057"/>
                  </a:lnTo>
                  <a:lnTo>
                    <a:pt x="267744" y="297367"/>
                  </a:lnTo>
                  <a:lnTo>
                    <a:pt x="264055" y="293676"/>
                  </a:lnTo>
                  <a:lnTo>
                    <a:pt x="264055" y="289986"/>
                  </a:lnTo>
                  <a:lnTo>
                    <a:pt x="264055" y="286295"/>
                  </a:lnTo>
                  <a:lnTo>
                    <a:pt x="264055" y="282604"/>
                  </a:lnTo>
                  <a:lnTo>
                    <a:pt x="264055" y="275223"/>
                  </a:lnTo>
                  <a:lnTo>
                    <a:pt x="264055" y="271532"/>
                  </a:lnTo>
                  <a:lnTo>
                    <a:pt x="267744" y="271532"/>
                  </a:lnTo>
                  <a:lnTo>
                    <a:pt x="267744" y="267842"/>
                  </a:lnTo>
                  <a:lnTo>
                    <a:pt x="271433" y="267842"/>
                  </a:lnTo>
                  <a:lnTo>
                    <a:pt x="275122" y="264151"/>
                  </a:lnTo>
                  <a:lnTo>
                    <a:pt x="278811" y="264151"/>
                  </a:lnTo>
                  <a:lnTo>
                    <a:pt x="282500" y="264151"/>
                  </a:lnTo>
                  <a:lnTo>
                    <a:pt x="282500" y="267842"/>
                  </a:lnTo>
                  <a:lnTo>
                    <a:pt x="286190" y="271532"/>
                  </a:lnTo>
                  <a:lnTo>
                    <a:pt x="286190" y="267842"/>
                  </a:lnTo>
                  <a:lnTo>
                    <a:pt x="289879" y="264151"/>
                  </a:lnTo>
                  <a:lnTo>
                    <a:pt x="293568" y="264151"/>
                  </a:lnTo>
                  <a:lnTo>
                    <a:pt x="297258" y="264151"/>
                  </a:lnTo>
                  <a:lnTo>
                    <a:pt x="300947" y="264151"/>
                  </a:lnTo>
                  <a:lnTo>
                    <a:pt x="304636" y="267842"/>
                  </a:lnTo>
                  <a:lnTo>
                    <a:pt x="308326" y="271532"/>
                  </a:lnTo>
                  <a:lnTo>
                    <a:pt x="312015" y="271532"/>
                  </a:lnTo>
                  <a:lnTo>
                    <a:pt x="315704" y="275223"/>
                  </a:lnTo>
                  <a:lnTo>
                    <a:pt x="315704" y="278914"/>
                  </a:lnTo>
                  <a:lnTo>
                    <a:pt x="323082" y="278914"/>
                  </a:lnTo>
                  <a:lnTo>
                    <a:pt x="326771" y="278914"/>
                  </a:lnTo>
                  <a:lnTo>
                    <a:pt x="330460" y="278914"/>
                  </a:lnTo>
                  <a:lnTo>
                    <a:pt x="334150" y="275223"/>
                  </a:lnTo>
                  <a:lnTo>
                    <a:pt x="341528" y="267842"/>
                  </a:lnTo>
                  <a:lnTo>
                    <a:pt x="345217" y="267842"/>
                  </a:lnTo>
                  <a:lnTo>
                    <a:pt x="352595" y="267842"/>
                  </a:lnTo>
                  <a:lnTo>
                    <a:pt x="352595" y="264151"/>
                  </a:lnTo>
                  <a:lnTo>
                    <a:pt x="356285" y="260461"/>
                  </a:lnTo>
                  <a:lnTo>
                    <a:pt x="359974" y="260461"/>
                  </a:lnTo>
                  <a:lnTo>
                    <a:pt x="359974" y="256771"/>
                  </a:lnTo>
                  <a:lnTo>
                    <a:pt x="367352" y="253080"/>
                  </a:lnTo>
                  <a:lnTo>
                    <a:pt x="367352" y="249390"/>
                  </a:lnTo>
                  <a:lnTo>
                    <a:pt x="371041" y="245699"/>
                  </a:lnTo>
                  <a:lnTo>
                    <a:pt x="371041" y="238318"/>
                  </a:lnTo>
                  <a:lnTo>
                    <a:pt x="371041" y="234627"/>
                  </a:lnTo>
                  <a:lnTo>
                    <a:pt x="374730" y="227246"/>
                  </a:lnTo>
                  <a:lnTo>
                    <a:pt x="378420" y="227246"/>
                  </a:lnTo>
                  <a:lnTo>
                    <a:pt x="382106" y="227246"/>
                  </a:lnTo>
                  <a:lnTo>
                    <a:pt x="385802" y="227246"/>
                  </a:lnTo>
                  <a:lnTo>
                    <a:pt x="389488" y="223555"/>
                  </a:lnTo>
                  <a:lnTo>
                    <a:pt x="393174" y="223555"/>
                  </a:lnTo>
                  <a:lnTo>
                    <a:pt x="389488" y="219865"/>
                  </a:lnTo>
                  <a:lnTo>
                    <a:pt x="393174" y="219865"/>
                  </a:lnTo>
                  <a:lnTo>
                    <a:pt x="396870" y="216174"/>
                  </a:lnTo>
                  <a:lnTo>
                    <a:pt x="400556" y="212484"/>
                  </a:lnTo>
                  <a:lnTo>
                    <a:pt x="396870" y="208793"/>
                  </a:lnTo>
                  <a:lnTo>
                    <a:pt x="393174" y="205102"/>
                  </a:lnTo>
                  <a:lnTo>
                    <a:pt x="393174" y="201412"/>
                  </a:lnTo>
                  <a:lnTo>
                    <a:pt x="393174" y="197721"/>
                  </a:lnTo>
                  <a:lnTo>
                    <a:pt x="393174" y="194031"/>
                  </a:lnTo>
                  <a:lnTo>
                    <a:pt x="393174" y="190340"/>
                  </a:lnTo>
                  <a:lnTo>
                    <a:pt x="393174" y="186649"/>
                  </a:lnTo>
                  <a:lnTo>
                    <a:pt x="393174" y="182959"/>
                  </a:lnTo>
                  <a:lnTo>
                    <a:pt x="389488" y="182959"/>
                  </a:lnTo>
                  <a:lnTo>
                    <a:pt x="385802" y="179268"/>
                  </a:lnTo>
                  <a:lnTo>
                    <a:pt x="378420" y="175578"/>
                  </a:lnTo>
                  <a:lnTo>
                    <a:pt x="367352" y="175578"/>
                  </a:lnTo>
                  <a:lnTo>
                    <a:pt x="363663" y="175578"/>
                  </a:lnTo>
                  <a:lnTo>
                    <a:pt x="359974" y="171888"/>
                  </a:lnTo>
                  <a:lnTo>
                    <a:pt x="352595" y="171888"/>
                  </a:lnTo>
                  <a:lnTo>
                    <a:pt x="348906" y="171888"/>
                  </a:lnTo>
                  <a:lnTo>
                    <a:pt x="345217" y="179268"/>
                  </a:lnTo>
                  <a:lnTo>
                    <a:pt x="341528" y="182959"/>
                  </a:lnTo>
                  <a:lnTo>
                    <a:pt x="341528" y="186649"/>
                  </a:lnTo>
                  <a:lnTo>
                    <a:pt x="337839" y="182959"/>
                  </a:lnTo>
                  <a:lnTo>
                    <a:pt x="334150" y="182959"/>
                  </a:lnTo>
                  <a:lnTo>
                    <a:pt x="330460" y="182959"/>
                  </a:lnTo>
                  <a:lnTo>
                    <a:pt x="326771" y="182959"/>
                  </a:lnTo>
                  <a:lnTo>
                    <a:pt x="319393" y="175578"/>
                  </a:lnTo>
                  <a:lnTo>
                    <a:pt x="315704" y="171888"/>
                  </a:lnTo>
                  <a:lnTo>
                    <a:pt x="312015" y="168197"/>
                  </a:lnTo>
                  <a:lnTo>
                    <a:pt x="315704" y="160816"/>
                  </a:lnTo>
                  <a:lnTo>
                    <a:pt x="312015" y="160816"/>
                  </a:lnTo>
                  <a:lnTo>
                    <a:pt x="308326" y="157126"/>
                  </a:lnTo>
                  <a:lnTo>
                    <a:pt x="304636" y="157126"/>
                  </a:lnTo>
                  <a:lnTo>
                    <a:pt x="312015" y="101766"/>
                  </a:lnTo>
                  <a:lnTo>
                    <a:pt x="304636" y="90695"/>
                  </a:lnTo>
                  <a:lnTo>
                    <a:pt x="293568" y="68552"/>
                  </a:lnTo>
                  <a:lnTo>
                    <a:pt x="293568" y="64861"/>
                  </a:lnTo>
                  <a:lnTo>
                    <a:pt x="289879" y="61171"/>
                  </a:lnTo>
                  <a:lnTo>
                    <a:pt x="278811" y="39027"/>
                  </a:lnTo>
                  <a:lnTo>
                    <a:pt x="275122" y="39027"/>
                  </a:lnTo>
                  <a:lnTo>
                    <a:pt x="275122" y="31646"/>
                  </a:lnTo>
                  <a:lnTo>
                    <a:pt x="271433" y="27955"/>
                  </a:lnTo>
                  <a:lnTo>
                    <a:pt x="267744" y="27955"/>
                  </a:lnTo>
                  <a:lnTo>
                    <a:pt x="264055" y="31646"/>
                  </a:lnTo>
                  <a:lnTo>
                    <a:pt x="260365" y="31646"/>
                  </a:lnTo>
                  <a:lnTo>
                    <a:pt x="256676" y="27955"/>
                  </a:lnTo>
                  <a:lnTo>
                    <a:pt x="252987" y="27955"/>
                  </a:lnTo>
                  <a:lnTo>
                    <a:pt x="249298" y="31646"/>
                  </a:lnTo>
                  <a:lnTo>
                    <a:pt x="241920" y="31646"/>
                  </a:lnTo>
                  <a:lnTo>
                    <a:pt x="234541" y="39027"/>
                  </a:lnTo>
                  <a:lnTo>
                    <a:pt x="234541" y="42718"/>
                  </a:lnTo>
                  <a:lnTo>
                    <a:pt x="227163" y="53789"/>
                  </a:lnTo>
                  <a:lnTo>
                    <a:pt x="223474" y="53789"/>
                  </a:lnTo>
                  <a:lnTo>
                    <a:pt x="216096" y="57480"/>
                  </a:lnTo>
                  <a:lnTo>
                    <a:pt x="212406" y="61171"/>
                  </a:lnTo>
                  <a:lnTo>
                    <a:pt x="197650" y="68552"/>
                  </a:lnTo>
                  <a:lnTo>
                    <a:pt x="193961" y="64861"/>
                  </a:lnTo>
                  <a:lnTo>
                    <a:pt x="182893" y="57480"/>
                  </a:lnTo>
                  <a:lnTo>
                    <a:pt x="179204" y="57480"/>
                  </a:lnTo>
                  <a:lnTo>
                    <a:pt x="168136" y="50099"/>
                  </a:lnTo>
                  <a:lnTo>
                    <a:pt x="164447" y="46408"/>
                  </a:lnTo>
                  <a:lnTo>
                    <a:pt x="160758" y="42718"/>
                  </a:lnTo>
                  <a:lnTo>
                    <a:pt x="157069" y="35336"/>
                  </a:lnTo>
                  <a:lnTo>
                    <a:pt x="157069" y="27955"/>
                  </a:lnTo>
                  <a:lnTo>
                    <a:pt x="157069" y="20574"/>
                  </a:lnTo>
                  <a:lnTo>
                    <a:pt x="160758" y="13193"/>
                  </a:lnTo>
                  <a:lnTo>
                    <a:pt x="160758" y="9502"/>
                  </a:lnTo>
                  <a:lnTo>
                    <a:pt x="157069" y="9502"/>
                  </a:lnTo>
                  <a:lnTo>
                    <a:pt x="157069" y="13193"/>
                  </a:lnTo>
                  <a:lnTo>
                    <a:pt x="153380" y="13193"/>
                  </a:lnTo>
                  <a:lnTo>
                    <a:pt x="149690" y="13193"/>
                  </a:lnTo>
                  <a:lnTo>
                    <a:pt x="149690" y="9502"/>
                  </a:lnTo>
                  <a:lnTo>
                    <a:pt x="149690" y="5812"/>
                  </a:lnTo>
                  <a:lnTo>
                    <a:pt x="142312" y="5812"/>
                  </a:lnTo>
                  <a:lnTo>
                    <a:pt x="134933" y="5812"/>
                  </a:lnTo>
                  <a:lnTo>
                    <a:pt x="131244" y="5812"/>
                  </a:lnTo>
                  <a:lnTo>
                    <a:pt x="127555" y="5812"/>
                  </a:lnTo>
                  <a:close/>
                  <a:moveTo>
                    <a:pt x="160758" y="9502"/>
                  </a:moveTo>
                  <a:lnTo>
                    <a:pt x="160758" y="5812"/>
                  </a:lnTo>
                  <a:lnTo>
                    <a:pt x="157069" y="5812"/>
                  </a:lnTo>
                  <a:lnTo>
                    <a:pt x="160758" y="9502"/>
                  </a:lnTo>
                  <a:close/>
                  <a:moveTo>
                    <a:pt x="275122" y="31646"/>
                  </a:moveTo>
                  <a:lnTo>
                    <a:pt x="278811" y="35336"/>
                  </a:lnTo>
                  <a:lnTo>
                    <a:pt x="278811" y="27955"/>
                  </a:lnTo>
                  <a:lnTo>
                    <a:pt x="275122" y="27955"/>
                  </a:lnTo>
                  <a:lnTo>
                    <a:pt x="275122" y="31646"/>
                  </a:lnTo>
                  <a:close/>
                  <a:moveTo>
                    <a:pt x="241920" y="481898"/>
                  </a:moveTo>
                  <a:lnTo>
                    <a:pt x="241920" y="485584"/>
                  </a:lnTo>
                  <a:lnTo>
                    <a:pt x="245609" y="485584"/>
                  </a:lnTo>
                  <a:lnTo>
                    <a:pt x="241920" y="481898"/>
                  </a:lnTo>
                  <a:close/>
                  <a:moveTo>
                    <a:pt x="304636" y="400703"/>
                  </a:moveTo>
                  <a:lnTo>
                    <a:pt x="304636" y="404394"/>
                  </a:lnTo>
                  <a:lnTo>
                    <a:pt x="304636" y="408084"/>
                  </a:lnTo>
                  <a:lnTo>
                    <a:pt x="300947" y="415465"/>
                  </a:lnTo>
                  <a:lnTo>
                    <a:pt x="304636" y="415465"/>
                  </a:lnTo>
                  <a:lnTo>
                    <a:pt x="308326" y="411775"/>
                  </a:lnTo>
                  <a:lnTo>
                    <a:pt x="312015" y="411775"/>
                  </a:lnTo>
                  <a:lnTo>
                    <a:pt x="315704" y="408084"/>
                  </a:lnTo>
                  <a:lnTo>
                    <a:pt x="319393" y="408084"/>
                  </a:lnTo>
                  <a:lnTo>
                    <a:pt x="319393" y="404394"/>
                  </a:lnTo>
                  <a:lnTo>
                    <a:pt x="312015" y="408084"/>
                  </a:lnTo>
                  <a:lnTo>
                    <a:pt x="308326" y="404394"/>
                  </a:lnTo>
                  <a:lnTo>
                    <a:pt x="304636" y="400703"/>
                  </a:lnTo>
                  <a:close/>
                  <a:moveTo>
                    <a:pt x="404242" y="529875"/>
                  </a:moveTo>
                  <a:lnTo>
                    <a:pt x="404242" y="533561"/>
                  </a:lnTo>
                  <a:lnTo>
                    <a:pt x="407929" y="533561"/>
                  </a:lnTo>
                  <a:lnTo>
                    <a:pt x="404242" y="529875"/>
                  </a:lnTo>
                  <a:close/>
                </a:path>
              </a:pathLst>
            </a:custGeom>
            <a:solidFill>
              <a:srgbClr val="22777B"/>
            </a:solidFill>
            <a:ln w="12821" cap="flat">
              <a:solidFill>
                <a:schemeClr val="bg1"/>
              </a:solidFill>
              <a:prstDash val="solid"/>
              <a:round/>
            </a:ln>
          </p:spPr>
          <p:txBody>
            <a:bodyPr rot="0" spcFirstLastPara="0" vertOverflow="overflow" horzOverflow="overflow" vert="horz" wrap="square" lIns="36000" tIns="0" rIns="144000" bIns="0" numCol="1" spcCol="0" rtlCol="0" fromWordArt="0" anchor="ctr" anchorCtr="0" forceAA="0" compatLnSpc="1">
              <a:prstTxWarp prst="textNoShape">
                <a:avLst/>
              </a:prstTxWarp>
              <a:noAutofit/>
            </a:bodyPr>
            <a:lstStyle/>
            <a:p>
              <a:pPr marL="0" indent="0" algn="ctr">
                <a:buNone/>
              </a:pPr>
              <a:r>
                <a:rPr lang="nl-NL" sz="800" b="1" dirty="0">
                  <a:solidFill>
                    <a:srgbClr val="FFFFFF"/>
                  </a:solidFill>
                  <a:latin typeface="+mj-lt"/>
                </a:rPr>
                <a:t>241</a:t>
              </a:r>
              <a:endParaRPr lang="nl-NL" sz="800" b="1" dirty="0">
                <a:solidFill>
                  <a:srgbClr val="FFFFFF"/>
                </a:solidFill>
                <a:latin typeface="+mj-lt"/>
                <a:cs typeface="Arial" panose="020B0604020202020204" pitchFamily="34" charset="0"/>
              </a:endParaRPr>
            </a:p>
          </p:txBody>
        </p:sp>
        <p:sp>
          <p:nvSpPr>
            <p:cNvPr id="77" name="Freeform: Shape 76">
              <a:extLst>
                <a:ext uri="{FF2B5EF4-FFF2-40B4-BE49-F238E27FC236}">
                  <a16:creationId xmlns:a16="http://schemas.microsoft.com/office/drawing/2014/main" id="{3C4FFE83-E531-42D6-B19D-5B7A7456811B}"/>
                </a:ext>
              </a:extLst>
            </p:cNvPr>
            <p:cNvSpPr/>
            <p:nvPr/>
          </p:nvSpPr>
          <p:spPr>
            <a:xfrm>
              <a:off x="1905021" y="2895776"/>
              <a:ext cx="169100" cy="261336"/>
            </a:xfrm>
            <a:custGeom>
              <a:avLst/>
              <a:gdLst>
                <a:gd name="connsiteX0" fmla="*/ 79596 w 104775"/>
                <a:gd name="connsiteY0" fmla="*/ 116528 h 161925"/>
                <a:gd name="connsiteX1" fmla="*/ 72217 w 104775"/>
                <a:gd name="connsiteY1" fmla="*/ 123909 h 161925"/>
                <a:gd name="connsiteX2" fmla="*/ 68528 w 104775"/>
                <a:gd name="connsiteY2" fmla="*/ 127600 h 161925"/>
                <a:gd name="connsiteX3" fmla="*/ 64839 w 104775"/>
                <a:gd name="connsiteY3" fmla="*/ 127600 h 161925"/>
                <a:gd name="connsiteX4" fmla="*/ 61150 w 104775"/>
                <a:gd name="connsiteY4" fmla="*/ 127600 h 161925"/>
                <a:gd name="connsiteX5" fmla="*/ 57460 w 104775"/>
                <a:gd name="connsiteY5" fmla="*/ 127600 h 161925"/>
                <a:gd name="connsiteX6" fmla="*/ 46393 w 104775"/>
                <a:gd name="connsiteY6" fmla="*/ 142362 h 161925"/>
                <a:gd name="connsiteX7" fmla="*/ 46393 w 104775"/>
                <a:gd name="connsiteY7" fmla="*/ 146053 h 161925"/>
                <a:gd name="connsiteX8" fmla="*/ 46393 w 104775"/>
                <a:gd name="connsiteY8" fmla="*/ 146053 h 161925"/>
                <a:gd name="connsiteX9" fmla="*/ 46393 w 104775"/>
                <a:gd name="connsiteY9" fmla="*/ 149743 h 161925"/>
                <a:gd name="connsiteX10" fmla="*/ 42704 w 104775"/>
                <a:gd name="connsiteY10" fmla="*/ 149743 h 161925"/>
                <a:gd name="connsiteX11" fmla="*/ 39015 w 104775"/>
                <a:gd name="connsiteY11" fmla="*/ 149743 h 161925"/>
                <a:gd name="connsiteX12" fmla="*/ 35325 w 104775"/>
                <a:gd name="connsiteY12" fmla="*/ 146053 h 161925"/>
                <a:gd name="connsiteX13" fmla="*/ 27947 w 104775"/>
                <a:gd name="connsiteY13" fmla="*/ 142362 h 161925"/>
                <a:gd name="connsiteX14" fmla="*/ 24258 w 104775"/>
                <a:gd name="connsiteY14" fmla="*/ 142362 h 161925"/>
                <a:gd name="connsiteX15" fmla="*/ 27947 w 104775"/>
                <a:gd name="connsiteY15" fmla="*/ 146053 h 161925"/>
                <a:gd name="connsiteX16" fmla="*/ 31636 w 104775"/>
                <a:gd name="connsiteY16" fmla="*/ 149743 h 161925"/>
                <a:gd name="connsiteX17" fmla="*/ 31636 w 104775"/>
                <a:gd name="connsiteY17" fmla="*/ 149743 h 161925"/>
                <a:gd name="connsiteX18" fmla="*/ 35325 w 104775"/>
                <a:gd name="connsiteY18" fmla="*/ 153434 h 161925"/>
                <a:gd name="connsiteX19" fmla="*/ 39015 w 104775"/>
                <a:gd name="connsiteY19" fmla="*/ 153434 h 161925"/>
                <a:gd name="connsiteX20" fmla="*/ 31636 w 104775"/>
                <a:gd name="connsiteY20" fmla="*/ 153434 h 161925"/>
                <a:gd name="connsiteX21" fmla="*/ 31636 w 104775"/>
                <a:gd name="connsiteY21" fmla="*/ 153434 h 161925"/>
                <a:gd name="connsiteX22" fmla="*/ 31636 w 104775"/>
                <a:gd name="connsiteY22" fmla="*/ 157125 h 161925"/>
                <a:gd name="connsiteX23" fmla="*/ 31636 w 104775"/>
                <a:gd name="connsiteY23" fmla="*/ 157125 h 161925"/>
                <a:gd name="connsiteX24" fmla="*/ 31636 w 104775"/>
                <a:gd name="connsiteY24" fmla="*/ 157125 h 161925"/>
                <a:gd name="connsiteX25" fmla="*/ 24258 w 104775"/>
                <a:gd name="connsiteY25" fmla="*/ 157125 h 161925"/>
                <a:gd name="connsiteX26" fmla="*/ 20569 w 104775"/>
                <a:gd name="connsiteY26" fmla="*/ 157125 h 161925"/>
                <a:gd name="connsiteX27" fmla="*/ 24258 w 104775"/>
                <a:gd name="connsiteY27" fmla="*/ 157125 h 161925"/>
                <a:gd name="connsiteX28" fmla="*/ 20569 w 104775"/>
                <a:gd name="connsiteY28" fmla="*/ 160815 h 161925"/>
                <a:gd name="connsiteX29" fmla="*/ 16880 w 104775"/>
                <a:gd name="connsiteY29" fmla="*/ 160815 h 161925"/>
                <a:gd name="connsiteX30" fmla="*/ 13191 w 104775"/>
                <a:gd name="connsiteY30" fmla="*/ 164506 h 161925"/>
                <a:gd name="connsiteX31" fmla="*/ 9501 w 104775"/>
                <a:gd name="connsiteY31" fmla="*/ 164506 h 161925"/>
                <a:gd name="connsiteX32" fmla="*/ 9501 w 104775"/>
                <a:gd name="connsiteY32" fmla="*/ 160815 h 161925"/>
                <a:gd name="connsiteX33" fmla="*/ 9501 w 104775"/>
                <a:gd name="connsiteY33" fmla="*/ 153434 h 161925"/>
                <a:gd name="connsiteX34" fmla="*/ 5812 w 104775"/>
                <a:gd name="connsiteY34" fmla="*/ 138672 h 161925"/>
                <a:gd name="connsiteX35" fmla="*/ 5812 w 104775"/>
                <a:gd name="connsiteY35" fmla="*/ 131290 h 161925"/>
                <a:gd name="connsiteX36" fmla="*/ 5812 w 104775"/>
                <a:gd name="connsiteY36" fmla="*/ 127600 h 161925"/>
                <a:gd name="connsiteX37" fmla="*/ 9501 w 104775"/>
                <a:gd name="connsiteY37" fmla="*/ 116528 h 161925"/>
                <a:gd name="connsiteX38" fmla="*/ 9501 w 104775"/>
                <a:gd name="connsiteY38" fmla="*/ 112837 h 161925"/>
                <a:gd name="connsiteX39" fmla="*/ 9501 w 104775"/>
                <a:gd name="connsiteY39" fmla="*/ 112837 h 161925"/>
                <a:gd name="connsiteX40" fmla="*/ 13191 w 104775"/>
                <a:gd name="connsiteY40" fmla="*/ 101766 h 161925"/>
                <a:gd name="connsiteX41" fmla="*/ 16880 w 104775"/>
                <a:gd name="connsiteY41" fmla="*/ 90695 h 161925"/>
                <a:gd name="connsiteX42" fmla="*/ 20569 w 104775"/>
                <a:gd name="connsiteY42" fmla="*/ 79623 h 161925"/>
                <a:gd name="connsiteX43" fmla="*/ 24258 w 104775"/>
                <a:gd name="connsiteY43" fmla="*/ 75932 h 161925"/>
                <a:gd name="connsiteX44" fmla="*/ 31636 w 104775"/>
                <a:gd name="connsiteY44" fmla="*/ 64860 h 161925"/>
                <a:gd name="connsiteX45" fmla="*/ 39015 w 104775"/>
                <a:gd name="connsiteY45" fmla="*/ 50098 h 161925"/>
                <a:gd name="connsiteX46" fmla="*/ 50082 w 104775"/>
                <a:gd name="connsiteY46" fmla="*/ 39026 h 161925"/>
                <a:gd name="connsiteX47" fmla="*/ 50082 w 104775"/>
                <a:gd name="connsiteY47" fmla="*/ 39026 h 161925"/>
                <a:gd name="connsiteX48" fmla="*/ 50082 w 104775"/>
                <a:gd name="connsiteY48" fmla="*/ 39026 h 161925"/>
                <a:gd name="connsiteX49" fmla="*/ 50082 w 104775"/>
                <a:gd name="connsiteY49" fmla="*/ 42717 h 161925"/>
                <a:gd name="connsiteX50" fmla="*/ 50082 w 104775"/>
                <a:gd name="connsiteY50" fmla="*/ 46407 h 161925"/>
                <a:gd name="connsiteX51" fmla="*/ 53771 w 104775"/>
                <a:gd name="connsiteY51" fmla="*/ 42717 h 161925"/>
                <a:gd name="connsiteX52" fmla="*/ 53771 w 104775"/>
                <a:gd name="connsiteY52" fmla="*/ 42717 h 161925"/>
                <a:gd name="connsiteX53" fmla="*/ 53771 w 104775"/>
                <a:gd name="connsiteY53" fmla="*/ 42717 h 161925"/>
                <a:gd name="connsiteX54" fmla="*/ 57460 w 104775"/>
                <a:gd name="connsiteY54" fmla="*/ 39026 h 161925"/>
                <a:gd name="connsiteX55" fmla="*/ 57460 w 104775"/>
                <a:gd name="connsiteY55" fmla="*/ 39026 h 161925"/>
                <a:gd name="connsiteX56" fmla="*/ 61150 w 104775"/>
                <a:gd name="connsiteY56" fmla="*/ 35336 h 161925"/>
                <a:gd name="connsiteX57" fmla="*/ 64839 w 104775"/>
                <a:gd name="connsiteY57" fmla="*/ 35336 h 161925"/>
                <a:gd name="connsiteX58" fmla="*/ 64839 w 104775"/>
                <a:gd name="connsiteY58" fmla="*/ 39026 h 161925"/>
                <a:gd name="connsiteX59" fmla="*/ 64839 w 104775"/>
                <a:gd name="connsiteY59" fmla="*/ 35336 h 161925"/>
                <a:gd name="connsiteX60" fmla="*/ 64839 w 104775"/>
                <a:gd name="connsiteY60" fmla="*/ 35336 h 161925"/>
                <a:gd name="connsiteX61" fmla="*/ 61150 w 104775"/>
                <a:gd name="connsiteY61" fmla="*/ 35336 h 161925"/>
                <a:gd name="connsiteX62" fmla="*/ 61150 w 104775"/>
                <a:gd name="connsiteY62" fmla="*/ 31645 h 161925"/>
                <a:gd name="connsiteX63" fmla="*/ 57460 w 104775"/>
                <a:gd name="connsiteY63" fmla="*/ 35336 h 161925"/>
                <a:gd name="connsiteX64" fmla="*/ 57460 w 104775"/>
                <a:gd name="connsiteY64" fmla="*/ 35336 h 161925"/>
                <a:gd name="connsiteX65" fmla="*/ 50082 w 104775"/>
                <a:gd name="connsiteY65" fmla="*/ 39026 h 161925"/>
                <a:gd name="connsiteX66" fmla="*/ 50082 w 104775"/>
                <a:gd name="connsiteY66" fmla="*/ 39026 h 161925"/>
                <a:gd name="connsiteX67" fmla="*/ 61150 w 104775"/>
                <a:gd name="connsiteY67" fmla="*/ 16882 h 161925"/>
                <a:gd name="connsiteX68" fmla="*/ 64839 w 104775"/>
                <a:gd name="connsiteY68" fmla="*/ 13193 h 161925"/>
                <a:gd name="connsiteX69" fmla="*/ 72217 w 104775"/>
                <a:gd name="connsiteY69" fmla="*/ 9502 h 161925"/>
                <a:gd name="connsiteX70" fmla="*/ 72217 w 104775"/>
                <a:gd name="connsiteY70" fmla="*/ 5812 h 161925"/>
                <a:gd name="connsiteX71" fmla="*/ 75906 w 104775"/>
                <a:gd name="connsiteY71" fmla="*/ 5812 h 161925"/>
                <a:gd name="connsiteX72" fmla="*/ 79596 w 104775"/>
                <a:gd name="connsiteY72" fmla="*/ 5812 h 161925"/>
                <a:gd name="connsiteX73" fmla="*/ 79596 w 104775"/>
                <a:gd name="connsiteY73" fmla="*/ 5812 h 161925"/>
                <a:gd name="connsiteX74" fmla="*/ 83285 w 104775"/>
                <a:gd name="connsiteY74" fmla="*/ 9502 h 161925"/>
                <a:gd name="connsiteX75" fmla="*/ 86974 w 104775"/>
                <a:gd name="connsiteY75" fmla="*/ 13193 h 161925"/>
                <a:gd name="connsiteX76" fmla="*/ 86974 w 104775"/>
                <a:gd name="connsiteY76" fmla="*/ 16882 h 161925"/>
                <a:gd name="connsiteX77" fmla="*/ 86974 w 104775"/>
                <a:gd name="connsiteY77" fmla="*/ 20573 h 161925"/>
                <a:gd name="connsiteX78" fmla="*/ 90663 w 104775"/>
                <a:gd name="connsiteY78" fmla="*/ 20573 h 161925"/>
                <a:gd name="connsiteX79" fmla="*/ 86974 w 104775"/>
                <a:gd name="connsiteY79" fmla="*/ 20573 h 161925"/>
                <a:gd name="connsiteX80" fmla="*/ 86974 w 104775"/>
                <a:gd name="connsiteY80" fmla="*/ 20573 h 161925"/>
                <a:gd name="connsiteX81" fmla="*/ 86974 w 104775"/>
                <a:gd name="connsiteY81" fmla="*/ 24264 h 161925"/>
                <a:gd name="connsiteX82" fmla="*/ 90663 w 104775"/>
                <a:gd name="connsiteY82" fmla="*/ 27954 h 161925"/>
                <a:gd name="connsiteX83" fmla="*/ 90663 w 104775"/>
                <a:gd name="connsiteY83" fmla="*/ 27954 h 161925"/>
                <a:gd name="connsiteX84" fmla="*/ 94352 w 104775"/>
                <a:gd name="connsiteY84" fmla="*/ 31645 h 161925"/>
                <a:gd name="connsiteX85" fmla="*/ 101730 w 104775"/>
                <a:gd name="connsiteY85" fmla="*/ 42717 h 161925"/>
                <a:gd name="connsiteX86" fmla="*/ 101730 w 104775"/>
                <a:gd name="connsiteY86" fmla="*/ 46407 h 161925"/>
                <a:gd name="connsiteX87" fmla="*/ 101730 w 104775"/>
                <a:gd name="connsiteY87" fmla="*/ 46407 h 161925"/>
                <a:gd name="connsiteX88" fmla="*/ 101730 w 104775"/>
                <a:gd name="connsiteY88" fmla="*/ 46407 h 161925"/>
                <a:gd name="connsiteX89" fmla="*/ 101730 w 104775"/>
                <a:gd name="connsiteY89" fmla="*/ 46407 h 161925"/>
                <a:gd name="connsiteX90" fmla="*/ 98041 w 104775"/>
                <a:gd name="connsiteY90" fmla="*/ 50098 h 161925"/>
                <a:gd name="connsiteX91" fmla="*/ 98041 w 104775"/>
                <a:gd name="connsiteY91" fmla="*/ 72242 h 161925"/>
                <a:gd name="connsiteX92" fmla="*/ 98041 w 104775"/>
                <a:gd name="connsiteY92" fmla="*/ 83313 h 161925"/>
                <a:gd name="connsiteX93" fmla="*/ 98041 w 104775"/>
                <a:gd name="connsiteY93" fmla="*/ 87004 h 161925"/>
                <a:gd name="connsiteX94" fmla="*/ 94352 w 104775"/>
                <a:gd name="connsiteY94" fmla="*/ 94385 h 161925"/>
                <a:gd name="connsiteX95" fmla="*/ 90663 w 104775"/>
                <a:gd name="connsiteY95" fmla="*/ 94385 h 161925"/>
                <a:gd name="connsiteX96" fmla="*/ 86974 w 104775"/>
                <a:gd name="connsiteY96" fmla="*/ 98075 h 161925"/>
                <a:gd name="connsiteX97" fmla="*/ 86974 w 104775"/>
                <a:gd name="connsiteY97" fmla="*/ 98075 h 161925"/>
                <a:gd name="connsiteX98" fmla="*/ 86974 w 104775"/>
                <a:gd name="connsiteY98" fmla="*/ 98075 h 161925"/>
                <a:gd name="connsiteX99" fmla="*/ 86974 w 104775"/>
                <a:gd name="connsiteY99" fmla="*/ 105456 h 161925"/>
                <a:gd name="connsiteX100" fmla="*/ 79596 w 104775"/>
                <a:gd name="connsiteY100" fmla="*/ 112837 h 161925"/>
                <a:gd name="connsiteX101" fmla="*/ 79596 w 104775"/>
                <a:gd name="connsiteY101" fmla="*/ 116528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04775" h="161925">
                  <a:moveTo>
                    <a:pt x="79596" y="116528"/>
                  </a:moveTo>
                  <a:lnTo>
                    <a:pt x="72217" y="123909"/>
                  </a:lnTo>
                  <a:lnTo>
                    <a:pt x="68528" y="127600"/>
                  </a:lnTo>
                  <a:lnTo>
                    <a:pt x="64839" y="127600"/>
                  </a:lnTo>
                  <a:lnTo>
                    <a:pt x="61150" y="127600"/>
                  </a:lnTo>
                  <a:lnTo>
                    <a:pt x="57460" y="127600"/>
                  </a:lnTo>
                  <a:lnTo>
                    <a:pt x="46393" y="142362"/>
                  </a:lnTo>
                  <a:lnTo>
                    <a:pt x="46393" y="146053"/>
                  </a:lnTo>
                  <a:lnTo>
                    <a:pt x="46393" y="146053"/>
                  </a:lnTo>
                  <a:lnTo>
                    <a:pt x="46393" y="149743"/>
                  </a:lnTo>
                  <a:lnTo>
                    <a:pt x="42704" y="149743"/>
                  </a:lnTo>
                  <a:lnTo>
                    <a:pt x="39015" y="149743"/>
                  </a:lnTo>
                  <a:lnTo>
                    <a:pt x="35325" y="146053"/>
                  </a:lnTo>
                  <a:lnTo>
                    <a:pt x="27947" y="142362"/>
                  </a:lnTo>
                  <a:lnTo>
                    <a:pt x="24258" y="142362"/>
                  </a:lnTo>
                  <a:lnTo>
                    <a:pt x="27947" y="146053"/>
                  </a:lnTo>
                  <a:lnTo>
                    <a:pt x="31636" y="149743"/>
                  </a:lnTo>
                  <a:lnTo>
                    <a:pt x="31636" y="149743"/>
                  </a:lnTo>
                  <a:lnTo>
                    <a:pt x="35325" y="153434"/>
                  </a:lnTo>
                  <a:lnTo>
                    <a:pt x="39015" y="153434"/>
                  </a:lnTo>
                  <a:lnTo>
                    <a:pt x="31636" y="153434"/>
                  </a:lnTo>
                  <a:lnTo>
                    <a:pt x="31636" y="153434"/>
                  </a:lnTo>
                  <a:lnTo>
                    <a:pt x="31636" y="157125"/>
                  </a:lnTo>
                  <a:lnTo>
                    <a:pt x="31636" y="157125"/>
                  </a:lnTo>
                  <a:lnTo>
                    <a:pt x="31636" y="157125"/>
                  </a:lnTo>
                  <a:lnTo>
                    <a:pt x="24258" y="157125"/>
                  </a:lnTo>
                  <a:lnTo>
                    <a:pt x="20569" y="157125"/>
                  </a:lnTo>
                  <a:lnTo>
                    <a:pt x="24258" y="157125"/>
                  </a:lnTo>
                  <a:lnTo>
                    <a:pt x="20569" y="160815"/>
                  </a:lnTo>
                  <a:lnTo>
                    <a:pt x="16880" y="160815"/>
                  </a:lnTo>
                  <a:lnTo>
                    <a:pt x="13191" y="164506"/>
                  </a:lnTo>
                  <a:lnTo>
                    <a:pt x="9501" y="164506"/>
                  </a:lnTo>
                  <a:lnTo>
                    <a:pt x="9501" y="160815"/>
                  </a:lnTo>
                  <a:lnTo>
                    <a:pt x="9501" y="153434"/>
                  </a:lnTo>
                  <a:lnTo>
                    <a:pt x="5812" y="138672"/>
                  </a:lnTo>
                  <a:lnTo>
                    <a:pt x="5812" y="131290"/>
                  </a:lnTo>
                  <a:lnTo>
                    <a:pt x="5812" y="127600"/>
                  </a:lnTo>
                  <a:lnTo>
                    <a:pt x="9501" y="116528"/>
                  </a:lnTo>
                  <a:lnTo>
                    <a:pt x="9501" y="112837"/>
                  </a:lnTo>
                  <a:lnTo>
                    <a:pt x="9501" y="112837"/>
                  </a:lnTo>
                  <a:lnTo>
                    <a:pt x="13191" y="101766"/>
                  </a:lnTo>
                  <a:lnTo>
                    <a:pt x="16880" y="90695"/>
                  </a:lnTo>
                  <a:lnTo>
                    <a:pt x="20569" y="79623"/>
                  </a:lnTo>
                  <a:lnTo>
                    <a:pt x="24258" y="75932"/>
                  </a:lnTo>
                  <a:lnTo>
                    <a:pt x="31636" y="64860"/>
                  </a:lnTo>
                  <a:lnTo>
                    <a:pt x="39015" y="50098"/>
                  </a:lnTo>
                  <a:lnTo>
                    <a:pt x="50082" y="39026"/>
                  </a:lnTo>
                  <a:lnTo>
                    <a:pt x="50082" y="39026"/>
                  </a:lnTo>
                  <a:lnTo>
                    <a:pt x="50082" y="39026"/>
                  </a:lnTo>
                  <a:lnTo>
                    <a:pt x="50082" y="42717"/>
                  </a:lnTo>
                  <a:lnTo>
                    <a:pt x="50082" y="46407"/>
                  </a:lnTo>
                  <a:lnTo>
                    <a:pt x="53771" y="42717"/>
                  </a:lnTo>
                  <a:lnTo>
                    <a:pt x="53771" y="42717"/>
                  </a:lnTo>
                  <a:lnTo>
                    <a:pt x="53771" y="42717"/>
                  </a:lnTo>
                  <a:lnTo>
                    <a:pt x="57460" y="39026"/>
                  </a:lnTo>
                  <a:lnTo>
                    <a:pt x="57460" y="39026"/>
                  </a:lnTo>
                  <a:lnTo>
                    <a:pt x="61150" y="35336"/>
                  </a:lnTo>
                  <a:lnTo>
                    <a:pt x="64839" y="35336"/>
                  </a:lnTo>
                  <a:lnTo>
                    <a:pt x="64839" y="39026"/>
                  </a:lnTo>
                  <a:lnTo>
                    <a:pt x="64839" y="35336"/>
                  </a:lnTo>
                  <a:lnTo>
                    <a:pt x="64839" y="35336"/>
                  </a:lnTo>
                  <a:lnTo>
                    <a:pt x="61150" y="35336"/>
                  </a:lnTo>
                  <a:lnTo>
                    <a:pt x="61150" y="31645"/>
                  </a:lnTo>
                  <a:lnTo>
                    <a:pt x="57460" y="35336"/>
                  </a:lnTo>
                  <a:lnTo>
                    <a:pt x="57460" y="35336"/>
                  </a:lnTo>
                  <a:lnTo>
                    <a:pt x="50082" y="39026"/>
                  </a:lnTo>
                  <a:lnTo>
                    <a:pt x="50082" y="39026"/>
                  </a:lnTo>
                  <a:lnTo>
                    <a:pt x="61150" y="16882"/>
                  </a:lnTo>
                  <a:lnTo>
                    <a:pt x="64839" y="13193"/>
                  </a:lnTo>
                  <a:lnTo>
                    <a:pt x="72217" y="9502"/>
                  </a:lnTo>
                  <a:lnTo>
                    <a:pt x="72217" y="5812"/>
                  </a:lnTo>
                  <a:lnTo>
                    <a:pt x="75906" y="5812"/>
                  </a:lnTo>
                  <a:lnTo>
                    <a:pt x="79596" y="5812"/>
                  </a:lnTo>
                  <a:lnTo>
                    <a:pt x="79596" y="5812"/>
                  </a:lnTo>
                  <a:lnTo>
                    <a:pt x="83285" y="9502"/>
                  </a:lnTo>
                  <a:lnTo>
                    <a:pt x="86974" y="13193"/>
                  </a:lnTo>
                  <a:lnTo>
                    <a:pt x="86974" y="16882"/>
                  </a:lnTo>
                  <a:lnTo>
                    <a:pt x="86974" y="20573"/>
                  </a:lnTo>
                  <a:lnTo>
                    <a:pt x="90663" y="20573"/>
                  </a:lnTo>
                  <a:lnTo>
                    <a:pt x="86974" y="20573"/>
                  </a:lnTo>
                  <a:lnTo>
                    <a:pt x="86974" y="20573"/>
                  </a:lnTo>
                  <a:lnTo>
                    <a:pt x="86974" y="24264"/>
                  </a:lnTo>
                  <a:lnTo>
                    <a:pt x="90663" y="27954"/>
                  </a:lnTo>
                  <a:lnTo>
                    <a:pt x="90663" y="27954"/>
                  </a:lnTo>
                  <a:lnTo>
                    <a:pt x="94352" y="31645"/>
                  </a:lnTo>
                  <a:lnTo>
                    <a:pt x="101730" y="42717"/>
                  </a:lnTo>
                  <a:lnTo>
                    <a:pt x="101730" y="46407"/>
                  </a:lnTo>
                  <a:lnTo>
                    <a:pt x="101730" y="46407"/>
                  </a:lnTo>
                  <a:lnTo>
                    <a:pt x="101730" y="46407"/>
                  </a:lnTo>
                  <a:lnTo>
                    <a:pt x="101730" y="46407"/>
                  </a:lnTo>
                  <a:lnTo>
                    <a:pt x="98041" y="50098"/>
                  </a:lnTo>
                  <a:lnTo>
                    <a:pt x="98041" y="72242"/>
                  </a:lnTo>
                  <a:lnTo>
                    <a:pt x="98041" y="83313"/>
                  </a:lnTo>
                  <a:lnTo>
                    <a:pt x="98041" y="87004"/>
                  </a:lnTo>
                  <a:lnTo>
                    <a:pt x="94352" y="94385"/>
                  </a:lnTo>
                  <a:lnTo>
                    <a:pt x="90663" y="94385"/>
                  </a:lnTo>
                  <a:lnTo>
                    <a:pt x="86974" y="98075"/>
                  </a:lnTo>
                  <a:lnTo>
                    <a:pt x="86974" y="98075"/>
                  </a:lnTo>
                  <a:lnTo>
                    <a:pt x="86974" y="98075"/>
                  </a:lnTo>
                  <a:lnTo>
                    <a:pt x="86974" y="105456"/>
                  </a:lnTo>
                  <a:lnTo>
                    <a:pt x="79596" y="112837"/>
                  </a:lnTo>
                  <a:lnTo>
                    <a:pt x="79596" y="116528"/>
                  </a:lnTo>
                  <a:close/>
                </a:path>
              </a:pathLst>
            </a:custGeom>
            <a:solidFill>
              <a:srgbClr val="22777B"/>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78" name="Freeform: Shape 77">
              <a:extLst>
                <a:ext uri="{FF2B5EF4-FFF2-40B4-BE49-F238E27FC236}">
                  <a16:creationId xmlns:a16="http://schemas.microsoft.com/office/drawing/2014/main" id="{01836908-DCBC-4DBF-9F18-ED796499E854}"/>
                </a:ext>
              </a:extLst>
            </p:cNvPr>
            <p:cNvSpPr/>
            <p:nvPr/>
          </p:nvSpPr>
          <p:spPr>
            <a:xfrm>
              <a:off x="2167001" y="3134029"/>
              <a:ext cx="107609" cy="92236"/>
            </a:xfrm>
            <a:custGeom>
              <a:avLst/>
              <a:gdLst>
                <a:gd name="connsiteX0" fmla="*/ 64839 w 66675"/>
                <a:gd name="connsiteY0" fmla="*/ 5812 h 57150"/>
                <a:gd name="connsiteX1" fmla="*/ 64839 w 66675"/>
                <a:gd name="connsiteY1" fmla="*/ 5812 h 57150"/>
                <a:gd name="connsiteX2" fmla="*/ 13191 w 66675"/>
                <a:gd name="connsiteY2" fmla="*/ 50098 h 57150"/>
                <a:gd name="connsiteX3" fmla="*/ 9501 w 66675"/>
                <a:gd name="connsiteY3" fmla="*/ 53789 h 57150"/>
                <a:gd name="connsiteX4" fmla="*/ 5812 w 66675"/>
                <a:gd name="connsiteY4" fmla="*/ 53789 h 57150"/>
                <a:gd name="connsiteX5" fmla="*/ 5812 w 66675"/>
                <a:gd name="connsiteY5" fmla="*/ 50098 h 57150"/>
                <a:gd name="connsiteX6" fmla="*/ 13191 w 66675"/>
                <a:gd name="connsiteY6" fmla="*/ 50098 h 57150"/>
                <a:gd name="connsiteX7" fmla="*/ 64839 w 66675"/>
                <a:gd name="connsiteY7" fmla="*/ 581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57150">
                  <a:moveTo>
                    <a:pt x="64839" y="5812"/>
                  </a:moveTo>
                  <a:lnTo>
                    <a:pt x="64839" y="5812"/>
                  </a:lnTo>
                  <a:lnTo>
                    <a:pt x="13191" y="50098"/>
                  </a:lnTo>
                  <a:lnTo>
                    <a:pt x="9501" y="53789"/>
                  </a:lnTo>
                  <a:lnTo>
                    <a:pt x="5812" y="53789"/>
                  </a:lnTo>
                  <a:lnTo>
                    <a:pt x="5812" y="50098"/>
                  </a:lnTo>
                  <a:lnTo>
                    <a:pt x="13191" y="50098"/>
                  </a:lnTo>
                  <a:lnTo>
                    <a:pt x="64839" y="5812"/>
                  </a:lnTo>
                  <a:close/>
                </a:path>
              </a:pathLst>
            </a:custGeom>
            <a:solidFill>
              <a:schemeClr val="accent3">
                <a:lumMod val="20000"/>
                <a:lumOff val="80000"/>
              </a:schemeClr>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79" name="Freeform: Shape 78">
              <a:extLst>
                <a:ext uri="{FF2B5EF4-FFF2-40B4-BE49-F238E27FC236}">
                  <a16:creationId xmlns:a16="http://schemas.microsoft.com/office/drawing/2014/main" id="{CB0332AA-EB6B-470A-8AA3-135DA9B13DD3}"/>
                </a:ext>
              </a:extLst>
            </p:cNvPr>
            <p:cNvSpPr/>
            <p:nvPr/>
          </p:nvSpPr>
          <p:spPr>
            <a:xfrm>
              <a:off x="2577829" y="4700534"/>
              <a:ext cx="538043" cy="1322051"/>
            </a:xfrm>
            <a:custGeom>
              <a:avLst/>
              <a:gdLst>
                <a:gd name="connsiteX0" fmla="*/ 153382 w 333375"/>
                <a:gd name="connsiteY0" fmla="*/ 5812 h 819150"/>
                <a:gd name="connsiteX1" fmla="*/ 149696 w 333375"/>
                <a:gd name="connsiteY1" fmla="*/ 9507 h 819150"/>
                <a:gd name="connsiteX2" fmla="*/ 153382 w 333375"/>
                <a:gd name="connsiteY2" fmla="*/ 13193 h 819150"/>
                <a:gd name="connsiteX3" fmla="*/ 153382 w 333375"/>
                <a:gd name="connsiteY3" fmla="*/ 16889 h 819150"/>
                <a:gd name="connsiteX4" fmla="*/ 153382 w 333375"/>
                <a:gd name="connsiteY4" fmla="*/ 20575 h 819150"/>
                <a:gd name="connsiteX5" fmla="*/ 149696 w 333375"/>
                <a:gd name="connsiteY5" fmla="*/ 20575 h 819150"/>
                <a:gd name="connsiteX6" fmla="*/ 153382 w 333375"/>
                <a:gd name="connsiteY6" fmla="*/ 24271 h 819150"/>
                <a:gd name="connsiteX7" fmla="*/ 157069 w 333375"/>
                <a:gd name="connsiteY7" fmla="*/ 24271 h 819150"/>
                <a:gd name="connsiteX8" fmla="*/ 157069 w 333375"/>
                <a:gd name="connsiteY8" fmla="*/ 27957 h 819150"/>
                <a:gd name="connsiteX9" fmla="*/ 157069 w 333375"/>
                <a:gd name="connsiteY9" fmla="*/ 31653 h 819150"/>
                <a:gd name="connsiteX10" fmla="*/ 160755 w 333375"/>
                <a:gd name="connsiteY10" fmla="*/ 39025 h 819150"/>
                <a:gd name="connsiteX11" fmla="*/ 160755 w 333375"/>
                <a:gd name="connsiteY11" fmla="*/ 46407 h 819150"/>
                <a:gd name="connsiteX12" fmla="*/ 164450 w 333375"/>
                <a:gd name="connsiteY12" fmla="*/ 50103 h 819150"/>
                <a:gd name="connsiteX13" fmla="*/ 171823 w 333375"/>
                <a:gd name="connsiteY13" fmla="*/ 50103 h 819150"/>
                <a:gd name="connsiteX14" fmla="*/ 179205 w 333375"/>
                <a:gd name="connsiteY14" fmla="*/ 53789 h 819150"/>
                <a:gd name="connsiteX15" fmla="*/ 186587 w 333375"/>
                <a:gd name="connsiteY15" fmla="*/ 53789 h 819150"/>
                <a:gd name="connsiteX16" fmla="*/ 190273 w 333375"/>
                <a:gd name="connsiteY16" fmla="*/ 57485 h 819150"/>
                <a:gd name="connsiteX17" fmla="*/ 193959 w 333375"/>
                <a:gd name="connsiteY17" fmla="*/ 57485 h 819150"/>
                <a:gd name="connsiteX18" fmla="*/ 197655 w 333375"/>
                <a:gd name="connsiteY18" fmla="*/ 68553 h 819150"/>
                <a:gd name="connsiteX19" fmla="*/ 197655 w 333375"/>
                <a:gd name="connsiteY19" fmla="*/ 75935 h 819150"/>
                <a:gd name="connsiteX20" fmla="*/ 197655 w 333375"/>
                <a:gd name="connsiteY20" fmla="*/ 79630 h 819150"/>
                <a:gd name="connsiteX21" fmla="*/ 201341 w 333375"/>
                <a:gd name="connsiteY21" fmla="*/ 79630 h 819150"/>
                <a:gd name="connsiteX22" fmla="*/ 201341 w 333375"/>
                <a:gd name="connsiteY22" fmla="*/ 87003 h 819150"/>
                <a:gd name="connsiteX23" fmla="*/ 201341 w 333375"/>
                <a:gd name="connsiteY23" fmla="*/ 90698 h 819150"/>
                <a:gd name="connsiteX24" fmla="*/ 201341 w 333375"/>
                <a:gd name="connsiteY24" fmla="*/ 94384 h 819150"/>
                <a:gd name="connsiteX25" fmla="*/ 201341 w 333375"/>
                <a:gd name="connsiteY25" fmla="*/ 105462 h 819150"/>
                <a:gd name="connsiteX26" fmla="*/ 205027 w 333375"/>
                <a:gd name="connsiteY26" fmla="*/ 109148 h 819150"/>
                <a:gd name="connsiteX27" fmla="*/ 205027 w 333375"/>
                <a:gd name="connsiteY27" fmla="*/ 112844 h 819150"/>
                <a:gd name="connsiteX28" fmla="*/ 216095 w 333375"/>
                <a:gd name="connsiteY28" fmla="*/ 116530 h 819150"/>
                <a:gd name="connsiteX29" fmla="*/ 219791 w 333375"/>
                <a:gd name="connsiteY29" fmla="*/ 120226 h 819150"/>
                <a:gd name="connsiteX30" fmla="*/ 223477 w 333375"/>
                <a:gd name="connsiteY30" fmla="*/ 123912 h 819150"/>
                <a:gd name="connsiteX31" fmla="*/ 227163 w 333375"/>
                <a:gd name="connsiteY31" fmla="*/ 127608 h 819150"/>
                <a:gd name="connsiteX32" fmla="*/ 227163 w 333375"/>
                <a:gd name="connsiteY32" fmla="*/ 131294 h 819150"/>
                <a:gd name="connsiteX33" fmla="*/ 230859 w 333375"/>
                <a:gd name="connsiteY33" fmla="*/ 134980 h 819150"/>
                <a:gd name="connsiteX34" fmla="*/ 230859 w 333375"/>
                <a:gd name="connsiteY34" fmla="*/ 146058 h 819150"/>
                <a:gd name="connsiteX35" fmla="*/ 230859 w 333375"/>
                <a:gd name="connsiteY35" fmla="*/ 149744 h 819150"/>
                <a:gd name="connsiteX36" fmla="*/ 234545 w 333375"/>
                <a:gd name="connsiteY36" fmla="*/ 153439 h 819150"/>
                <a:gd name="connsiteX37" fmla="*/ 238231 w 333375"/>
                <a:gd name="connsiteY37" fmla="*/ 160821 h 819150"/>
                <a:gd name="connsiteX38" fmla="*/ 238231 w 333375"/>
                <a:gd name="connsiteY38" fmla="*/ 164508 h 819150"/>
                <a:gd name="connsiteX39" fmla="*/ 238231 w 333375"/>
                <a:gd name="connsiteY39" fmla="*/ 168203 h 819150"/>
                <a:gd name="connsiteX40" fmla="*/ 238231 w 333375"/>
                <a:gd name="connsiteY40" fmla="*/ 171890 h 819150"/>
                <a:gd name="connsiteX41" fmla="*/ 238231 w 333375"/>
                <a:gd name="connsiteY41" fmla="*/ 175585 h 819150"/>
                <a:gd name="connsiteX42" fmla="*/ 241917 w 333375"/>
                <a:gd name="connsiteY42" fmla="*/ 179271 h 819150"/>
                <a:gd name="connsiteX43" fmla="*/ 238231 w 333375"/>
                <a:gd name="connsiteY43" fmla="*/ 179271 h 819150"/>
                <a:gd name="connsiteX44" fmla="*/ 234545 w 333375"/>
                <a:gd name="connsiteY44" fmla="*/ 179271 h 819150"/>
                <a:gd name="connsiteX45" fmla="*/ 234545 w 333375"/>
                <a:gd name="connsiteY45" fmla="*/ 182957 h 819150"/>
                <a:gd name="connsiteX46" fmla="*/ 227163 w 333375"/>
                <a:gd name="connsiteY46" fmla="*/ 175585 h 819150"/>
                <a:gd name="connsiteX47" fmla="*/ 223477 w 333375"/>
                <a:gd name="connsiteY47" fmla="*/ 171890 h 819150"/>
                <a:gd name="connsiteX48" fmla="*/ 219791 w 333375"/>
                <a:gd name="connsiteY48" fmla="*/ 171890 h 819150"/>
                <a:gd name="connsiteX49" fmla="*/ 219791 w 333375"/>
                <a:gd name="connsiteY49" fmla="*/ 168203 h 819150"/>
                <a:gd name="connsiteX50" fmla="*/ 212409 w 333375"/>
                <a:gd name="connsiteY50" fmla="*/ 171890 h 819150"/>
                <a:gd name="connsiteX51" fmla="*/ 205027 w 333375"/>
                <a:gd name="connsiteY51" fmla="*/ 175585 h 819150"/>
                <a:gd name="connsiteX52" fmla="*/ 193959 w 333375"/>
                <a:gd name="connsiteY52" fmla="*/ 179271 h 819150"/>
                <a:gd name="connsiteX53" fmla="*/ 186587 w 333375"/>
                <a:gd name="connsiteY53" fmla="*/ 182957 h 819150"/>
                <a:gd name="connsiteX54" fmla="*/ 179205 w 333375"/>
                <a:gd name="connsiteY54" fmla="*/ 182957 h 819150"/>
                <a:gd name="connsiteX55" fmla="*/ 171823 w 333375"/>
                <a:gd name="connsiteY55" fmla="*/ 182957 h 819150"/>
                <a:gd name="connsiteX56" fmla="*/ 164450 w 333375"/>
                <a:gd name="connsiteY56" fmla="*/ 179271 h 819150"/>
                <a:gd name="connsiteX57" fmla="*/ 153382 w 333375"/>
                <a:gd name="connsiteY57" fmla="*/ 175585 h 819150"/>
                <a:gd name="connsiteX58" fmla="*/ 138628 w 333375"/>
                <a:gd name="connsiteY58" fmla="*/ 171890 h 819150"/>
                <a:gd name="connsiteX59" fmla="*/ 142314 w 333375"/>
                <a:gd name="connsiteY59" fmla="*/ 205103 h 819150"/>
                <a:gd name="connsiteX60" fmla="*/ 146000 w 333375"/>
                <a:gd name="connsiteY60" fmla="*/ 216181 h 819150"/>
                <a:gd name="connsiteX61" fmla="*/ 146000 w 333375"/>
                <a:gd name="connsiteY61" fmla="*/ 223563 h 819150"/>
                <a:gd name="connsiteX62" fmla="*/ 149696 w 333375"/>
                <a:gd name="connsiteY62" fmla="*/ 230935 h 819150"/>
                <a:gd name="connsiteX63" fmla="*/ 157069 w 333375"/>
                <a:gd name="connsiteY63" fmla="*/ 264158 h 819150"/>
                <a:gd name="connsiteX64" fmla="*/ 157069 w 333375"/>
                <a:gd name="connsiteY64" fmla="*/ 267844 h 819150"/>
                <a:gd name="connsiteX65" fmla="*/ 171823 w 333375"/>
                <a:gd name="connsiteY65" fmla="*/ 293676 h 819150"/>
                <a:gd name="connsiteX66" fmla="*/ 179205 w 333375"/>
                <a:gd name="connsiteY66" fmla="*/ 308440 h 819150"/>
                <a:gd name="connsiteX67" fmla="*/ 186587 w 333375"/>
                <a:gd name="connsiteY67" fmla="*/ 319517 h 819150"/>
                <a:gd name="connsiteX68" fmla="*/ 179205 w 333375"/>
                <a:gd name="connsiteY68" fmla="*/ 323204 h 819150"/>
                <a:gd name="connsiteX69" fmla="*/ 168137 w 333375"/>
                <a:gd name="connsiteY69" fmla="*/ 334272 h 819150"/>
                <a:gd name="connsiteX70" fmla="*/ 160755 w 333375"/>
                <a:gd name="connsiteY70" fmla="*/ 341654 h 819150"/>
                <a:gd name="connsiteX71" fmla="*/ 157069 w 333375"/>
                <a:gd name="connsiteY71" fmla="*/ 341654 h 819150"/>
                <a:gd name="connsiteX72" fmla="*/ 153382 w 333375"/>
                <a:gd name="connsiteY72" fmla="*/ 345349 h 819150"/>
                <a:gd name="connsiteX73" fmla="*/ 149696 w 333375"/>
                <a:gd name="connsiteY73" fmla="*/ 345349 h 819150"/>
                <a:gd name="connsiteX74" fmla="*/ 138628 w 333375"/>
                <a:gd name="connsiteY74" fmla="*/ 349035 h 819150"/>
                <a:gd name="connsiteX75" fmla="*/ 109110 w 333375"/>
                <a:gd name="connsiteY75" fmla="*/ 356417 h 819150"/>
                <a:gd name="connsiteX76" fmla="*/ 105424 w 333375"/>
                <a:gd name="connsiteY76" fmla="*/ 360113 h 819150"/>
                <a:gd name="connsiteX77" fmla="*/ 101728 w 333375"/>
                <a:gd name="connsiteY77" fmla="*/ 360113 h 819150"/>
                <a:gd name="connsiteX78" fmla="*/ 94356 w 333375"/>
                <a:gd name="connsiteY78" fmla="*/ 363799 h 819150"/>
                <a:gd name="connsiteX79" fmla="*/ 75906 w 333375"/>
                <a:gd name="connsiteY79" fmla="*/ 367495 h 819150"/>
                <a:gd name="connsiteX80" fmla="*/ 72220 w 333375"/>
                <a:gd name="connsiteY80" fmla="*/ 367495 h 819150"/>
                <a:gd name="connsiteX81" fmla="*/ 57466 w 333375"/>
                <a:gd name="connsiteY81" fmla="*/ 374867 h 819150"/>
                <a:gd name="connsiteX82" fmla="*/ 46398 w 333375"/>
                <a:gd name="connsiteY82" fmla="*/ 385945 h 819150"/>
                <a:gd name="connsiteX83" fmla="*/ 42702 w 333375"/>
                <a:gd name="connsiteY83" fmla="*/ 393327 h 819150"/>
                <a:gd name="connsiteX84" fmla="*/ 35330 w 333375"/>
                <a:gd name="connsiteY84" fmla="*/ 408090 h 819150"/>
                <a:gd name="connsiteX85" fmla="*/ 31634 w 333375"/>
                <a:gd name="connsiteY85" fmla="*/ 426540 h 819150"/>
                <a:gd name="connsiteX86" fmla="*/ 31634 w 333375"/>
                <a:gd name="connsiteY86" fmla="*/ 441304 h 819150"/>
                <a:gd name="connsiteX87" fmla="*/ 20566 w 333375"/>
                <a:gd name="connsiteY87" fmla="*/ 444990 h 819150"/>
                <a:gd name="connsiteX88" fmla="*/ 16880 w 333375"/>
                <a:gd name="connsiteY88" fmla="*/ 444990 h 819150"/>
                <a:gd name="connsiteX89" fmla="*/ 5812 w 333375"/>
                <a:gd name="connsiteY89" fmla="*/ 448686 h 819150"/>
                <a:gd name="connsiteX90" fmla="*/ 13193 w 333375"/>
                <a:gd name="connsiteY90" fmla="*/ 452372 h 819150"/>
                <a:gd name="connsiteX91" fmla="*/ 42702 w 333375"/>
                <a:gd name="connsiteY91" fmla="*/ 463450 h 819150"/>
                <a:gd name="connsiteX92" fmla="*/ 46398 w 333375"/>
                <a:gd name="connsiteY92" fmla="*/ 467136 h 819150"/>
                <a:gd name="connsiteX93" fmla="*/ 46398 w 333375"/>
                <a:gd name="connsiteY93" fmla="*/ 470822 h 819150"/>
                <a:gd name="connsiteX94" fmla="*/ 50084 w 333375"/>
                <a:gd name="connsiteY94" fmla="*/ 478204 h 819150"/>
                <a:gd name="connsiteX95" fmla="*/ 53770 w 333375"/>
                <a:gd name="connsiteY95" fmla="*/ 474518 h 819150"/>
                <a:gd name="connsiteX96" fmla="*/ 57466 w 333375"/>
                <a:gd name="connsiteY96" fmla="*/ 478204 h 819150"/>
                <a:gd name="connsiteX97" fmla="*/ 61152 w 333375"/>
                <a:gd name="connsiteY97" fmla="*/ 478204 h 819150"/>
                <a:gd name="connsiteX98" fmla="*/ 64838 w 333375"/>
                <a:gd name="connsiteY98" fmla="*/ 478204 h 819150"/>
                <a:gd name="connsiteX99" fmla="*/ 72220 w 333375"/>
                <a:gd name="connsiteY99" fmla="*/ 478204 h 819150"/>
                <a:gd name="connsiteX100" fmla="*/ 75906 w 333375"/>
                <a:gd name="connsiteY100" fmla="*/ 478204 h 819150"/>
                <a:gd name="connsiteX101" fmla="*/ 79602 w 333375"/>
                <a:gd name="connsiteY101" fmla="*/ 478204 h 819150"/>
                <a:gd name="connsiteX102" fmla="*/ 86974 w 333375"/>
                <a:gd name="connsiteY102" fmla="*/ 478204 h 819150"/>
                <a:gd name="connsiteX103" fmla="*/ 90660 w 333375"/>
                <a:gd name="connsiteY103" fmla="*/ 474518 h 819150"/>
                <a:gd name="connsiteX104" fmla="*/ 94356 w 333375"/>
                <a:gd name="connsiteY104" fmla="*/ 474518 h 819150"/>
                <a:gd name="connsiteX105" fmla="*/ 98042 w 333375"/>
                <a:gd name="connsiteY105" fmla="*/ 478204 h 819150"/>
                <a:gd name="connsiteX106" fmla="*/ 105424 w 333375"/>
                <a:gd name="connsiteY106" fmla="*/ 478204 h 819150"/>
                <a:gd name="connsiteX107" fmla="*/ 109110 w 333375"/>
                <a:gd name="connsiteY107" fmla="*/ 481900 h 819150"/>
                <a:gd name="connsiteX108" fmla="*/ 109110 w 333375"/>
                <a:gd name="connsiteY108" fmla="*/ 485586 h 819150"/>
                <a:gd name="connsiteX109" fmla="*/ 112796 w 333375"/>
                <a:gd name="connsiteY109" fmla="*/ 485586 h 819150"/>
                <a:gd name="connsiteX110" fmla="*/ 109110 w 333375"/>
                <a:gd name="connsiteY110" fmla="*/ 489281 h 819150"/>
                <a:gd name="connsiteX111" fmla="*/ 105424 w 333375"/>
                <a:gd name="connsiteY111" fmla="*/ 489281 h 819150"/>
                <a:gd name="connsiteX112" fmla="*/ 105424 w 333375"/>
                <a:gd name="connsiteY112" fmla="*/ 492968 h 819150"/>
                <a:gd name="connsiteX113" fmla="*/ 109110 w 333375"/>
                <a:gd name="connsiteY113" fmla="*/ 492968 h 819150"/>
                <a:gd name="connsiteX114" fmla="*/ 109110 w 333375"/>
                <a:gd name="connsiteY114" fmla="*/ 496663 h 819150"/>
                <a:gd name="connsiteX115" fmla="*/ 109110 w 333375"/>
                <a:gd name="connsiteY115" fmla="*/ 500350 h 819150"/>
                <a:gd name="connsiteX116" fmla="*/ 109110 w 333375"/>
                <a:gd name="connsiteY116" fmla="*/ 504045 h 819150"/>
                <a:gd name="connsiteX117" fmla="*/ 112796 w 333375"/>
                <a:gd name="connsiteY117" fmla="*/ 504045 h 819150"/>
                <a:gd name="connsiteX118" fmla="*/ 112796 w 333375"/>
                <a:gd name="connsiteY118" fmla="*/ 500350 h 819150"/>
                <a:gd name="connsiteX119" fmla="*/ 116492 w 333375"/>
                <a:gd name="connsiteY119" fmla="*/ 500350 h 819150"/>
                <a:gd name="connsiteX120" fmla="*/ 120178 w 333375"/>
                <a:gd name="connsiteY120" fmla="*/ 500350 h 819150"/>
                <a:gd name="connsiteX121" fmla="*/ 120178 w 333375"/>
                <a:gd name="connsiteY121" fmla="*/ 496663 h 819150"/>
                <a:gd name="connsiteX122" fmla="*/ 123864 w 333375"/>
                <a:gd name="connsiteY122" fmla="*/ 496663 h 819150"/>
                <a:gd name="connsiteX123" fmla="*/ 127560 w 333375"/>
                <a:gd name="connsiteY123" fmla="*/ 496663 h 819150"/>
                <a:gd name="connsiteX124" fmla="*/ 127560 w 333375"/>
                <a:gd name="connsiteY124" fmla="*/ 492968 h 819150"/>
                <a:gd name="connsiteX125" fmla="*/ 134933 w 333375"/>
                <a:gd name="connsiteY125" fmla="*/ 489281 h 819150"/>
                <a:gd name="connsiteX126" fmla="*/ 134933 w 333375"/>
                <a:gd name="connsiteY126" fmla="*/ 492968 h 819150"/>
                <a:gd name="connsiteX127" fmla="*/ 138628 w 333375"/>
                <a:gd name="connsiteY127" fmla="*/ 492968 h 819150"/>
                <a:gd name="connsiteX128" fmla="*/ 138628 w 333375"/>
                <a:gd name="connsiteY128" fmla="*/ 500350 h 819150"/>
                <a:gd name="connsiteX129" fmla="*/ 149696 w 333375"/>
                <a:gd name="connsiteY129" fmla="*/ 507731 h 819150"/>
                <a:gd name="connsiteX130" fmla="*/ 146000 w 333375"/>
                <a:gd name="connsiteY130" fmla="*/ 511427 h 819150"/>
                <a:gd name="connsiteX131" fmla="*/ 142314 w 333375"/>
                <a:gd name="connsiteY131" fmla="*/ 515113 h 819150"/>
                <a:gd name="connsiteX132" fmla="*/ 142314 w 333375"/>
                <a:gd name="connsiteY132" fmla="*/ 518799 h 819150"/>
                <a:gd name="connsiteX133" fmla="*/ 134933 w 333375"/>
                <a:gd name="connsiteY133" fmla="*/ 522495 h 819150"/>
                <a:gd name="connsiteX134" fmla="*/ 131246 w 333375"/>
                <a:gd name="connsiteY134" fmla="*/ 522495 h 819150"/>
                <a:gd name="connsiteX135" fmla="*/ 131246 w 333375"/>
                <a:gd name="connsiteY135" fmla="*/ 526181 h 819150"/>
                <a:gd name="connsiteX136" fmla="*/ 127560 w 333375"/>
                <a:gd name="connsiteY136" fmla="*/ 529877 h 819150"/>
                <a:gd name="connsiteX137" fmla="*/ 123864 w 333375"/>
                <a:gd name="connsiteY137" fmla="*/ 533563 h 819150"/>
                <a:gd name="connsiteX138" fmla="*/ 127560 w 333375"/>
                <a:gd name="connsiteY138" fmla="*/ 537259 h 819150"/>
                <a:gd name="connsiteX139" fmla="*/ 134933 w 333375"/>
                <a:gd name="connsiteY139" fmla="*/ 537259 h 819150"/>
                <a:gd name="connsiteX140" fmla="*/ 138628 w 333375"/>
                <a:gd name="connsiteY140" fmla="*/ 540945 h 819150"/>
                <a:gd name="connsiteX141" fmla="*/ 138628 w 333375"/>
                <a:gd name="connsiteY141" fmla="*/ 544641 h 819150"/>
                <a:gd name="connsiteX142" fmla="*/ 134933 w 333375"/>
                <a:gd name="connsiteY142" fmla="*/ 548327 h 819150"/>
                <a:gd name="connsiteX143" fmla="*/ 134933 w 333375"/>
                <a:gd name="connsiteY143" fmla="*/ 552023 h 819150"/>
                <a:gd name="connsiteX144" fmla="*/ 131246 w 333375"/>
                <a:gd name="connsiteY144" fmla="*/ 552023 h 819150"/>
                <a:gd name="connsiteX145" fmla="*/ 127560 w 333375"/>
                <a:gd name="connsiteY145" fmla="*/ 548327 h 819150"/>
                <a:gd name="connsiteX146" fmla="*/ 123864 w 333375"/>
                <a:gd name="connsiteY146" fmla="*/ 548327 h 819150"/>
                <a:gd name="connsiteX147" fmla="*/ 120178 w 333375"/>
                <a:gd name="connsiteY147" fmla="*/ 548327 h 819150"/>
                <a:gd name="connsiteX148" fmla="*/ 120178 w 333375"/>
                <a:gd name="connsiteY148" fmla="*/ 552023 h 819150"/>
                <a:gd name="connsiteX149" fmla="*/ 120178 w 333375"/>
                <a:gd name="connsiteY149" fmla="*/ 555709 h 819150"/>
                <a:gd name="connsiteX150" fmla="*/ 123864 w 333375"/>
                <a:gd name="connsiteY150" fmla="*/ 559395 h 819150"/>
                <a:gd name="connsiteX151" fmla="*/ 123864 w 333375"/>
                <a:gd name="connsiteY151" fmla="*/ 563091 h 819150"/>
                <a:gd name="connsiteX152" fmla="*/ 120178 w 333375"/>
                <a:gd name="connsiteY152" fmla="*/ 563091 h 819150"/>
                <a:gd name="connsiteX153" fmla="*/ 120178 w 333375"/>
                <a:gd name="connsiteY153" fmla="*/ 566777 h 819150"/>
                <a:gd name="connsiteX154" fmla="*/ 123864 w 333375"/>
                <a:gd name="connsiteY154" fmla="*/ 574159 h 819150"/>
                <a:gd name="connsiteX155" fmla="*/ 120178 w 333375"/>
                <a:gd name="connsiteY155" fmla="*/ 574159 h 819150"/>
                <a:gd name="connsiteX156" fmla="*/ 120178 w 333375"/>
                <a:gd name="connsiteY156" fmla="*/ 577854 h 819150"/>
                <a:gd name="connsiteX157" fmla="*/ 116492 w 333375"/>
                <a:gd name="connsiteY157" fmla="*/ 577854 h 819150"/>
                <a:gd name="connsiteX158" fmla="*/ 109110 w 333375"/>
                <a:gd name="connsiteY158" fmla="*/ 574159 h 819150"/>
                <a:gd name="connsiteX159" fmla="*/ 105424 w 333375"/>
                <a:gd name="connsiteY159" fmla="*/ 585236 h 819150"/>
                <a:gd name="connsiteX160" fmla="*/ 105424 w 333375"/>
                <a:gd name="connsiteY160" fmla="*/ 592618 h 819150"/>
                <a:gd name="connsiteX161" fmla="*/ 101728 w 333375"/>
                <a:gd name="connsiteY161" fmla="*/ 596304 h 819150"/>
                <a:gd name="connsiteX162" fmla="*/ 101728 w 333375"/>
                <a:gd name="connsiteY162" fmla="*/ 600000 h 819150"/>
                <a:gd name="connsiteX163" fmla="*/ 105424 w 333375"/>
                <a:gd name="connsiteY163" fmla="*/ 600000 h 819150"/>
                <a:gd name="connsiteX164" fmla="*/ 109110 w 333375"/>
                <a:gd name="connsiteY164" fmla="*/ 603686 h 819150"/>
                <a:gd name="connsiteX165" fmla="*/ 109110 w 333375"/>
                <a:gd name="connsiteY165" fmla="*/ 607373 h 819150"/>
                <a:gd name="connsiteX166" fmla="*/ 105424 w 333375"/>
                <a:gd name="connsiteY166" fmla="*/ 614754 h 819150"/>
                <a:gd name="connsiteX167" fmla="*/ 105424 w 333375"/>
                <a:gd name="connsiteY167" fmla="*/ 618450 h 819150"/>
                <a:gd name="connsiteX168" fmla="*/ 105424 w 333375"/>
                <a:gd name="connsiteY168" fmla="*/ 622136 h 819150"/>
                <a:gd name="connsiteX169" fmla="*/ 105424 w 333375"/>
                <a:gd name="connsiteY169" fmla="*/ 625832 h 819150"/>
                <a:gd name="connsiteX170" fmla="*/ 101728 w 333375"/>
                <a:gd name="connsiteY170" fmla="*/ 629518 h 819150"/>
                <a:gd name="connsiteX171" fmla="*/ 98042 w 333375"/>
                <a:gd name="connsiteY171" fmla="*/ 633214 h 819150"/>
                <a:gd name="connsiteX172" fmla="*/ 94356 w 333375"/>
                <a:gd name="connsiteY172" fmla="*/ 640596 h 819150"/>
                <a:gd name="connsiteX173" fmla="*/ 90660 w 333375"/>
                <a:gd name="connsiteY173" fmla="*/ 640596 h 819150"/>
                <a:gd name="connsiteX174" fmla="*/ 86974 w 333375"/>
                <a:gd name="connsiteY174" fmla="*/ 647977 h 819150"/>
                <a:gd name="connsiteX175" fmla="*/ 83288 w 333375"/>
                <a:gd name="connsiteY175" fmla="*/ 655350 h 819150"/>
                <a:gd name="connsiteX176" fmla="*/ 83288 w 333375"/>
                <a:gd name="connsiteY176" fmla="*/ 659046 h 819150"/>
                <a:gd name="connsiteX177" fmla="*/ 86974 w 333375"/>
                <a:gd name="connsiteY177" fmla="*/ 659046 h 819150"/>
                <a:gd name="connsiteX178" fmla="*/ 90660 w 333375"/>
                <a:gd name="connsiteY178" fmla="*/ 659046 h 819150"/>
                <a:gd name="connsiteX179" fmla="*/ 94356 w 333375"/>
                <a:gd name="connsiteY179" fmla="*/ 655350 h 819150"/>
                <a:gd name="connsiteX180" fmla="*/ 98042 w 333375"/>
                <a:gd name="connsiteY180" fmla="*/ 655350 h 819150"/>
                <a:gd name="connsiteX181" fmla="*/ 101728 w 333375"/>
                <a:gd name="connsiteY181" fmla="*/ 659046 h 819150"/>
                <a:gd name="connsiteX182" fmla="*/ 101728 w 333375"/>
                <a:gd name="connsiteY182" fmla="*/ 662732 h 819150"/>
                <a:gd name="connsiteX183" fmla="*/ 94356 w 333375"/>
                <a:gd name="connsiteY183" fmla="*/ 666428 h 819150"/>
                <a:gd name="connsiteX184" fmla="*/ 94356 w 333375"/>
                <a:gd name="connsiteY184" fmla="*/ 670114 h 819150"/>
                <a:gd name="connsiteX185" fmla="*/ 94356 w 333375"/>
                <a:gd name="connsiteY185" fmla="*/ 673809 h 819150"/>
                <a:gd name="connsiteX186" fmla="*/ 86974 w 333375"/>
                <a:gd name="connsiteY186" fmla="*/ 681191 h 819150"/>
                <a:gd name="connsiteX187" fmla="*/ 86974 w 333375"/>
                <a:gd name="connsiteY187" fmla="*/ 684877 h 819150"/>
                <a:gd name="connsiteX188" fmla="*/ 83288 w 333375"/>
                <a:gd name="connsiteY188" fmla="*/ 688573 h 819150"/>
                <a:gd name="connsiteX189" fmla="*/ 86974 w 333375"/>
                <a:gd name="connsiteY189" fmla="*/ 692259 h 819150"/>
                <a:gd name="connsiteX190" fmla="*/ 83288 w 333375"/>
                <a:gd name="connsiteY190" fmla="*/ 695955 h 819150"/>
                <a:gd name="connsiteX191" fmla="*/ 79602 w 333375"/>
                <a:gd name="connsiteY191" fmla="*/ 695955 h 819150"/>
                <a:gd name="connsiteX192" fmla="*/ 75906 w 333375"/>
                <a:gd name="connsiteY192" fmla="*/ 695955 h 819150"/>
                <a:gd name="connsiteX193" fmla="*/ 72220 w 333375"/>
                <a:gd name="connsiteY193" fmla="*/ 695955 h 819150"/>
                <a:gd name="connsiteX194" fmla="*/ 68534 w 333375"/>
                <a:gd name="connsiteY194" fmla="*/ 699641 h 819150"/>
                <a:gd name="connsiteX195" fmla="*/ 68534 w 333375"/>
                <a:gd name="connsiteY195" fmla="*/ 703327 h 819150"/>
                <a:gd name="connsiteX196" fmla="*/ 68534 w 333375"/>
                <a:gd name="connsiteY196" fmla="*/ 707023 h 819150"/>
                <a:gd name="connsiteX197" fmla="*/ 61152 w 333375"/>
                <a:gd name="connsiteY197" fmla="*/ 714405 h 819150"/>
                <a:gd name="connsiteX198" fmla="*/ 61152 w 333375"/>
                <a:gd name="connsiteY198" fmla="*/ 718091 h 819150"/>
                <a:gd name="connsiteX199" fmla="*/ 57466 w 333375"/>
                <a:gd name="connsiteY199" fmla="*/ 718091 h 819150"/>
                <a:gd name="connsiteX200" fmla="*/ 53770 w 333375"/>
                <a:gd name="connsiteY200" fmla="*/ 721787 h 819150"/>
                <a:gd name="connsiteX201" fmla="*/ 50084 w 333375"/>
                <a:gd name="connsiteY201" fmla="*/ 721787 h 819150"/>
                <a:gd name="connsiteX202" fmla="*/ 50084 w 333375"/>
                <a:gd name="connsiteY202" fmla="*/ 725473 h 819150"/>
                <a:gd name="connsiteX203" fmla="*/ 46398 w 333375"/>
                <a:gd name="connsiteY203" fmla="*/ 725473 h 819150"/>
                <a:gd name="connsiteX204" fmla="*/ 42702 w 333375"/>
                <a:gd name="connsiteY204" fmla="*/ 725473 h 819150"/>
                <a:gd name="connsiteX205" fmla="*/ 46398 w 333375"/>
                <a:gd name="connsiteY205" fmla="*/ 729169 h 819150"/>
                <a:gd name="connsiteX206" fmla="*/ 42702 w 333375"/>
                <a:gd name="connsiteY206" fmla="*/ 732855 h 819150"/>
                <a:gd name="connsiteX207" fmla="*/ 42702 w 333375"/>
                <a:gd name="connsiteY207" fmla="*/ 736551 h 819150"/>
                <a:gd name="connsiteX208" fmla="*/ 42702 w 333375"/>
                <a:gd name="connsiteY208" fmla="*/ 740237 h 819150"/>
                <a:gd name="connsiteX209" fmla="*/ 42702 w 333375"/>
                <a:gd name="connsiteY209" fmla="*/ 743932 h 819150"/>
                <a:gd name="connsiteX210" fmla="*/ 42702 w 333375"/>
                <a:gd name="connsiteY210" fmla="*/ 747619 h 819150"/>
                <a:gd name="connsiteX211" fmla="*/ 42702 w 333375"/>
                <a:gd name="connsiteY211" fmla="*/ 751305 h 819150"/>
                <a:gd name="connsiteX212" fmla="*/ 42702 w 333375"/>
                <a:gd name="connsiteY212" fmla="*/ 755000 h 819150"/>
                <a:gd name="connsiteX213" fmla="*/ 46398 w 333375"/>
                <a:gd name="connsiteY213" fmla="*/ 755000 h 819150"/>
                <a:gd name="connsiteX214" fmla="*/ 46398 w 333375"/>
                <a:gd name="connsiteY214" fmla="*/ 758687 h 819150"/>
                <a:gd name="connsiteX215" fmla="*/ 46398 w 333375"/>
                <a:gd name="connsiteY215" fmla="*/ 762382 h 819150"/>
                <a:gd name="connsiteX216" fmla="*/ 50084 w 333375"/>
                <a:gd name="connsiteY216" fmla="*/ 762382 h 819150"/>
                <a:gd name="connsiteX217" fmla="*/ 50084 w 333375"/>
                <a:gd name="connsiteY217" fmla="*/ 766069 h 819150"/>
                <a:gd name="connsiteX218" fmla="*/ 53770 w 333375"/>
                <a:gd name="connsiteY218" fmla="*/ 769764 h 819150"/>
                <a:gd name="connsiteX219" fmla="*/ 57466 w 333375"/>
                <a:gd name="connsiteY219" fmla="*/ 769764 h 819150"/>
                <a:gd name="connsiteX220" fmla="*/ 61152 w 333375"/>
                <a:gd name="connsiteY220" fmla="*/ 769764 h 819150"/>
                <a:gd name="connsiteX221" fmla="*/ 61152 w 333375"/>
                <a:gd name="connsiteY221" fmla="*/ 773450 h 819150"/>
                <a:gd name="connsiteX222" fmla="*/ 68534 w 333375"/>
                <a:gd name="connsiteY222" fmla="*/ 773450 h 819150"/>
                <a:gd name="connsiteX223" fmla="*/ 72220 w 333375"/>
                <a:gd name="connsiteY223" fmla="*/ 777146 h 819150"/>
                <a:gd name="connsiteX224" fmla="*/ 72220 w 333375"/>
                <a:gd name="connsiteY224" fmla="*/ 780832 h 819150"/>
                <a:gd name="connsiteX225" fmla="*/ 68534 w 333375"/>
                <a:gd name="connsiteY225" fmla="*/ 784528 h 819150"/>
                <a:gd name="connsiteX226" fmla="*/ 72220 w 333375"/>
                <a:gd name="connsiteY226" fmla="*/ 795596 h 819150"/>
                <a:gd name="connsiteX227" fmla="*/ 72220 w 333375"/>
                <a:gd name="connsiteY227" fmla="*/ 802978 h 819150"/>
                <a:gd name="connsiteX228" fmla="*/ 64838 w 333375"/>
                <a:gd name="connsiteY228" fmla="*/ 814046 h 819150"/>
                <a:gd name="connsiteX229" fmla="*/ 64838 w 333375"/>
                <a:gd name="connsiteY229" fmla="*/ 817742 h 819150"/>
                <a:gd name="connsiteX230" fmla="*/ 68534 w 333375"/>
                <a:gd name="connsiteY230" fmla="*/ 817742 h 819150"/>
                <a:gd name="connsiteX231" fmla="*/ 72220 w 333375"/>
                <a:gd name="connsiteY231" fmla="*/ 817742 h 819150"/>
                <a:gd name="connsiteX232" fmla="*/ 75906 w 333375"/>
                <a:gd name="connsiteY232" fmla="*/ 814046 h 819150"/>
                <a:gd name="connsiteX233" fmla="*/ 79602 w 333375"/>
                <a:gd name="connsiteY233" fmla="*/ 814046 h 819150"/>
                <a:gd name="connsiteX234" fmla="*/ 83288 w 333375"/>
                <a:gd name="connsiteY234" fmla="*/ 810360 h 819150"/>
                <a:gd name="connsiteX235" fmla="*/ 83288 w 333375"/>
                <a:gd name="connsiteY235" fmla="*/ 814046 h 819150"/>
                <a:gd name="connsiteX236" fmla="*/ 86974 w 333375"/>
                <a:gd name="connsiteY236" fmla="*/ 817742 h 819150"/>
                <a:gd name="connsiteX237" fmla="*/ 90660 w 333375"/>
                <a:gd name="connsiteY237" fmla="*/ 817742 h 819150"/>
                <a:gd name="connsiteX238" fmla="*/ 94356 w 333375"/>
                <a:gd name="connsiteY238" fmla="*/ 814046 h 819150"/>
                <a:gd name="connsiteX239" fmla="*/ 94356 w 333375"/>
                <a:gd name="connsiteY239" fmla="*/ 810360 h 819150"/>
                <a:gd name="connsiteX240" fmla="*/ 98042 w 333375"/>
                <a:gd name="connsiteY240" fmla="*/ 806664 h 819150"/>
                <a:gd name="connsiteX241" fmla="*/ 105424 w 333375"/>
                <a:gd name="connsiteY241" fmla="*/ 795596 h 819150"/>
                <a:gd name="connsiteX242" fmla="*/ 112796 w 333375"/>
                <a:gd name="connsiteY242" fmla="*/ 795596 h 819150"/>
                <a:gd name="connsiteX243" fmla="*/ 112796 w 333375"/>
                <a:gd name="connsiteY243" fmla="*/ 802978 h 819150"/>
                <a:gd name="connsiteX244" fmla="*/ 116492 w 333375"/>
                <a:gd name="connsiteY244" fmla="*/ 810360 h 819150"/>
                <a:gd name="connsiteX245" fmla="*/ 120178 w 333375"/>
                <a:gd name="connsiteY245" fmla="*/ 806664 h 819150"/>
                <a:gd name="connsiteX246" fmla="*/ 127560 w 333375"/>
                <a:gd name="connsiteY246" fmla="*/ 817742 h 819150"/>
                <a:gd name="connsiteX247" fmla="*/ 131246 w 333375"/>
                <a:gd name="connsiteY247" fmla="*/ 817742 h 819150"/>
                <a:gd name="connsiteX248" fmla="*/ 134933 w 333375"/>
                <a:gd name="connsiteY248" fmla="*/ 814046 h 819150"/>
                <a:gd name="connsiteX249" fmla="*/ 138628 w 333375"/>
                <a:gd name="connsiteY249" fmla="*/ 817742 h 819150"/>
                <a:gd name="connsiteX250" fmla="*/ 142314 w 333375"/>
                <a:gd name="connsiteY250" fmla="*/ 814046 h 819150"/>
                <a:gd name="connsiteX251" fmla="*/ 146000 w 333375"/>
                <a:gd name="connsiteY251" fmla="*/ 810360 h 819150"/>
                <a:gd name="connsiteX252" fmla="*/ 146000 w 333375"/>
                <a:gd name="connsiteY252" fmla="*/ 814046 h 819150"/>
                <a:gd name="connsiteX253" fmla="*/ 146000 w 333375"/>
                <a:gd name="connsiteY253" fmla="*/ 821428 h 819150"/>
                <a:gd name="connsiteX254" fmla="*/ 149696 w 333375"/>
                <a:gd name="connsiteY254" fmla="*/ 817742 h 819150"/>
                <a:gd name="connsiteX255" fmla="*/ 153382 w 333375"/>
                <a:gd name="connsiteY255" fmla="*/ 814046 h 819150"/>
                <a:gd name="connsiteX256" fmla="*/ 153382 w 333375"/>
                <a:gd name="connsiteY256" fmla="*/ 810360 h 819150"/>
                <a:gd name="connsiteX257" fmla="*/ 157069 w 333375"/>
                <a:gd name="connsiteY257" fmla="*/ 810360 h 819150"/>
                <a:gd name="connsiteX258" fmla="*/ 160755 w 333375"/>
                <a:gd name="connsiteY258" fmla="*/ 810360 h 819150"/>
                <a:gd name="connsiteX259" fmla="*/ 168137 w 333375"/>
                <a:gd name="connsiteY259" fmla="*/ 806664 h 819150"/>
                <a:gd name="connsiteX260" fmla="*/ 168137 w 333375"/>
                <a:gd name="connsiteY260" fmla="*/ 810360 h 819150"/>
                <a:gd name="connsiteX261" fmla="*/ 168137 w 333375"/>
                <a:gd name="connsiteY261" fmla="*/ 817742 h 819150"/>
                <a:gd name="connsiteX262" fmla="*/ 175518 w 333375"/>
                <a:gd name="connsiteY262" fmla="*/ 821428 h 819150"/>
                <a:gd name="connsiteX263" fmla="*/ 175518 w 333375"/>
                <a:gd name="connsiteY263" fmla="*/ 817742 h 819150"/>
                <a:gd name="connsiteX264" fmla="*/ 179205 w 333375"/>
                <a:gd name="connsiteY264" fmla="*/ 817742 h 819150"/>
                <a:gd name="connsiteX265" fmla="*/ 182891 w 333375"/>
                <a:gd name="connsiteY265" fmla="*/ 817742 h 819150"/>
                <a:gd name="connsiteX266" fmla="*/ 182891 w 333375"/>
                <a:gd name="connsiteY266" fmla="*/ 821428 h 819150"/>
                <a:gd name="connsiteX267" fmla="*/ 190273 w 333375"/>
                <a:gd name="connsiteY267" fmla="*/ 817742 h 819150"/>
                <a:gd name="connsiteX268" fmla="*/ 193959 w 333375"/>
                <a:gd name="connsiteY268" fmla="*/ 814046 h 819150"/>
                <a:gd name="connsiteX269" fmla="*/ 197655 w 333375"/>
                <a:gd name="connsiteY269" fmla="*/ 814046 h 819150"/>
                <a:gd name="connsiteX270" fmla="*/ 201341 w 333375"/>
                <a:gd name="connsiteY270" fmla="*/ 814046 h 819150"/>
                <a:gd name="connsiteX271" fmla="*/ 205027 w 333375"/>
                <a:gd name="connsiteY271" fmla="*/ 814046 h 819150"/>
                <a:gd name="connsiteX272" fmla="*/ 208723 w 333375"/>
                <a:gd name="connsiteY272" fmla="*/ 814046 h 819150"/>
                <a:gd name="connsiteX273" fmla="*/ 212409 w 333375"/>
                <a:gd name="connsiteY273" fmla="*/ 817742 h 819150"/>
                <a:gd name="connsiteX274" fmla="*/ 219791 w 333375"/>
                <a:gd name="connsiteY274" fmla="*/ 821428 h 819150"/>
                <a:gd name="connsiteX275" fmla="*/ 223477 w 333375"/>
                <a:gd name="connsiteY275" fmla="*/ 821428 h 819150"/>
                <a:gd name="connsiteX276" fmla="*/ 223477 w 333375"/>
                <a:gd name="connsiteY276" fmla="*/ 817742 h 819150"/>
                <a:gd name="connsiteX277" fmla="*/ 230859 w 333375"/>
                <a:gd name="connsiteY277" fmla="*/ 817742 h 819150"/>
                <a:gd name="connsiteX278" fmla="*/ 234545 w 333375"/>
                <a:gd name="connsiteY278" fmla="*/ 817742 h 819150"/>
                <a:gd name="connsiteX279" fmla="*/ 234545 w 333375"/>
                <a:gd name="connsiteY279" fmla="*/ 810360 h 819150"/>
                <a:gd name="connsiteX280" fmla="*/ 238231 w 333375"/>
                <a:gd name="connsiteY280" fmla="*/ 802978 h 819150"/>
                <a:gd name="connsiteX281" fmla="*/ 227163 w 333375"/>
                <a:gd name="connsiteY281" fmla="*/ 795596 h 819150"/>
                <a:gd name="connsiteX282" fmla="*/ 223477 w 333375"/>
                <a:gd name="connsiteY282" fmla="*/ 795596 h 819150"/>
                <a:gd name="connsiteX283" fmla="*/ 219791 w 333375"/>
                <a:gd name="connsiteY283" fmla="*/ 791910 h 819150"/>
                <a:gd name="connsiteX284" fmla="*/ 219791 w 333375"/>
                <a:gd name="connsiteY284" fmla="*/ 788214 h 819150"/>
                <a:gd name="connsiteX285" fmla="*/ 216095 w 333375"/>
                <a:gd name="connsiteY285" fmla="*/ 788214 h 819150"/>
                <a:gd name="connsiteX286" fmla="*/ 212409 w 333375"/>
                <a:gd name="connsiteY286" fmla="*/ 784528 h 819150"/>
                <a:gd name="connsiteX287" fmla="*/ 212409 w 333375"/>
                <a:gd name="connsiteY287" fmla="*/ 780832 h 819150"/>
                <a:gd name="connsiteX288" fmla="*/ 212409 w 333375"/>
                <a:gd name="connsiteY288" fmla="*/ 777146 h 819150"/>
                <a:gd name="connsiteX289" fmla="*/ 216095 w 333375"/>
                <a:gd name="connsiteY289" fmla="*/ 773450 h 819150"/>
                <a:gd name="connsiteX290" fmla="*/ 219791 w 333375"/>
                <a:gd name="connsiteY290" fmla="*/ 777146 h 819150"/>
                <a:gd name="connsiteX291" fmla="*/ 227163 w 333375"/>
                <a:gd name="connsiteY291" fmla="*/ 780832 h 819150"/>
                <a:gd name="connsiteX292" fmla="*/ 230859 w 333375"/>
                <a:gd name="connsiteY292" fmla="*/ 773450 h 819150"/>
                <a:gd name="connsiteX293" fmla="*/ 234545 w 333375"/>
                <a:gd name="connsiteY293" fmla="*/ 769764 h 819150"/>
                <a:gd name="connsiteX294" fmla="*/ 234545 w 333375"/>
                <a:gd name="connsiteY294" fmla="*/ 766069 h 819150"/>
                <a:gd name="connsiteX295" fmla="*/ 238231 w 333375"/>
                <a:gd name="connsiteY295" fmla="*/ 766069 h 819150"/>
                <a:gd name="connsiteX296" fmla="*/ 234545 w 333375"/>
                <a:gd name="connsiteY296" fmla="*/ 762382 h 819150"/>
                <a:gd name="connsiteX297" fmla="*/ 234545 w 333375"/>
                <a:gd name="connsiteY297" fmla="*/ 758687 h 819150"/>
                <a:gd name="connsiteX298" fmla="*/ 230859 w 333375"/>
                <a:gd name="connsiteY298" fmla="*/ 755000 h 819150"/>
                <a:gd name="connsiteX299" fmla="*/ 230859 w 333375"/>
                <a:gd name="connsiteY299" fmla="*/ 751305 h 819150"/>
                <a:gd name="connsiteX300" fmla="*/ 230859 w 333375"/>
                <a:gd name="connsiteY300" fmla="*/ 747619 h 819150"/>
                <a:gd name="connsiteX301" fmla="*/ 234545 w 333375"/>
                <a:gd name="connsiteY301" fmla="*/ 743932 h 819150"/>
                <a:gd name="connsiteX302" fmla="*/ 241917 w 333375"/>
                <a:gd name="connsiteY302" fmla="*/ 743932 h 819150"/>
                <a:gd name="connsiteX303" fmla="*/ 245613 w 333375"/>
                <a:gd name="connsiteY303" fmla="*/ 740237 h 819150"/>
                <a:gd name="connsiteX304" fmla="*/ 249299 w 333375"/>
                <a:gd name="connsiteY304" fmla="*/ 740237 h 819150"/>
                <a:gd name="connsiteX305" fmla="*/ 249299 w 333375"/>
                <a:gd name="connsiteY305" fmla="*/ 736551 h 819150"/>
                <a:gd name="connsiteX306" fmla="*/ 252985 w 333375"/>
                <a:gd name="connsiteY306" fmla="*/ 736551 h 819150"/>
                <a:gd name="connsiteX307" fmla="*/ 252985 w 333375"/>
                <a:gd name="connsiteY307" fmla="*/ 740237 h 819150"/>
                <a:gd name="connsiteX308" fmla="*/ 260367 w 333375"/>
                <a:gd name="connsiteY308" fmla="*/ 743932 h 819150"/>
                <a:gd name="connsiteX309" fmla="*/ 260367 w 333375"/>
                <a:gd name="connsiteY309" fmla="*/ 736551 h 819150"/>
                <a:gd name="connsiteX310" fmla="*/ 260367 w 333375"/>
                <a:gd name="connsiteY310" fmla="*/ 732855 h 819150"/>
                <a:gd name="connsiteX311" fmla="*/ 264053 w 333375"/>
                <a:gd name="connsiteY311" fmla="*/ 732855 h 819150"/>
                <a:gd name="connsiteX312" fmla="*/ 264053 w 333375"/>
                <a:gd name="connsiteY312" fmla="*/ 729169 h 819150"/>
                <a:gd name="connsiteX313" fmla="*/ 267749 w 333375"/>
                <a:gd name="connsiteY313" fmla="*/ 725473 h 819150"/>
                <a:gd name="connsiteX314" fmla="*/ 267749 w 333375"/>
                <a:gd name="connsiteY314" fmla="*/ 718091 h 819150"/>
                <a:gd name="connsiteX315" fmla="*/ 264053 w 333375"/>
                <a:gd name="connsiteY315" fmla="*/ 714405 h 819150"/>
                <a:gd name="connsiteX316" fmla="*/ 264053 w 333375"/>
                <a:gd name="connsiteY316" fmla="*/ 718091 h 819150"/>
                <a:gd name="connsiteX317" fmla="*/ 260367 w 333375"/>
                <a:gd name="connsiteY317" fmla="*/ 710709 h 819150"/>
                <a:gd name="connsiteX318" fmla="*/ 260367 w 333375"/>
                <a:gd name="connsiteY318" fmla="*/ 707023 h 819150"/>
                <a:gd name="connsiteX319" fmla="*/ 260367 w 333375"/>
                <a:gd name="connsiteY319" fmla="*/ 703327 h 819150"/>
                <a:gd name="connsiteX320" fmla="*/ 264053 w 333375"/>
                <a:gd name="connsiteY320" fmla="*/ 699641 h 819150"/>
                <a:gd name="connsiteX321" fmla="*/ 264053 w 333375"/>
                <a:gd name="connsiteY321" fmla="*/ 695955 h 819150"/>
                <a:gd name="connsiteX322" fmla="*/ 267749 w 333375"/>
                <a:gd name="connsiteY322" fmla="*/ 692259 h 819150"/>
                <a:gd name="connsiteX323" fmla="*/ 267749 w 333375"/>
                <a:gd name="connsiteY323" fmla="*/ 688573 h 819150"/>
                <a:gd name="connsiteX324" fmla="*/ 264053 w 333375"/>
                <a:gd name="connsiteY324" fmla="*/ 684877 h 819150"/>
                <a:gd name="connsiteX325" fmla="*/ 260367 w 333375"/>
                <a:gd name="connsiteY325" fmla="*/ 684877 h 819150"/>
                <a:gd name="connsiteX326" fmla="*/ 256681 w 333375"/>
                <a:gd name="connsiteY326" fmla="*/ 684877 h 819150"/>
                <a:gd name="connsiteX327" fmla="*/ 249299 w 333375"/>
                <a:gd name="connsiteY327" fmla="*/ 684877 h 819150"/>
                <a:gd name="connsiteX328" fmla="*/ 249299 w 333375"/>
                <a:gd name="connsiteY328" fmla="*/ 681191 h 819150"/>
                <a:gd name="connsiteX329" fmla="*/ 249299 w 333375"/>
                <a:gd name="connsiteY329" fmla="*/ 677496 h 819150"/>
                <a:gd name="connsiteX330" fmla="*/ 245613 w 333375"/>
                <a:gd name="connsiteY330" fmla="*/ 681191 h 819150"/>
                <a:gd name="connsiteX331" fmla="*/ 241917 w 333375"/>
                <a:gd name="connsiteY331" fmla="*/ 677496 h 819150"/>
                <a:gd name="connsiteX332" fmla="*/ 230859 w 333375"/>
                <a:gd name="connsiteY332" fmla="*/ 673809 h 819150"/>
                <a:gd name="connsiteX333" fmla="*/ 230859 w 333375"/>
                <a:gd name="connsiteY333" fmla="*/ 666428 h 819150"/>
                <a:gd name="connsiteX334" fmla="*/ 230859 w 333375"/>
                <a:gd name="connsiteY334" fmla="*/ 662732 h 819150"/>
                <a:gd name="connsiteX335" fmla="*/ 223477 w 333375"/>
                <a:gd name="connsiteY335" fmla="*/ 659046 h 819150"/>
                <a:gd name="connsiteX336" fmla="*/ 227163 w 333375"/>
                <a:gd name="connsiteY336" fmla="*/ 655350 h 819150"/>
                <a:gd name="connsiteX337" fmla="*/ 230859 w 333375"/>
                <a:gd name="connsiteY337" fmla="*/ 655350 h 819150"/>
                <a:gd name="connsiteX338" fmla="*/ 230859 w 333375"/>
                <a:gd name="connsiteY338" fmla="*/ 651664 h 819150"/>
                <a:gd name="connsiteX339" fmla="*/ 234545 w 333375"/>
                <a:gd name="connsiteY339" fmla="*/ 636900 h 819150"/>
                <a:gd name="connsiteX340" fmla="*/ 230859 w 333375"/>
                <a:gd name="connsiteY340" fmla="*/ 636900 h 819150"/>
                <a:gd name="connsiteX341" fmla="*/ 216095 w 333375"/>
                <a:gd name="connsiteY341" fmla="*/ 636900 h 819150"/>
                <a:gd name="connsiteX342" fmla="*/ 212409 w 333375"/>
                <a:gd name="connsiteY342" fmla="*/ 636900 h 819150"/>
                <a:gd name="connsiteX343" fmla="*/ 208723 w 333375"/>
                <a:gd name="connsiteY343" fmla="*/ 640596 h 819150"/>
                <a:gd name="connsiteX344" fmla="*/ 205027 w 333375"/>
                <a:gd name="connsiteY344" fmla="*/ 640596 h 819150"/>
                <a:gd name="connsiteX345" fmla="*/ 201341 w 333375"/>
                <a:gd name="connsiteY345" fmla="*/ 636900 h 819150"/>
                <a:gd name="connsiteX346" fmla="*/ 201341 w 333375"/>
                <a:gd name="connsiteY346" fmla="*/ 633214 h 819150"/>
                <a:gd name="connsiteX347" fmla="*/ 197655 w 333375"/>
                <a:gd name="connsiteY347" fmla="*/ 633214 h 819150"/>
                <a:gd name="connsiteX348" fmla="*/ 190273 w 333375"/>
                <a:gd name="connsiteY348" fmla="*/ 636900 h 819150"/>
                <a:gd name="connsiteX349" fmla="*/ 186587 w 333375"/>
                <a:gd name="connsiteY349" fmla="*/ 636900 h 819150"/>
                <a:gd name="connsiteX350" fmla="*/ 182891 w 333375"/>
                <a:gd name="connsiteY350" fmla="*/ 640596 h 819150"/>
                <a:gd name="connsiteX351" fmla="*/ 179205 w 333375"/>
                <a:gd name="connsiteY351" fmla="*/ 640596 h 819150"/>
                <a:gd name="connsiteX352" fmla="*/ 175518 w 333375"/>
                <a:gd name="connsiteY352" fmla="*/ 644282 h 819150"/>
                <a:gd name="connsiteX353" fmla="*/ 171823 w 333375"/>
                <a:gd name="connsiteY353" fmla="*/ 644282 h 819150"/>
                <a:gd name="connsiteX354" fmla="*/ 168137 w 333375"/>
                <a:gd name="connsiteY354" fmla="*/ 640596 h 819150"/>
                <a:gd name="connsiteX355" fmla="*/ 175518 w 333375"/>
                <a:gd name="connsiteY355" fmla="*/ 633214 h 819150"/>
                <a:gd name="connsiteX356" fmla="*/ 175518 w 333375"/>
                <a:gd name="connsiteY356" fmla="*/ 622136 h 819150"/>
                <a:gd name="connsiteX357" fmla="*/ 171823 w 333375"/>
                <a:gd name="connsiteY357" fmla="*/ 622136 h 819150"/>
                <a:gd name="connsiteX358" fmla="*/ 168137 w 333375"/>
                <a:gd name="connsiteY358" fmla="*/ 618450 h 819150"/>
                <a:gd name="connsiteX359" fmla="*/ 168137 w 333375"/>
                <a:gd name="connsiteY359" fmla="*/ 614754 h 819150"/>
                <a:gd name="connsiteX360" fmla="*/ 164450 w 333375"/>
                <a:gd name="connsiteY360" fmla="*/ 614754 h 819150"/>
                <a:gd name="connsiteX361" fmla="*/ 164450 w 333375"/>
                <a:gd name="connsiteY361" fmla="*/ 611068 h 819150"/>
                <a:gd name="connsiteX362" fmla="*/ 160755 w 333375"/>
                <a:gd name="connsiteY362" fmla="*/ 611068 h 819150"/>
                <a:gd name="connsiteX363" fmla="*/ 160755 w 333375"/>
                <a:gd name="connsiteY363" fmla="*/ 607373 h 819150"/>
                <a:gd name="connsiteX364" fmla="*/ 160755 w 333375"/>
                <a:gd name="connsiteY364" fmla="*/ 603686 h 819150"/>
                <a:gd name="connsiteX365" fmla="*/ 160755 w 333375"/>
                <a:gd name="connsiteY365" fmla="*/ 600000 h 819150"/>
                <a:gd name="connsiteX366" fmla="*/ 160755 w 333375"/>
                <a:gd name="connsiteY366" fmla="*/ 592618 h 819150"/>
                <a:gd name="connsiteX367" fmla="*/ 157069 w 333375"/>
                <a:gd name="connsiteY367" fmla="*/ 588923 h 819150"/>
                <a:gd name="connsiteX368" fmla="*/ 153382 w 333375"/>
                <a:gd name="connsiteY368" fmla="*/ 581541 h 819150"/>
                <a:gd name="connsiteX369" fmla="*/ 157069 w 333375"/>
                <a:gd name="connsiteY369" fmla="*/ 581541 h 819150"/>
                <a:gd name="connsiteX370" fmla="*/ 164450 w 333375"/>
                <a:gd name="connsiteY370" fmla="*/ 581541 h 819150"/>
                <a:gd name="connsiteX371" fmla="*/ 168137 w 333375"/>
                <a:gd name="connsiteY371" fmla="*/ 581541 h 819150"/>
                <a:gd name="connsiteX372" fmla="*/ 168137 w 333375"/>
                <a:gd name="connsiteY372" fmla="*/ 577854 h 819150"/>
                <a:gd name="connsiteX373" fmla="*/ 175518 w 333375"/>
                <a:gd name="connsiteY373" fmla="*/ 574159 h 819150"/>
                <a:gd name="connsiteX374" fmla="*/ 179205 w 333375"/>
                <a:gd name="connsiteY374" fmla="*/ 570473 h 819150"/>
                <a:gd name="connsiteX375" fmla="*/ 179205 w 333375"/>
                <a:gd name="connsiteY375" fmla="*/ 574159 h 819150"/>
                <a:gd name="connsiteX376" fmla="*/ 186587 w 333375"/>
                <a:gd name="connsiteY376" fmla="*/ 585236 h 819150"/>
                <a:gd name="connsiteX377" fmla="*/ 190273 w 333375"/>
                <a:gd name="connsiteY377" fmla="*/ 592618 h 819150"/>
                <a:gd name="connsiteX378" fmla="*/ 190273 w 333375"/>
                <a:gd name="connsiteY378" fmla="*/ 596304 h 819150"/>
                <a:gd name="connsiteX379" fmla="*/ 193959 w 333375"/>
                <a:gd name="connsiteY379" fmla="*/ 592618 h 819150"/>
                <a:gd name="connsiteX380" fmla="*/ 197655 w 333375"/>
                <a:gd name="connsiteY380" fmla="*/ 592618 h 819150"/>
                <a:gd name="connsiteX381" fmla="*/ 197655 w 333375"/>
                <a:gd name="connsiteY381" fmla="*/ 596304 h 819150"/>
                <a:gd name="connsiteX382" fmla="*/ 201341 w 333375"/>
                <a:gd name="connsiteY382" fmla="*/ 596304 h 819150"/>
                <a:gd name="connsiteX383" fmla="*/ 201341 w 333375"/>
                <a:gd name="connsiteY383" fmla="*/ 592618 h 819150"/>
                <a:gd name="connsiteX384" fmla="*/ 205027 w 333375"/>
                <a:gd name="connsiteY384" fmla="*/ 588923 h 819150"/>
                <a:gd name="connsiteX385" fmla="*/ 205027 w 333375"/>
                <a:gd name="connsiteY385" fmla="*/ 585236 h 819150"/>
                <a:gd name="connsiteX386" fmla="*/ 208723 w 333375"/>
                <a:gd name="connsiteY386" fmla="*/ 581541 h 819150"/>
                <a:gd name="connsiteX387" fmla="*/ 208723 w 333375"/>
                <a:gd name="connsiteY387" fmla="*/ 577854 h 819150"/>
                <a:gd name="connsiteX388" fmla="*/ 208723 w 333375"/>
                <a:gd name="connsiteY388" fmla="*/ 574159 h 819150"/>
                <a:gd name="connsiteX389" fmla="*/ 212409 w 333375"/>
                <a:gd name="connsiteY389" fmla="*/ 570473 h 819150"/>
                <a:gd name="connsiteX390" fmla="*/ 212409 w 333375"/>
                <a:gd name="connsiteY390" fmla="*/ 566777 h 819150"/>
                <a:gd name="connsiteX391" fmla="*/ 216095 w 333375"/>
                <a:gd name="connsiteY391" fmla="*/ 563091 h 819150"/>
                <a:gd name="connsiteX392" fmla="*/ 216095 w 333375"/>
                <a:gd name="connsiteY392" fmla="*/ 559395 h 819150"/>
                <a:gd name="connsiteX393" fmla="*/ 219791 w 333375"/>
                <a:gd name="connsiteY393" fmla="*/ 555709 h 819150"/>
                <a:gd name="connsiteX394" fmla="*/ 227163 w 333375"/>
                <a:gd name="connsiteY394" fmla="*/ 552023 h 819150"/>
                <a:gd name="connsiteX395" fmla="*/ 230859 w 333375"/>
                <a:gd name="connsiteY395" fmla="*/ 548327 h 819150"/>
                <a:gd name="connsiteX396" fmla="*/ 238231 w 333375"/>
                <a:gd name="connsiteY396" fmla="*/ 544641 h 819150"/>
                <a:gd name="connsiteX397" fmla="*/ 241917 w 333375"/>
                <a:gd name="connsiteY397" fmla="*/ 544641 h 819150"/>
                <a:gd name="connsiteX398" fmla="*/ 245613 w 333375"/>
                <a:gd name="connsiteY398" fmla="*/ 540945 h 819150"/>
                <a:gd name="connsiteX399" fmla="*/ 249299 w 333375"/>
                <a:gd name="connsiteY399" fmla="*/ 537259 h 819150"/>
                <a:gd name="connsiteX400" fmla="*/ 249299 w 333375"/>
                <a:gd name="connsiteY400" fmla="*/ 533563 h 819150"/>
                <a:gd name="connsiteX401" fmla="*/ 252985 w 333375"/>
                <a:gd name="connsiteY401" fmla="*/ 529877 h 819150"/>
                <a:gd name="connsiteX402" fmla="*/ 256681 w 333375"/>
                <a:gd name="connsiteY402" fmla="*/ 529877 h 819150"/>
                <a:gd name="connsiteX403" fmla="*/ 260367 w 333375"/>
                <a:gd name="connsiteY403" fmla="*/ 529877 h 819150"/>
                <a:gd name="connsiteX404" fmla="*/ 264053 w 333375"/>
                <a:gd name="connsiteY404" fmla="*/ 526181 h 819150"/>
                <a:gd name="connsiteX405" fmla="*/ 264053 w 333375"/>
                <a:gd name="connsiteY405" fmla="*/ 522495 h 819150"/>
                <a:gd name="connsiteX406" fmla="*/ 264053 w 333375"/>
                <a:gd name="connsiteY406" fmla="*/ 518799 h 819150"/>
                <a:gd name="connsiteX407" fmla="*/ 267749 w 333375"/>
                <a:gd name="connsiteY407" fmla="*/ 515113 h 819150"/>
                <a:gd name="connsiteX408" fmla="*/ 271435 w 333375"/>
                <a:gd name="connsiteY408" fmla="*/ 515113 h 819150"/>
                <a:gd name="connsiteX409" fmla="*/ 275121 w 333375"/>
                <a:gd name="connsiteY409" fmla="*/ 515113 h 819150"/>
                <a:gd name="connsiteX410" fmla="*/ 278817 w 333375"/>
                <a:gd name="connsiteY410" fmla="*/ 511427 h 819150"/>
                <a:gd name="connsiteX411" fmla="*/ 282503 w 333375"/>
                <a:gd name="connsiteY411" fmla="*/ 511427 h 819150"/>
                <a:gd name="connsiteX412" fmla="*/ 282503 w 333375"/>
                <a:gd name="connsiteY412" fmla="*/ 507731 h 819150"/>
                <a:gd name="connsiteX413" fmla="*/ 289885 w 333375"/>
                <a:gd name="connsiteY413" fmla="*/ 507731 h 819150"/>
                <a:gd name="connsiteX414" fmla="*/ 293571 w 333375"/>
                <a:gd name="connsiteY414" fmla="*/ 504045 h 819150"/>
                <a:gd name="connsiteX415" fmla="*/ 297258 w 333375"/>
                <a:gd name="connsiteY415" fmla="*/ 504045 h 819150"/>
                <a:gd name="connsiteX416" fmla="*/ 304639 w 333375"/>
                <a:gd name="connsiteY416" fmla="*/ 504045 h 819150"/>
                <a:gd name="connsiteX417" fmla="*/ 300944 w 333375"/>
                <a:gd name="connsiteY417" fmla="*/ 500350 h 819150"/>
                <a:gd name="connsiteX418" fmla="*/ 304639 w 333375"/>
                <a:gd name="connsiteY418" fmla="*/ 500350 h 819150"/>
                <a:gd name="connsiteX419" fmla="*/ 308326 w 333375"/>
                <a:gd name="connsiteY419" fmla="*/ 496663 h 819150"/>
                <a:gd name="connsiteX420" fmla="*/ 293571 w 333375"/>
                <a:gd name="connsiteY420" fmla="*/ 485586 h 819150"/>
                <a:gd name="connsiteX421" fmla="*/ 289885 w 333375"/>
                <a:gd name="connsiteY421" fmla="*/ 485586 h 819150"/>
                <a:gd name="connsiteX422" fmla="*/ 312012 w 333375"/>
                <a:gd name="connsiteY422" fmla="*/ 474518 h 819150"/>
                <a:gd name="connsiteX423" fmla="*/ 304639 w 333375"/>
                <a:gd name="connsiteY423" fmla="*/ 467136 h 819150"/>
                <a:gd name="connsiteX424" fmla="*/ 282503 w 333375"/>
                <a:gd name="connsiteY424" fmla="*/ 478204 h 819150"/>
                <a:gd name="connsiteX425" fmla="*/ 278817 w 333375"/>
                <a:gd name="connsiteY425" fmla="*/ 481900 h 819150"/>
                <a:gd name="connsiteX426" fmla="*/ 275121 w 333375"/>
                <a:gd name="connsiteY426" fmla="*/ 485586 h 819150"/>
                <a:gd name="connsiteX427" fmla="*/ 271435 w 333375"/>
                <a:gd name="connsiteY427" fmla="*/ 485586 h 819150"/>
                <a:gd name="connsiteX428" fmla="*/ 267749 w 333375"/>
                <a:gd name="connsiteY428" fmla="*/ 485586 h 819150"/>
                <a:gd name="connsiteX429" fmla="*/ 260367 w 333375"/>
                <a:gd name="connsiteY429" fmla="*/ 485586 h 819150"/>
                <a:gd name="connsiteX430" fmla="*/ 260367 w 333375"/>
                <a:gd name="connsiteY430" fmla="*/ 481900 h 819150"/>
                <a:gd name="connsiteX431" fmla="*/ 256681 w 333375"/>
                <a:gd name="connsiteY431" fmla="*/ 478204 h 819150"/>
                <a:gd name="connsiteX432" fmla="*/ 256681 w 333375"/>
                <a:gd name="connsiteY432" fmla="*/ 452372 h 819150"/>
                <a:gd name="connsiteX433" fmla="*/ 252985 w 333375"/>
                <a:gd name="connsiteY433" fmla="*/ 448686 h 819150"/>
                <a:gd name="connsiteX434" fmla="*/ 256681 w 333375"/>
                <a:gd name="connsiteY434" fmla="*/ 444990 h 819150"/>
                <a:gd name="connsiteX435" fmla="*/ 264053 w 333375"/>
                <a:gd name="connsiteY435" fmla="*/ 444990 h 819150"/>
                <a:gd name="connsiteX436" fmla="*/ 256681 w 333375"/>
                <a:gd name="connsiteY436" fmla="*/ 430227 h 819150"/>
                <a:gd name="connsiteX437" fmla="*/ 264053 w 333375"/>
                <a:gd name="connsiteY437" fmla="*/ 426540 h 819150"/>
                <a:gd name="connsiteX438" fmla="*/ 267749 w 333375"/>
                <a:gd name="connsiteY438" fmla="*/ 419158 h 819150"/>
                <a:gd name="connsiteX439" fmla="*/ 282503 w 333375"/>
                <a:gd name="connsiteY439" fmla="*/ 404395 h 819150"/>
                <a:gd name="connsiteX440" fmla="*/ 282503 w 333375"/>
                <a:gd name="connsiteY440" fmla="*/ 400709 h 819150"/>
                <a:gd name="connsiteX441" fmla="*/ 286189 w 333375"/>
                <a:gd name="connsiteY441" fmla="*/ 397013 h 819150"/>
                <a:gd name="connsiteX442" fmla="*/ 293571 w 333375"/>
                <a:gd name="connsiteY442" fmla="*/ 385945 h 819150"/>
                <a:gd name="connsiteX443" fmla="*/ 297258 w 333375"/>
                <a:gd name="connsiteY443" fmla="*/ 378563 h 819150"/>
                <a:gd name="connsiteX444" fmla="*/ 297258 w 333375"/>
                <a:gd name="connsiteY444" fmla="*/ 374867 h 819150"/>
                <a:gd name="connsiteX445" fmla="*/ 300944 w 333375"/>
                <a:gd name="connsiteY445" fmla="*/ 371181 h 819150"/>
                <a:gd name="connsiteX446" fmla="*/ 300944 w 333375"/>
                <a:gd name="connsiteY446" fmla="*/ 367495 h 819150"/>
                <a:gd name="connsiteX447" fmla="*/ 300944 w 333375"/>
                <a:gd name="connsiteY447" fmla="*/ 363799 h 819150"/>
                <a:gd name="connsiteX448" fmla="*/ 304639 w 333375"/>
                <a:gd name="connsiteY448" fmla="*/ 360113 h 819150"/>
                <a:gd name="connsiteX449" fmla="*/ 304639 w 333375"/>
                <a:gd name="connsiteY449" fmla="*/ 356417 h 819150"/>
                <a:gd name="connsiteX450" fmla="*/ 308326 w 333375"/>
                <a:gd name="connsiteY450" fmla="*/ 356417 h 819150"/>
                <a:gd name="connsiteX451" fmla="*/ 312012 w 333375"/>
                <a:gd name="connsiteY451" fmla="*/ 356417 h 819150"/>
                <a:gd name="connsiteX452" fmla="*/ 315707 w 333375"/>
                <a:gd name="connsiteY452" fmla="*/ 356417 h 819150"/>
                <a:gd name="connsiteX453" fmla="*/ 315707 w 333375"/>
                <a:gd name="connsiteY453" fmla="*/ 352731 h 819150"/>
                <a:gd name="connsiteX454" fmla="*/ 334148 w 333375"/>
                <a:gd name="connsiteY454" fmla="*/ 334272 h 819150"/>
                <a:gd name="connsiteX455" fmla="*/ 330462 w 333375"/>
                <a:gd name="connsiteY455" fmla="*/ 323204 h 819150"/>
                <a:gd name="connsiteX456" fmla="*/ 326775 w 333375"/>
                <a:gd name="connsiteY456" fmla="*/ 315822 h 819150"/>
                <a:gd name="connsiteX457" fmla="*/ 326775 w 333375"/>
                <a:gd name="connsiteY457" fmla="*/ 312136 h 819150"/>
                <a:gd name="connsiteX458" fmla="*/ 330462 w 333375"/>
                <a:gd name="connsiteY458" fmla="*/ 308440 h 819150"/>
                <a:gd name="connsiteX459" fmla="*/ 334148 w 333375"/>
                <a:gd name="connsiteY459" fmla="*/ 304754 h 819150"/>
                <a:gd name="connsiteX460" fmla="*/ 323080 w 333375"/>
                <a:gd name="connsiteY460" fmla="*/ 304754 h 819150"/>
                <a:gd name="connsiteX461" fmla="*/ 323080 w 333375"/>
                <a:gd name="connsiteY461" fmla="*/ 301058 h 819150"/>
                <a:gd name="connsiteX462" fmla="*/ 326775 w 333375"/>
                <a:gd name="connsiteY462" fmla="*/ 278912 h 819150"/>
                <a:gd name="connsiteX463" fmla="*/ 326775 w 333375"/>
                <a:gd name="connsiteY463" fmla="*/ 267844 h 819150"/>
                <a:gd name="connsiteX464" fmla="*/ 330462 w 333375"/>
                <a:gd name="connsiteY464" fmla="*/ 267844 h 819150"/>
                <a:gd name="connsiteX465" fmla="*/ 326775 w 333375"/>
                <a:gd name="connsiteY465" fmla="*/ 260462 h 819150"/>
                <a:gd name="connsiteX466" fmla="*/ 330462 w 333375"/>
                <a:gd name="connsiteY466" fmla="*/ 256776 h 819150"/>
                <a:gd name="connsiteX467" fmla="*/ 330462 w 333375"/>
                <a:gd name="connsiteY467" fmla="*/ 245699 h 819150"/>
                <a:gd name="connsiteX468" fmla="*/ 326775 w 333375"/>
                <a:gd name="connsiteY468" fmla="*/ 238317 h 819150"/>
                <a:gd name="connsiteX469" fmla="*/ 323080 w 333375"/>
                <a:gd name="connsiteY469" fmla="*/ 230935 h 819150"/>
                <a:gd name="connsiteX470" fmla="*/ 326775 w 333375"/>
                <a:gd name="connsiteY470" fmla="*/ 223563 h 819150"/>
                <a:gd name="connsiteX471" fmla="*/ 323080 w 333375"/>
                <a:gd name="connsiteY471" fmla="*/ 219867 h 819150"/>
                <a:gd name="connsiteX472" fmla="*/ 323080 w 333375"/>
                <a:gd name="connsiteY472" fmla="*/ 212485 h 819150"/>
                <a:gd name="connsiteX473" fmla="*/ 323080 w 333375"/>
                <a:gd name="connsiteY473" fmla="*/ 208799 h 819150"/>
                <a:gd name="connsiteX474" fmla="*/ 319394 w 333375"/>
                <a:gd name="connsiteY474" fmla="*/ 201417 h 819150"/>
                <a:gd name="connsiteX475" fmla="*/ 312012 w 333375"/>
                <a:gd name="connsiteY475" fmla="*/ 197721 h 819150"/>
                <a:gd name="connsiteX476" fmla="*/ 304639 w 333375"/>
                <a:gd name="connsiteY476" fmla="*/ 194035 h 819150"/>
                <a:gd name="connsiteX477" fmla="*/ 297258 w 333375"/>
                <a:gd name="connsiteY477" fmla="*/ 171890 h 819150"/>
                <a:gd name="connsiteX478" fmla="*/ 289885 w 333375"/>
                <a:gd name="connsiteY478" fmla="*/ 168203 h 819150"/>
                <a:gd name="connsiteX479" fmla="*/ 286189 w 333375"/>
                <a:gd name="connsiteY479" fmla="*/ 164508 h 819150"/>
                <a:gd name="connsiteX480" fmla="*/ 282503 w 333375"/>
                <a:gd name="connsiteY480" fmla="*/ 160821 h 819150"/>
                <a:gd name="connsiteX481" fmla="*/ 278817 w 333375"/>
                <a:gd name="connsiteY481" fmla="*/ 153439 h 819150"/>
                <a:gd name="connsiteX482" fmla="*/ 278817 w 333375"/>
                <a:gd name="connsiteY482" fmla="*/ 149744 h 819150"/>
                <a:gd name="connsiteX483" fmla="*/ 275121 w 333375"/>
                <a:gd name="connsiteY483" fmla="*/ 149744 h 819150"/>
                <a:gd name="connsiteX484" fmla="*/ 264053 w 333375"/>
                <a:gd name="connsiteY484" fmla="*/ 142362 h 819150"/>
                <a:gd name="connsiteX485" fmla="*/ 264053 w 333375"/>
                <a:gd name="connsiteY485" fmla="*/ 134980 h 819150"/>
                <a:gd name="connsiteX486" fmla="*/ 264053 w 333375"/>
                <a:gd name="connsiteY486" fmla="*/ 127608 h 819150"/>
                <a:gd name="connsiteX487" fmla="*/ 267749 w 333375"/>
                <a:gd name="connsiteY487" fmla="*/ 127608 h 819150"/>
                <a:gd name="connsiteX488" fmla="*/ 267749 w 333375"/>
                <a:gd name="connsiteY488" fmla="*/ 123912 h 819150"/>
                <a:gd name="connsiteX489" fmla="*/ 271435 w 333375"/>
                <a:gd name="connsiteY489" fmla="*/ 112844 h 819150"/>
                <a:gd name="connsiteX490" fmla="*/ 271435 w 333375"/>
                <a:gd name="connsiteY490" fmla="*/ 109148 h 819150"/>
                <a:gd name="connsiteX491" fmla="*/ 275121 w 333375"/>
                <a:gd name="connsiteY491" fmla="*/ 105462 h 819150"/>
                <a:gd name="connsiteX492" fmla="*/ 275121 w 333375"/>
                <a:gd name="connsiteY492" fmla="*/ 101766 h 819150"/>
                <a:gd name="connsiteX493" fmla="*/ 267749 w 333375"/>
                <a:gd name="connsiteY493" fmla="*/ 98080 h 819150"/>
                <a:gd name="connsiteX494" fmla="*/ 264053 w 333375"/>
                <a:gd name="connsiteY494" fmla="*/ 98080 h 819150"/>
                <a:gd name="connsiteX495" fmla="*/ 260367 w 333375"/>
                <a:gd name="connsiteY495" fmla="*/ 98080 h 819150"/>
                <a:gd name="connsiteX496" fmla="*/ 260367 w 333375"/>
                <a:gd name="connsiteY496" fmla="*/ 94384 h 819150"/>
                <a:gd name="connsiteX497" fmla="*/ 256681 w 333375"/>
                <a:gd name="connsiteY497" fmla="*/ 94384 h 819150"/>
                <a:gd name="connsiteX498" fmla="*/ 252985 w 333375"/>
                <a:gd name="connsiteY498" fmla="*/ 94384 h 819150"/>
                <a:gd name="connsiteX499" fmla="*/ 234545 w 333375"/>
                <a:gd name="connsiteY499" fmla="*/ 87003 h 819150"/>
                <a:gd name="connsiteX500" fmla="*/ 230859 w 333375"/>
                <a:gd name="connsiteY500" fmla="*/ 83316 h 819150"/>
                <a:gd name="connsiteX501" fmla="*/ 230859 w 333375"/>
                <a:gd name="connsiteY501" fmla="*/ 79630 h 819150"/>
                <a:gd name="connsiteX502" fmla="*/ 230859 w 333375"/>
                <a:gd name="connsiteY502" fmla="*/ 75935 h 819150"/>
                <a:gd name="connsiteX503" fmla="*/ 234545 w 333375"/>
                <a:gd name="connsiteY503" fmla="*/ 72248 h 819150"/>
                <a:gd name="connsiteX504" fmla="*/ 230859 w 333375"/>
                <a:gd name="connsiteY504" fmla="*/ 68553 h 819150"/>
                <a:gd name="connsiteX505" fmla="*/ 230859 w 333375"/>
                <a:gd name="connsiteY505" fmla="*/ 64867 h 819150"/>
                <a:gd name="connsiteX506" fmla="*/ 230859 w 333375"/>
                <a:gd name="connsiteY506" fmla="*/ 57485 h 819150"/>
                <a:gd name="connsiteX507" fmla="*/ 234545 w 333375"/>
                <a:gd name="connsiteY507" fmla="*/ 57485 h 819150"/>
                <a:gd name="connsiteX508" fmla="*/ 238231 w 333375"/>
                <a:gd name="connsiteY508" fmla="*/ 57485 h 819150"/>
                <a:gd name="connsiteX509" fmla="*/ 238231 w 333375"/>
                <a:gd name="connsiteY509" fmla="*/ 53789 h 819150"/>
                <a:gd name="connsiteX510" fmla="*/ 234545 w 333375"/>
                <a:gd name="connsiteY510" fmla="*/ 53789 h 819150"/>
                <a:gd name="connsiteX511" fmla="*/ 234545 w 333375"/>
                <a:gd name="connsiteY511" fmla="*/ 50103 h 819150"/>
                <a:gd name="connsiteX512" fmla="*/ 234545 w 333375"/>
                <a:gd name="connsiteY512" fmla="*/ 46407 h 819150"/>
                <a:gd name="connsiteX513" fmla="*/ 230859 w 333375"/>
                <a:gd name="connsiteY513" fmla="*/ 46407 h 819150"/>
                <a:gd name="connsiteX514" fmla="*/ 219791 w 333375"/>
                <a:gd name="connsiteY514" fmla="*/ 39025 h 819150"/>
                <a:gd name="connsiteX515" fmla="*/ 216095 w 333375"/>
                <a:gd name="connsiteY515" fmla="*/ 35339 h 819150"/>
                <a:gd name="connsiteX516" fmla="*/ 208723 w 333375"/>
                <a:gd name="connsiteY516" fmla="*/ 35339 h 819150"/>
                <a:gd name="connsiteX517" fmla="*/ 205027 w 333375"/>
                <a:gd name="connsiteY517" fmla="*/ 35339 h 819150"/>
                <a:gd name="connsiteX518" fmla="*/ 193959 w 333375"/>
                <a:gd name="connsiteY518" fmla="*/ 35339 h 819150"/>
                <a:gd name="connsiteX519" fmla="*/ 193959 w 333375"/>
                <a:gd name="connsiteY519" fmla="*/ 31653 h 819150"/>
                <a:gd name="connsiteX520" fmla="*/ 190273 w 333375"/>
                <a:gd name="connsiteY520" fmla="*/ 35339 h 819150"/>
                <a:gd name="connsiteX521" fmla="*/ 186587 w 333375"/>
                <a:gd name="connsiteY521" fmla="*/ 35339 h 819150"/>
                <a:gd name="connsiteX522" fmla="*/ 182891 w 333375"/>
                <a:gd name="connsiteY522" fmla="*/ 31653 h 819150"/>
                <a:gd name="connsiteX523" fmla="*/ 182891 w 333375"/>
                <a:gd name="connsiteY523" fmla="*/ 27957 h 819150"/>
                <a:gd name="connsiteX524" fmla="*/ 179205 w 333375"/>
                <a:gd name="connsiteY524" fmla="*/ 27957 h 819150"/>
                <a:gd name="connsiteX525" fmla="*/ 175518 w 333375"/>
                <a:gd name="connsiteY525" fmla="*/ 24271 h 819150"/>
                <a:gd name="connsiteX526" fmla="*/ 175518 w 333375"/>
                <a:gd name="connsiteY526" fmla="*/ 20575 h 819150"/>
                <a:gd name="connsiteX527" fmla="*/ 171823 w 333375"/>
                <a:gd name="connsiteY527" fmla="*/ 16889 h 819150"/>
                <a:gd name="connsiteX528" fmla="*/ 171823 w 333375"/>
                <a:gd name="connsiteY528" fmla="*/ 13193 h 819150"/>
                <a:gd name="connsiteX529" fmla="*/ 168137 w 333375"/>
                <a:gd name="connsiteY529" fmla="*/ 9507 h 819150"/>
                <a:gd name="connsiteX530" fmla="*/ 164450 w 333375"/>
                <a:gd name="connsiteY530" fmla="*/ 5812 h 819150"/>
                <a:gd name="connsiteX531" fmla="*/ 160755 w 333375"/>
                <a:gd name="connsiteY531" fmla="*/ 5812 h 819150"/>
                <a:gd name="connsiteX532" fmla="*/ 153382 w 333375"/>
                <a:gd name="connsiteY532" fmla="*/ 5812 h 8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Lst>
              <a:rect l="l" t="t" r="r" b="b"/>
              <a:pathLst>
                <a:path w="333375" h="819150">
                  <a:moveTo>
                    <a:pt x="153382" y="5812"/>
                  </a:moveTo>
                  <a:lnTo>
                    <a:pt x="149696" y="9507"/>
                  </a:lnTo>
                  <a:lnTo>
                    <a:pt x="153382" y="13193"/>
                  </a:lnTo>
                  <a:lnTo>
                    <a:pt x="153382" y="16889"/>
                  </a:lnTo>
                  <a:lnTo>
                    <a:pt x="153382" y="20575"/>
                  </a:lnTo>
                  <a:lnTo>
                    <a:pt x="149696" y="20575"/>
                  </a:lnTo>
                  <a:lnTo>
                    <a:pt x="153382" y="24271"/>
                  </a:lnTo>
                  <a:lnTo>
                    <a:pt x="157069" y="24271"/>
                  </a:lnTo>
                  <a:lnTo>
                    <a:pt x="157069" y="27957"/>
                  </a:lnTo>
                  <a:lnTo>
                    <a:pt x="157069" y="31653"/>
                  </a:lnTo>
                  <a:lnTo>
                    <a:pt x="160755" y="39025"/>
                  </a:lnTo>
                  <a:lnTo>
                    <a:pt x="160755" y="46407"/>
                  </a:lnTo>
                  <a:lnTo>
                    <a:pt x="164450" y="50103"/>
                  </a:lnTo>
                  <a:lnTo>
                    <a:pt x="171823" y="50103"/>
                  </a:lnTo>
                  <a:lnTo>
                    <a:pt x="179205" y="53789"/>
                  </a:lnTo>
                  <a:lnTo>
                    <a:pt x="186587" y="53789"/>
                  </a:lnTo>
                  <a:lnTo>
                    <a:pt x="190273" y="57485"/>
                  </a:lnTo>
                  <a:lnTo>
                    <a:pt x="193959" y="57485"/>
                  </a:lnTo>
                  <a:lnTo>
                    <a:pt x="197655" y="68553"/>
                  </a:lnTo>
                  <a:lnTo>
                    <a:pt x="197655" y="75935"/>
                  </a:lnTo>
                  <a:lnTo>
                    <a:pt x="197655" y="79630"/>
                  </a:lnTo>
                  <a:lnTo>
                    <a:pt x="201341" y="79630"/>
                  </a:lnTo>
                  <a:lnTo>
                    <a:pt x="201341" y="87003"/>
                  </a:lnTo>
                  <a:lnTo>
                    <a:pt x="201341" y="90698"/>
                  </a:lnTo>
                  <a:lnTo>
                    <a:pt x="201341" y="94384"/>
                  </a:lnTo>
                  <a:lnTo>
                    <a:pt x="201341" y="105462"/>
                  </a:lnTo>
                  <a:lnTo>
                    <a:pt x="205027" y="109148"/>
                  </a:lnTo>
                  <a:lnTo>
                    <a:pt x="205027" y="112844"/>
                  </a:lnTo>
                  <a:lnTo>
                    <a:pt x="216095" y="116530"/>
                  </a:lnTo>
                  <a:lnTo>
                    <a:pt x="219791" y="120226"/>
                  </a:lnTo>
                  <a:lnTo>
                    <a:pt x="223477" y="123912"/>
                  </a:lnTo>
                  <a:lnTo>
                    <a:pt x="227163" y="127608"/>
                  </a:lnTo>
                  <a:lnTo>
                    <a:pt x="227163" y="131294"/>
                  </a:lnTo>
                  <a:lnTo>
                    <a:pt x="230859" y="134980"/>
                  </a:lnTo>
                  <a:lnTo>
                    <a:pt x="230859" y="146058"/>
                  </a:lnTo>
                  <a:lnTo>
                    <a:pt x="230859" y="149744"/>
                  </a:lnTo>
                  <a:lnTo>
                    <a:pt x="234545" y="153439"/>
                  </a:lnTo>
                  <a:lnTo>
                    <a:pt x="238231" y="160821"/>
                  </a:lnTo>
                  <a:lnTo>
                    <a:pt x="238231" y="164508"/>
                  </a:lnTo>
                  <a:lnTo>
                    <a:pt x="238231" y="168203"/>
                  </a:lnTo>
                  <a:lnTo>
                    <a:pt x="238231" y="171890"/>
                  </a:lnTo>
                  <a:lnTo>
                    <a:pt x="238231" y="175585"/>
                  </a:lnTo>
                  <a:lnTo>
                    <a:pt x="241917" y="179271"/>
                  </a:lnTo>
                  <a:lnTo>
                    <a:pt x="238231" y="179271"/>
                  </a:lnTo>
                  <a:lnTo>
                    <a:pt x="234545" y="179271"/>
                  </a:lnTo>
                  <a:lnTo>
                    <a:pt x="234545" y="182957"/>
                  </a:lnTo>
                  <a:lnTo>
                    <a:pt x="227163" y="175585"/>
                  </a:lnTo>
                  <a:lnTo>
                    <a:pt x="223477" y="171890"/>
                  </a:lnTo>
                  <a:lnTo>
                    <a:pt x="219791" y="171890"/>
                  </a:lnTo>
                  <a:lnTo>
                    <a:pt x="219791" y="168203"/>
                  </a:lnTo>
                  <a:lnTo>
                    <a:pt x="212409" y="171890"/>
                  </a:lnTo>
                  <a:lnTo>
                    <a:pt x="205027" y="175585"/>
                  </a:lnTo>
                  <a:lnTo>
                    <a:pt x="193959" y="179271"/>
                  </a:lnTo>
                  <a:lnTo>
                    <a:pt x="186587" y="182957"/>
                  </a:lnTo>
                  <a:lnTo>
                    <a:pt x="179205" y="182957"/>
                  </a:lnTo>
                  <a:lnTo>
                    <a:pt x="171823" y="182957"/>
                  </a:lnTo>
                  <a:lnTo>
                    <a:pt x="164450" y="179271"/>
                  </a:lnTo>
                  <a:lnTo>
                    <a:pt x="153382" y="175585"/>
                  </a:lnTo>
                  <a:lnTo>
                    <a:pt x="138628" y="171890"/>
                  </a:lnTo>
                  <a:lnTo>
                    <a:pt x="142314" y="205103"/>
                  </a:lnTo>
                  <a:lnTo>
                    <a:pt x="146000" y="216181"/>
                  </a:lnTo>
                  <a:lnTo>
                    <a:pt x="146000" y="223563"/>
                  </a:lnTo>
                  <a:lnTo>
                    <a:pt x="149696" y="230935"/>
                  </a:lnTo>
                  <a:lnTo>
                    <a:pt x="157069" y="264158"/>
                  </a:lnTo>
                  <a:lnTo>
                    <a:pt x="157069" y="267844"/>
                  </a:lnTo>
                  <a:lnTo>
                    <a:pt x="171823" y="293676"/>
                  </a:lnTo>
                  <a:lnTo>
                    <a:pt x="179205" y="308440"/>
                  </a:lnTo>
                  <a:lnTo>
                    <a:pt x="186587" y="319517"/>
                  </a:lnTo>
                  <a:lnTo>
                    <a:pt x="179205" y="323204"/>
                  </a:lnTo>
                  <a:lnTo>
                    <a:pt x="168137" y="334272"/>
                  </a:lnTo>
                  <a:lnTo>
                    <a:pt x="160755" y="341654"/>
                  </a:lnTo>
                  <a:lnTo>
                    <a:pt x="157069" y="341654"/>
                  </a:lnTo>
                  <a:lnTo>
                    <a:pt x="153382" y="345349"/>
                  </a:lnTo>
                  <a:lnTo>
                    <a:pt x="149696" y="345349"/>
                  </a:lnTo>
                  <a:lnTo>
                    <a:pt x="138628" y="349035"/>
                  </a:lnTo>
                  <a:lnTo>
                    <a:pt x="109110" y="356417"/>
                  </a:lnTo>
                  <a:lnTo>
                    <a:pt x="105424" y="360113"/>
                  </a:lnTo>
                  <a:lnTo>
                    <a:pt x="101728" y="360113"/>
                  </a:lnTo>
                  <a:lnTo>
                    <a:pt x="94356" y="363799"/>
                  </a:lnTo>
                  <a:lnTo>
                    <a:pt x="75906" y="367495"/>
                  </a:lnTo>
                  <a:lnTo>
                    <a:pt x="72220" y="367495"/>
                  </a:lnTo>
                  <a:lnTo>
                    <a:pt x="57466" y="374867"/>
                  </a:lnTo>
                  <a:lnTo>
                    <a:pt x="46398" y="385945"/>
                  </a:lnTo>
                  <a:lnTo>
                    <a:pt x="42702" y="393327"/>
                  </a:lnTo>
                  <a:lnTo>
                    <a:pt x="35330" y="408090"/>
                  </a:lnTo>
                  <a:lnTo>
                    <a:pt x="31634" y="426540"/>
                  </a:lnTo>
                  <a:lnTo>
                    <a:pt x="31634" y="441304"/>
                  </a:lnTo>
                  <a:lnTo>
                    <a:pt x="20566" y="444990"/>
                  </a:lnTo>
                  <a:lnTo>
                    <a:pt x="16880" y="444990"/>
                  </a:lnTo>
                  <a:lnTo>
                    <a:pt x="5812" y="448686"/>
                  </a:lnTo>
                  <a:lnTo>
                    <a:pt x="13193" y="452372"/>
                  </a:lnTo>
                  <a:lnTo>
                    <a:pt x="42702" y="463450"/>
                  </a:lnTo>
                  <a:lnTo>
                    <a:pt x="46398" y="467136"/>
                  </a:lnTo>
                  <a:lnTo>
                    <a:pt x="46398" y="470822"/>
                  </a:lnTo>
                  <a:lnTo>
                    <a:pt x="50084" y="478204"/>
                  </a:lnTo>
                  <a:lnTo>
                    <a:pt x="53770" y="474518"/>
                  </a:lnTo>
                  <a:lnTo>
                    <a:pt x="57466" y="478204"/>
                  </a:lnTo>
                  <a:lnTo>
                    <a:pt x="61152" y="478204"/>
                  </a:lnTo>
                  <a:lnTo>
                    <a:pt x="64838" y="478204"/>
                  </a:lnTo>
                  <a:lnTo>
                    <a:pt x="72220" y="478204"/>
                  </a:lnTo>
                  <a:lnTo>
                    <a:pt x="75906" y="478204"/>
                  </a:lnTo>
                  <a:lnTo>
                    <a:pt x="79602" y="478204"/>
                  </a:lnTo>
                  <a:lnTo>
                    <a:pt x="86974" y="478204"/>
                  </a:lnTo>
                  <a:lnTo>
                    <a:pt x="90660" y="474518"/>
                  </a:lnTo>
                  <a:lnTo>
                    <a:pt x="94356" y="474518"/>
                  </a:lnTo>
                  <a:lnTo>
                    <a:pt x="98042" y="478204"/>
                  </a:lnTo>
                  <a:lnTo>
                    <a:pt x="105424" y="478204"/>
                  </a:lnTo>
                  <a:lnTo>
                    <a:pt x="109110" y="481900"/>
                  </a:lnTo>
                  <a:lnTo>
                    <a:pt x="109110" y="485586"/>
                  </a:lnTo>
                  <a:lnTo>
                    <a:pt x="112796" y="485586"/>
                  </a:lnTo>
                  <a:lnTo>
                    <a:pt x="109110" y="489281"/>
                  </a:lnTo>
                  <a:lnTo>
                    <a:pt x="105424" y="489281"/>
                  </a:lnTo>
                  <a:lnTo>
                    <a:pt x="105424" y="492968"/>
                  </a:lnTo>
                  <a:lnTo>
                    <a:pt x="109110" y="492968"/>
                  </a:lnTo>
                  <a:lnTo>
                    <a:pt x="109110" y="496663"/>
                  </a:lnTo>
                  <a:lnTo>
                    <a:pt x="109110" y="500350"/>
                  </a:lnTo>
                  <a:lnTo>
                    <a:pt x="109110" y="504045"/>
                  </a:lnTo>
                  <a:lnTo>
                    <a:pt x="112796" y="504045"/>
                  </a:lnTo>
                  <a:lnTo>
                    <a:pt x="112796" y="500350"/>
                  </a:lnTo>
                  <a:lnTo>
                    <a:pt x="116492" y="500350"/>
                  </a:lnTo>
                  <a:lnTo>
                    <a:pt x="120178" y="500350"/>
                  </a:lnTo>
                  <a:lnTo>
                    <a:pt x="120178" y="496663"/>
                  </a:lnTo>
                  <a:lnTo>
                    <a:pt x="123864" y="496663"/>
                  </a:lnTo>
                  <a:lnTo>
                    <a:pt x="127560" y="496663"/>
                  </a:lnTo>
                  <a:lnTo>
                    <a:pt x="127560" y="492968"/>
                  </a:lnTo>
                  <a:lnTo>
                    <a:pt x="134933" y="489281"/>
                  </a:lnTo>
                  <a:lnTo>
                    <a:pt x="134933" y="492968"/>
                  </a:lnTo>
                  <a:lnTo>
                    <a:pt x="138628" y="492968"/>
                  </a:lnTo>
                  <a:lnTo>
                    <a:pt x="138628" y="500350"/>
                  </a:lnTo>
                  <a:lnTo>
                    <a:pt x="149696" y="507731"/>
                  </a:lnTo>
                  <a:lnTo>
                    <a:pt x="146000" y="511427"/>
                  </a:lnTo>
                  <a:lnTo>
                    <a:pt x="142314" y="515113"/>
                  </a:lnTo>
                  <a:lnTo>
                    <a:pt x="142314" y="518799"/>
                  </a:lnTo>
                  <a:lnTo>
                    <a:pt x="134933" y="522495"/>
                  </a:lnTo>
                  <a:lnTo>
                    <a:pt x="131246" y="522495"/>
                  </a:lnTo>
                  <a:lnTo>
                    <a:pt x="131246" y="526181"/>
                  </a:lnTo>
                  <a:lnTo>
                    <a:pt x="127560" y="529877"/>
                  </a:lnTo>
                  <a:lnTo>
                    <a:pt x="123864" y="533563"/>
                  </a:lnTo>
                  <a:lnTo>
                    <a:pt x="127560" y="537259"/>
                  </a:lnTo>
                  <a:lnTo>
                    <a:pt x="134933" y="537259"/>
                  </a:lnTo>
                  <a:lnTo>
                    <a:pt x="138628" y="540945"/>
                  </a:lnTo>
                  <a:lnTo>
                    <a:pt x="138628" y="544641"/>
                  </a:lnTo>
                  <a:lnTo>
                    <a:pt x="134933" y="548327"/>
                  </a:lnTo>
                  <a:lnTo>
                    <a:pt x="134933" y="552023"/>
                  </a:lnTo>
                  <a:lnTo>
                    <a:pt x="131246" y="552023"/>
                  </a:lnTo>
                  <a:lnTo>
                    <a:pt x="127560" y="548327"/>
                  </a:lnTo>
                  <a:lnTo>
                    <a:pt x="123864" y="548327"/>
                  </a:lnTo>
                  <a:lnTo>
                    <a:pt x="120178" y="548327"/>
                  </a:lnTo>
                  <a:lnTo>
                    <a:pt x="120178" y="552023"/>
                  </a:lnTo>
                  <a:lnTo>
                    <a:pt x="120178" y="555709"/>
                  </a:lnTo>
                  <a:lnTo>
                    <a:pt x="123864" y="559395"/>
                  </a:lnTo>
                  <a:lnTo>
                    <a:pt x="123864" y="563091"/>
                  </a:lnTo>
                  <a:lnTo>
                    <a:pt x="120178" y="563091"/>
                  </a:lnTo>
                  <a:lnTo>
                    <a:pt x="120178" y="566777"/>
                  </a:lnTo>
                  <a:lnTo>
                    <a:pt x="123864" y="574159"/>
                  </a:lnTo>
                  <a:lnTo>
                    <a:pt x="120178" y="574159"/>
                  </a:lnTo>
                  <a:lnTo>
                    <a:pt x="120178" y="577854"/>
                  </a:lnTo>
                  <a:lnTo>
                    <a:pt x="116492" y="577854"/>
                  </a:lnTo>
                  <a:lnTo>
                    <a:pt x="109110" y="574159"/>
                  </a:lnTo>
                  <a:lnTo>
                    <a:pt x="105424" y="585236"/>
                  </a:lnTo>
                  <a:lnTo>
                    <a:pt x="105424" y="592618"/>
                  </a:lnTo>
                  <a:lnTo>
                    <a:pt x="101728" y="596304"/>
                  </a:lnTo>
                  <a:lnTo>
                    <a:pt x="101728" y="600000"/>
                  </a:lnTo>
                  <a:lnTo>
                    <a:pt x="105424" y="600000"/>
                  </a:lnTo>
                  <a:lnTo>
                    <a:pt x="109110" y="603686"/>
                  </a:lnTo>
                  <a:lnTo>
                    <a:pt x="109110" y="607373"/>
                  </a:lnTo>
                  <a:lnTo>
                    <a:pt x="105424" y="614754"/>
                  </a:lnTo>
                  <a:lnTo>
                    <a:pt x="105424" y="618450"/>
                  </a:lnTo>
                  <a:lnTo>
                    <a:pt x="105424" y="622136"/>
                  </a:lnTo>
                  <a:lnTo>
                    <a:pt x="105424" y="625832"/>
                  </a:lnTo>
                  <a:lnTo>
                    <a:pt x="101728" y="629518"/>
                  </a:lnTo>
                  <a:lnTo>
                    <a:pt x="98042" y="633214"/>
                  </a:lnTo>
                  <a:lnTo>
                    <a:pt x="94356" y="640596"/>
                  </a:lnTo>
                  <a:lnTo>
                    <a:pt x="90660" y="640596"/>
                  </a:lnTo>
                  <a:lnTo>
                    <a:pt x="86974" y="647977"/>
                  </a:lnTo>
                  <a:lnTo>
                    <a:pt x="83288" y="655350"/>
                  </a:lnTo>
                  <a:lnTo>
                    <a:pt x="83288" y="659046"/>
                  </a:lnTo>
                  <a:lnTo>
                    <a:pt x="86974" y="659046"/>
                  </a:lnTo>
                  <a:lnTo>
                    <a:pt x="90660" y="659046"/>
                  </a:lnTo>
                  <a:lnTo>
                    <a:pt x="94356" y="655350"/>
                  </a:lnTo>
                  <a:lnTo>
                    <a:pt x="98042" y="655350"/>
                  </a:lnTo>
                  <a:lnTo>
                    <a:pt x="101728" y="659046"/>
                  </a:lnTo>
                  <a:lnTo>
                    <a:pt x="101728" y="662732"/>
                  </a:lnTo>
                  <a:lnTo>
                    <a:pt x="94356" y="666428"/>
                  </a:lnTo>
                  <a:lnTo>
                    <a:pt x="94356" y="670114"/>
                  </a:lnTo>
                  <a:lnTo>
                    <a:pt x="94356" y="673809"/>
                  </a:lnTo>
                  <a:lnTo>
                    <a:pt x="86974" y="681191"/>
                  </a:lnTo>
                  <a:lnTo>
                    <a:pt x="86974" y="684877"/>
                  </a:lnTo>
                  <a:lnTo>
                    <a:pt x="83288" y="688573"/>
                  </a:lnTo>
                  <a:lnTo>
                    <a:pt x="86974" y="692259"/>
                  </a:lnTo>
                  <a:lnTo>
                    <a:pt x="83288" y="695955"/>
                  </a:lnTo>
                  <a:lnTo>
                    <a:pt x="79602" y="695955"/>
                  </a:lnTo>
                  <a:lnTo>
                    <a:pt x="75906" y="695955"/>
                  </a:lnTo>
                  <a:lnTo>
                    <a:pt x="72220" y="695955"/>
                  </a:lnTo>
                  <a:lnTo>
                    <a:pt x="68534" y="699641"/>
                  </a:lnTo>
                  <a:lnTo>
                    <a:pt x="68534" y="703327"/>
                  </a:lnTo>
                  <a:lnTo>
                    <a:pt x="68534" y="707023"/>
                  </a:lnTo>
                  <a:lnTo>
                    <a:pt x="61152" y="714405"/>
                  </a:lnTo>
                  <a:lnTo>
                    <a:pt x="61152" y="718091"/>
                  </a:lnTo>
                  <a:lnTo>
                    <a:pt x="57466" y="718091"/>
                  </a:lnTo>
                  <a:lnTo>
                    <a:pt x="53770" y="721787"/>
                  </a:lnTo>
                  <a:lnTo>
                    <a:pt x="50084" y="721787"/>
                  </a:lnTo>
                  <a:lnTo>
                    <a:pt x="50084" y="725473"/>
                  </a:lnTo>
                  <a:lnTo>
                    <a:pt x="46398" y="725473"/>
                  </a:lnTo>
                  <a:lnTo>
                    <a:pt x="42702" y="725473"/>
                  </a:lnTo>
                  <a:lnTo>
                    <a:pt x="46398" y="729169"/>
                  </a:lnTo>
                  <a:lnTo>
                    <a:pt x="42702" y="732855"/>
                  </a:lnTo>
                  <a:lnTo>
                    <a:pt x="42702" y="736551"/>
                  </a:lnTo>
                  <a:lnTo>
                    <a:pt x="42702" y="740237"/>
                  </a:lnTo>
                  <a:lnTo>
                    <a:pt x="42702" y="743932"/>
                  </a:lnTo>
                  <a:lnTo>
                    <a:pt x="42702" y="747619"/>
                  </a:lnTo>
                  <a:lnTo>
                    <a:pt x="42702" y="751305"/>
                  </a:lnTo>
                  <a:lnTo>
                    <a:pt x="42702" y="755000"/>
                  </a:lnTo>
                  <a:lnTo>
                    <a:pt x="46398" y="755000"/>
                  </a:lnTo>
                  <a:lnTo>
                    <a:pt x="46398" y="758687"/>
                  </a:lnTo>
                  <a:lnTo>
                    <a:pt x="46398" y="762382"/>
                  </a:lnTo>
                  <a:lnTo>
                    <a:pt x="50084" y="762382"/>
                  </a:lnTo>
                  <a:lnTo>
                    <a:pt x="50084" y="766069"/>
                  </a:lnTo>
                  <a:lnTo>
                    <a:pt x="53770" y="769764"/>
                  </a:lnTo>
                  <a:lnTo>
                    <a:pt x="57466" y="769764"/>
                  </a:lnTo>
                  <a:lnTo>
                    <a:pt x="61152" y="769764"/>
                  </a:lnTo>
                  <a:lnTo>
                    <a:pt x="61152" y="773450"/>
                  </a:lnTo>
                  <a:lnTo>
                    <a:pt x="68534" y="773450"/>
                  </a:lnTo>
                  <a:lnTo>
                    <a:pt x="72220" y="777146"/>
                  </a:lnTo>
                  <a:lnTo>
                    <a:pt x="72220" y="780832"/>
                  </a:lnTo>
                  <a:lnTo>
                    <a:pt x="68534" y="784528"/>
                  </a:lnTo>
                  <a:lnTo>
                    <a:pt x="72220" y="795596"/>
                  </a:lnTo>
                  <a:lnTo>
                    <a:pt x="72220" y="802978"/>
                  </a:lnTo>
                  <a:lnTo>
                    <a:pt x="64838" y="814046"/>
                  </a:lnTo>
                  <a:lnTo>
                    <a:pt x="64838" y="817742"/>
                  </a:lnTo>
                  <a:lnTo>
                    <a:pt x="68534" y="817742"/>
                  </a:lnTo>
                  <a:lnTo>
                    <a:pt x="72220" y="817742"/>
                  </a:lnTo>
                  <a:lnTo>
                    <a:pt x="75906" y="814046"/>
                  </a:lnTo>
                  <a:lnTo>
                    <a:pt x="79602" y="814046"/>
                  </a:lnTo>
                  <a:lnTo>
                    <a:pt x="83288" y="810360"/>
                  </a:lnTo>
                  <a:lnTo>
                    <a:pt x="83288" y="814046"/>
                  </a:lnTo>
                  <a:lnTo>
                    <a:pt x="86974" y="817742"/>
                  </a:lnTo>
                  <a:lnTo>
                    <a:pt x="90660" y="817742"/>
                  </a:lnTo>
                  <a:lnTo>
                    <a:pt x="94356" y="814046"/>
                  </a:lnTo>
                  <a:lnTo>
                    <a:pt x="94356" y="810360"/>
                  </a:lnTo>
                  <a:lnTo>
                    <a:pt x="98042" y="806664"/>
                  </a:lnTo>
                  <a:lnTo>
                    <a:pt x="105424" y="795596"/>
                  </a:lnTo>
                  <a:lnTo>
                    <a:pt x="112796" y="795596"/>
                  </a:lnTo>
                  <a:lnTo>
                    <a:pt x="112796" y="802978"/>
                  </a:lnTo>
                  <a:lnTo>
                    <a:pt x="116492" y="810360"/>
                  </a:lnTo>
                  <a:lnTo>
                    <a:pt x="120178" y="806664"/>
                  </a:lnTo>
                  <a:lnTo>
                    <a:pt x="127560" y="817742"/>
                  </a:lnTo>
                  <a:lnTo>
                    <a:pt x="131246" y="817742"/>
                  </a:lnTo>
                  <a:lnTo>
                    <a:pt x="134933" y="814046"/>
                  </a:lnTo>
                  <a:lnTo>
                    <a:pt x="138628" y="817742"/>
                  </a:lnTo>
                  <a:lnTo>
                    <a:pt x="142314" y="814046"/>
                  </a:lnTo>
                  <a:lnTo>
                    <a:pt x="146000" y="810360"/>
                  </a:lnTo>
                  <a:lnTo>
                    <a:pt x="146000" y="814046"/>
                  </a:lnTo>
                  <a:lnTo>
                    <a:pt x="146000" y="821428"/>
                  </a:lnTo>
                  <a:lnTo>
                    <a:pt x="149696" y="817742"/>
                  </a:lnTo>
                  <a:lnTo>
                    <a:pt x="153382" y="814046"/>
                  </a:lnTo>
                  <a:lnTo>
                    <a:pt x="153382" y="810360"/>
                  </a:lnTo>
                  <a:lnTo>
                    <a:pt x="157069" y="810360"/>
                  </a:lnTo>
                  <a:lnTo>
                    <a:pt x="160755" y="810360"/>
                  </a:lnTo>
                  <a:lnTo>
                    <a:pt x="168137" y="806664"/>
                  </a:lnTo>
                  <a:lnTo>
                    <a:pt x="168137" y="810360"/>
                  </a:lnTo>
                  <a:lnTo>
                    <a:pt x="168137" y="817742"/>
                  </a:lnTo>
                  <a:lnTo>
                    <a:pt x="175518" y="821428"/>
                  </a:lnTo>
                  <a:lnTo>
                    <a:pt x="175518" y="817742"/>
                  </a:lnTo>
                  <a:lnTo>
                    <a:pt x="179205" y="817742"/>
                  </a:lnTo>
                  <a:lnTo>
                    <a:pt x="182891" y="817742"/>
                  </a:lnTo>
                  <a:lnTo>
                    <a:pt x="182891" y="821428"/>
                  </a:lnTo>
                  <a:lnTo>
                    <a:pt x="190273" y="817742"/>
                  </a:lnTo>
                  <a:lnTo>
                    <a:pt x="193959" y="814046"/>
                  </a:lnTo>
                  <a:lnTo>
                    <a:pt x="197655" y="814046"/>
                  </a:lnTo>
                  <a:lnTo>
                    <a:pt x="201341" y="814046"/>
                  </a:lnTo>
                  <a:lnTo>
                    <a:pt x="205027" y="814046"/>
                  </a:lnTo>
                  <a:lnTo>
                    <a:pt x="208723" y="814046"/>
                  </a:lnTo>
                  <a:lnTo>
                    <a:pt x="212409" y="817742"/>
                  </a:lnTo>
                  <a:lnTo>
                    <a:pt x="219791" y="821428"/>
                  </a:lnTo>
                  <a:lnTo>
                    <a:pt x="223477" y="821428"/>
                  </a:lnTo>
                  <a:lnTo>
                    <a:pt x="223477" y="817742"/>
                  </a:lnTo>
                  <a:lnTo>
                    <a:pt x="230859" y="817742"/>
                  </a:lnTo>
                  <a:lnTo>
                    <a:pt x="234545" y="817742"/>
                  </a:lnTo>
                  <a:lnTo>
                    <a:pt x="234545" y="810360"/>
                  </a:lnTo>
                  <a:lnTo>
                    <a:pt x="238231" y="802978"/>
                  </a:lnTo>
                  <a:lnTo>
                    <a:pt x="227163" y="795596"/>
                  </a:lnTo>
                  <a:lnTo>
                    <a:pt x="223477" y="795596"/>
                  </a:lnTo>
                  <a:lnTo>
                    <a:pt x="219791" y="791910"/>
                  </a:lnTo>
                  <a:lnTo>
                    <a:pt x="219791" y="788214"/>
                  </a:lnTo>
                  <a:lnTo>
                    <a:pt x="216095" y="788214"/>
                  </a:lnTo>
                  <a:lnTo>
                    <a:pt x="212409" y="784528"/>
                  </a:lnTo>
                  <a:lnTo>
                    <a:pt x="212409" y="780832"/>
                  </a:lnTo>
                  <a:lnTo>
                    <a:pt x="212409" y="777146"/>
                  </a:lnTo>
                  <a:lnTo>
                    <a:pt x="216095" y="773450"/>
                  </a:lnTo>
                  <a:lnTo>
                    <a:pt x="219791" y="777146"/>
                  </a:lnTo>
                  <a:lnTo>
                    <a:pt x="227163" y="780832"/>
                  </a:lnTo>
                  <a:lnTo>
                    <a:pt x="230859" y="773450"/>
                  </a:lnTo>
                  <a:lnTo>
                    <a:pt x="234545" y="769764"/>
                  </a:lnTo>
                  <a:lnTo>
                    <a:pt x="234545" y="766069"/>
                  </a:lnTo>
                  <a:lnTo>
                    <a:pt x="238231" y="766069"/>
                  </a:lnTo>
                  <a:lnTo>
                    <a:pt x="234545" y="762382"/>
                  </a:lnTo>
                  <a:lnTo>
                    <a:pt x="234545" y="758687"/>
                  </a:lnTo>
                  <a:lnTo>
                    <a:pt x="230859" y="755000"/>
                  </a:lnTo>
                  <a:lnTo>
                    <a:pt x="230859" y="751305"/>
                  </a:lnTo>
                  <a:lnTo>
                    <a:pt x="230859" y="747619"/>
                  </a:lnTo>
                  <a:lnTo>
                    <a:pt x="234545" y="743932"/>
                  </a:lnTo>
                  <a:lnTo>
                    <a:pt x="241917" y="743932"/>
                  </a:lnTo>
                  <a:lnTo>
                    <a:pt x="245613" y="740237"/>
                  </a:lnTo>
                  <a:lnTo>
                    <a:pt x="249299" y="740237"/>
                  </a:lnTo>
                  <a:lnTo>
                    <a:pt x="249299" y="736551"/>
                  </a:lnTo>
                  <a:lnTo>
                    <a:pt x="252985" y="736551"/>
                  </a:lnTo>
                  <a:lnTo>
                    <a:pt x="252985" y="740237"/>
                  </a:lnTo>
                  <a:lnTo>
                    <a:pt x="260367" y="743932"/>
                  </a:lnTo>
                  <a:lnTo>
                    <a:pt x="260367" y="736551"/>
                  </a:lnTo>
                  <a:lnTo>
                    <a:pt x="260367" y="732855"/>
                  </a:lnTo>
                  <a:lnTo>
                    <a:pt x="264053" y="732855"/>
                  </a:lnTo>
                  <a:lnTo>
                    <a:pt x="264053" y="729169"/>
                  </a:lnTo>
                  <a:lnTo>
                    <a:pt x="267749" y="725473"/>
                  </a:lnTo>
                  <a:lnTo>
                    <a:pt x="267749" y="718091"/>
                  </a:lnTo>
                  <a:lnTo>
                    <a:pt x="264053" y="714405"/>
                  </a:lnTo>
                  <a:lnTo>
                    <a:pt x="264053" y="718091"/>
                  </a:lnTo>
                  <a:lnTo>
                    <a:pt x="260367" y="710709"/>
                  </a:lnTo>
                  <a:lnTo>
                    <a:pt x="260367" y="707023"/>
                  </a:lnTo>
                  <a:lnTo>
                    <a:pt x="260367" y="703327"/>
                  </a:lnTo>
                  <a:lnTo>
                    <a:pt x="264053" y="699641"/>
                  </a:lnTo>
                  <a:lnTo>
                    <a:pt x="264053" y="695955"/>
                  </a:lnTo>
                  <a:lnTo>
                    <a:pt x="267749" y="692259"/>
                  </a:lnTo>
                  <a:lnTo>
                    <a:pt x="267749" y="688573"/>
                  </a:lnTo>
                  <a:lnTo>
                    <a:pt x="264053" y="684877"/>
                  </a:lnTo>
                  <a:lnTo>
                    <a:pt x="260367" y="684877"/>
                  </a:lnTo>
                  <a:lnTo>
                    <a:pt x="256681" y="684877"/>
                  </a:lnTo>
                  <a:lnTo>
                    <a:pt x="249299" y="684877"/>
                  </a:lnTo>
                  <a:lnTo>
                    <a:pt x="249299" y="681191"/>
                  </a:lnTo>
                  <a:lnTo>
                    <a:pt x="249299" y="677496"/>
                  </a:lnTo>
                  <a:lnTo>
                    <a:pt x="245613" y="681191"/>
                  </a:lnTo>
                  <a:lnTo>
                    <a:pt x="241917" y="677496"/>
                  </a:lnTo>
                  <a:lnTo>
                    <a:pt x="230859" y="673809"/>
                  </a:lnTo>
                  <a:lnTo>
                    <a:pt x="230859" y="666428"/>
                  </a:lnTo>
                  <a:lnTo>
                    <a:pt x="230859" y="662732"/>
                  </a:lnTo>
                  <a:lnTo>
                    <a:pt x="223477" y="659046"/>
                  </a:lnTo>
                  <a:lnTo>
                    <a:pt x="227163" y="655350"/>
                  </a:lnTo>
                  <a:lnTo>
                    <a:pt x="230859" y="655350"/>
                  </a:lnTo>
                  <a:lnTo>
                    <a:pt x="230859" y="651664"/>
                  </a:lnTo>
                  <a:lnTo>
                    <a:pt x="234545" y="636900"/>
                  </a:lnTo>
                  <a:lnTo>
                    <a:pt x="230859" y="636900"/>
                  </a:lnTo>
                  <a:lnTo>
                    <a:pt x="216095" y="636900"/>
                  </a:lnTo>
                  <a:lnTo>
                    <a:pt x="212409" y="636900"/>
                  </a:lnTo>
                  <a:lnTo>
                    <a:pt x="208723" y="640596"/>
                  </a:lnTo>
                  <a:lnTo>
                    <a:pt x="205027" y="640596"/>
                  </a:lnTo>
                  <a:lnTo>
                    <a:pt x="201341" y="636900"/>
                  </a:lnTo>
                  <a:lnTo>
                    <a:pt x="201341" y="633214"/>
                  </a:lnTo>
                  <a:lnTo>
                    <a:pt x="197655" y="633214"/>
                  </a:lnTo>
                  <a:lnTo>
                    <a:pt x="190273" y="636900"/>
                  </a:lnTo>
                  <a:lnTo>
                    <a:pt x="186587" y="636900"/>
                  </a:lnTo>
                  <a:lnTo>
                    <a:pt x="182891" y="640596"/>
                  </a:lnTo>
                  <a:lnTo>
                    <a:pt x="179205" y="640596"/>
                  </a:lnTo>
                  <a:lnTo>
                    <a:pt x="175518" y="644282"/>
                  </a:lnTo>
                  <a:lnTo>
                    <a:pt x="171823" y="644282"/>
                  </a:lnTo>
                  <a:lnTo>
                    <a:pt x="168137" y="640596"/>
                  </a:lnTo>
                  <a:lnTo>
                    <a:pt x="175518" y="633214"/>
                  </a:lnTo>
                  <a:lnTo>
                    <a:pt x="175518" y="622136"/>
                  </a:lnTo>
                  <a:lnTo>
                    <a:pt x="171823" y="622136"/>
                  </a:lnTo>
                  <a:lnTo>
                    <a:pt x="168137" y="618450"/>
                  </a:lnTo>
                  <a:lnTo>
                    <a:pt x="168137" y="614754"/>
                  </a:lnTo>
                  <a:lnTo>
                    <a:pt x="164450" y="614754"/>
                  </a:lnTo>
                  <a:lnTo>
                    <a:pt x="164450" y="611068"/>
                  </a:lnTo>
                  <a:lnTo>
                    <a:pt x="160755" y="611068"/>
                  </a:lnTo>
                  <a:lnTo>
                    <a:pt x="160755" y="607373"/>
                  </a:lnTo>
                  <a:lnTo>
                    <a:pt x="160755" y="603686"/>
                  </a:lnTo>
                  <a:lnTo>
                    <a:pt x="160755" y="600000"/>
                  </a:lnTo>
                  <a:lnTo>
                    <a:pt x="160755" y="592618"/>
                  </a:lnTo>
                  <a:lnTo>
                    <a:pt x="157069" y="588923"/>
                  </a:lnTo>
                  <a:lnTo>
                    <a:pt x="153382" y="581541"/>
                  </a:lnTo>
                  <a:lnTo>
                    <a:pt x="157069" y="581541"/>
                  </a:lnTo>
                  <a:lnTo>
                    <a:pt x="164450" y="581541"/>
                  </a:lnTo>
                  <a:lnTo>
                    <a:pt x="168137" y="581541"/>
                  </a:lnTo>
                  <a:lnTo>
                    <a:pt x="168137" y="577854"/>
                  </a:lnTo>
                  <a:lnTo>
                    <a:pt x="175518" y="574159"/>
                  </a:lnTo>
                  <a:lnTo>
                    <a:pt x="179205" y="570473"/>
                  </a:lnTo>
                  <a:lnTo>
                    <a:pt x="179205" y="574159"/>
                  </a:lnTo>
                  <a:lnTo>
                    <a:pt x="186587" y="585236"/>
                  </a:lnTo>
                  <a:lnTo>
                    <a:pt x="190273" y="592618"/>
                  </a:lnTo>
                  <a:lnTo>
                    <a:pt x="190273" y="596304"/>
                  </a:lnTo>
                  <a:lnTo>
                    <a:pt x="193959" y="592618"/>
                  </a:lnTo>
                  <a:lnTo>
                    <a:pt x="197655" y="592618"/>
                  </a:lnTo>
                  <a:lnTo>
                    <a:pt x="197655" y="596304"/>
                  </a:lnTo>
                  <a:lnTo>
                    <a:pt x="201341" y="596304"/>
                  </a:lnTo>
                  <a:lnTo>
                    <a:pt x="201341" y="592618"/>
                  </a:lnTo>
                  <a:lnTo>
                    <a:pt x="205027" y="588923"/>
                  </a:lnTo>
                  <a:lnTo>
                    <a:pt x="205027" y="585236"/>
                  </a:lnTo>
                  <a:lnTo>
                    <a:pt x="208723" y="581541"/>
                  </a:lnTo>
                  <a:lnTo>
                    <a:pt x="208723" y="577854"/>
                  </a:lnTo>
                  <a:lnTo>
                    <a:pt x="208723" y="574159"/>
                  </a:lnTo>
                  <a:lnTo>
                    <a:pt x="212409" y="570473"/>
                  </a:lnTo>
                  <a:lnTo>
                    <a:pt x="212409" y="566777"/>
                  </a:lnTo>
                  <a:lnTo>
                    <a:pt x="216095" y="563091"/>
                  </a:lnTo>
                  <a:lnTo>
                    <a:pt x="216095" y="559395"/>
                  </a:lnTo>
                  <a:lnTo>
                    <a:pt x="219791" y="555709"/>
                  </a:lnTo>
                  <a:lnTo>
                    <a:pt x="227163" y="552023"/>
                  </a:lnTo>
                  <a:lnTo>
                    <a:pt x="230859" y="548327"/>
                  </a:lnTo>
                  <a:lnTo>
                    <a:pt x="238231" y="544641"/>
                  </a:lnTo>
                  <a:lnTo>
                    <a:pt x="241917" y="544641"/>
                  </a:lnTo>
                  <a:lnTo>
                    <a:pt x="245613" y="540945"/>
                  </a:lnTo>
                  <a:lnTo>
                    <a:pt x="249299" y="537259"/>
                  </a:lnTo>
                  <a:lnTo>
                    <a:pt x="249299" y="533563"/>
                  </a:lnTo>
                  <a:lnTo>
                    <a:pt x="252985" y="529877"/>
                  </a:lnTo>
                  <a:lnTo>
                    <a:pt x="256681" y="529877"/>
                  </a:lnTo>
                  <a:lnTo>
                    <a:pt x="260367" y="529877"/>
                  </a:lnTo>
                  <a:lnTo>
                    <a:pt x="264053" y="526181"/>
                  </a:lnTo>
                  <a:lnTo>
                    <a:pt x="264053" y="522495"/>
                  </a:lnTo>
                  <a:lnTo>
                    <a:pt x="264053" y="518799"/>
                  </a:lnTo>
                  <a:lnTo>
                    <a:pt x="267749" y="515113"/>
                  </a:lnTo>
                  <a:lnTo>
                    <a:pt x="271435" y="515113"/>
                  </a:lnTo>
                  <a:lnTo>
                    <a:pt x="275121" y="515113"/>
                  </a:lnTo>
                  <a:lnTo>
                    <a:pt x="278817" y="511427"/>
                  </a:lnTo>
                  <a:lnTo>
                    <a:pt x="282503" y="511427"/>
                  </a:lnTo>
                  <a:lnTo>
                    <a:pt x="282503" y="507731"/>
                  </a:lnTo>
                  <a:lnTo>
                    <a:pt x="289885" y="507731"/>
                  </a:lnTo>
                  <a:lnTo>
                    <a:pt x="293571" y="504045"/>
                  </a:lnTo>
                  <a:lnTo>
                    <a:pt x="297258" y="504045"/>
                  </a:lnTo>
                  <a:lnTo>
                    <a:pt x="304639" y="504045"/>
                  </a:lnTo>
                  <a:lnTo>
                    <a:pt x="300944" y="500350"/>
                  </a:lnTo>
                  <a:lnTo>
                    <a:pt x="304639" y="500350"/>
                  </a:lnTo>
                  <a:lnTo>
                    <a:pt x="308326" y="496663"/>
                  </a:lnTo>
                  <a:lnTo>
                    <a:pt x="293571" y="485586"/>
                  </a:lnTo>
                  <a:lnTo>
                    <a:pt x="289885" y="485586"/>
                  </a:lnTo>
                  <a:lnTo>
                    <a:pt x="312012" y="474518"/>
                  </a:lnTo>
                  <a:lnTo>
                    <a:pt x="304639" y="467136"/>
                  </a:lnTo>
                  <a:lnTo>
                    <a:pt x="282503" y="478204"/>
                  </a:lnTo>
                  <a:lnTo>
                    <a:pt x="278817" y="481900"/>
                  </a:lnTo>
                  <a:lnTo>
                    <a:pt x="275121" y="485586"/>
                  </a:lnTo>
                  <a:lnTo>
                    <a:pt x="271435" y="485586"/>
                  </a:lnTo>
                  <a:lnTo>
                    <a:pt x="267749" y="485586"/>
                  </a:lnTo>
                  <a:lnTo>
                    <a:pt x="260367" y="485586"/>
                  </a:lnTo>
                  <a:lnTo>
                    <a:pt x="260367" y="481900"/>
                  </a:lnTo>
                  <a:lnTo>
                    <a:pt x="256681" y="478204"/>
                  </a:lnTo>
                  <a:lnTo>
                    <a:pt x="256681" y="452372"/>
                  </a:lnTo>
                  <a:lnTo>
                    <a:pt x="252985" y="448686"/>
                  </a:lnTo>
                  <a:lnTo>
                    <a:pt x="256681" y="444990"/>
                  </a:lnTo>
                  <a:lnTo>
                    <a:pt x="264053" y="444990"/>
                  </a:lnTo>
                  <a:lnTo>
                    <a:pt x="256681" y="430227"/>
                  </a:lnTo>
                  <a:lnTo>
                    <a:pt x="264053" y="426540"/>
                  </a:lnTo>
                  <a:lnTo>
                    <a:pt x="267749" y="419158"/>
                  </a:lnTo>
                  <a:lnTo>
                    <a:pt x="282503" y="404395"/>
                  </a:lnTo>
                  <a:lnTo>
                    <a:pt x="282503" y="400709"/>
                  </a:lnTo>
                  <a:lnTo>
                    <a:pt x="286189" y="397013"/>
                  </a:lnTo>
                  <a:lnTo>
                    <a:pt x="293571" y="385945"/>
                  </a:lnTo>
                  <a:lnTo>
                    <a:pt x="297258" y="378563"/>
                  </a:lnTo>
                  <a:lnTo>
                    <a:pt x="297258" y="374867"/>
                  </a:lnTo>
                  <a:lnTo>
                    <a:pt x="300944" y="371181"/>
                  </a:lnTo>
                  <a:lnTo>
                    <a:pt x="300944" y="367495"/>
                  </a:lnTo>
                  <a:lnTo>
                    <a:pt x="300944" y="363799"/>
                  </a:lnTo>
                  <a:lnTo>
                    <a:pt x="304639" y="360113"/>
                  </a:lnTo>
                  <a:lnTo>
                    <a:pt x="304639" y="356417"/>
                  </a:lnTo>
                  <a:lnTo>
                    <a:pt x="308326" y="356417"/>
                  </a:lnTo>
                  <a:lnTo>
                    <a:pt x="312012" y="356417"/>
                  </a:lnTo>
                  <a:lnTo>
                    <a:pt x="315707" y="356417"/>
                  </a:lnTo>
                  <a:lnTo>
                    <a:pt x="315707" y="352731"/>
                  </a:lnTo>
                  <a:lnTo>
                    <a:pt x="334148" y="334272"/>
                  </a:lnTo>
                  <a:lnTo>
                    <a:pt x="330462" y="323204"/>
                  </a:lnTo>
                  <a:lnTo>
                    <a:pt x="326775" y="315822"/>
                  </a:lnTo>
                  <a:lnTo>
                    <a:pt x="326775" y="312136"/>
                  </a:lnTo>
                  <a:lnTo>
                    <a:pt x="330462" y="308440"/>
                  </a:lnTo>
                  <a:lnTo>
                    <a:pt x="334148" y="304754"/>
                  </a:lnTo>
                  <a:lnTo>
                    <a:pt x="323080" y="304754"/>
                  </a:lnTo>
                  <a:lnTo>
                    <a:pt x="323080" y="301058"/>
                  </a:lnTo>
                  <a:lnTo>
                    <a:pt x="326775" y="278912"/>
                  </a:lnTo>
                  <a:lnTo>
                    <a:pt x="326775" y="267844"/>
                  </a:lnTo>
                  <a:lnTo>
                    <a:pt x="330462" y="267844"/>
                  </a:lnTo>
                  <a:lnTo>
                    <a:pt x="326775" y="260462"/>
                  </a:lnTo>
                  <a:lnTo>
                    <a:pt x="330462" y="256776"/>
                  </a:lnTo>
                  <a:lnTo>
                    <a:pt x="330462" y="245699"/>
                  </a:lnTo>
                  <a:lnTo>
                    <a:pt x="326775" y="238317"/>
                  </a:lnTo>
                  <a:lnTo>
                    <a:pt x="323080" y="230935"/>
                  </a:lnTo>
                  <a:lnTo>
                    <a:pt x="326775" y="223563"/>
                  </a:lnTo>
                  <a:lnTo>
                    <a:pt x="323080" y="219867"/>
                  </a:lnTo>
                  <a:lnTo>
                    <a:pt x="323080" y="212485"/>
                  </a:lnTo>
                  <a:lnTo>
                    <a:pt x="323080" y="208799"/>
                  </a:lnTo>
                  <a:lnTo>
                    <a:pt x="319394" y="201417"/>
                  </a:lnTo>
                  <a:lnTo>
                    <a:pt x="312012" y="197721"/>
                  </a:lnTo>
                  <a:lnTo>
                    <a:pt x="304639" y="194035"/>
                  </a:lnTo>
                  <a:lnTo>
                    <a:pt x="297258" y="171890"/>
                  </a:lnTo>
                  <a:lnTo>
                    <a:pt x="289885" y="168203"/>
                  </a:lnTo>
                  <a:lnTo>
                    <a:pt x="286189" y="164508"/>
                  </a:lnTo>
                  <a:lnTo>
                    <a:pt x="282503" y="160821"/>
                  </a:lnTo>
                  <a:lnTo>
                    <a:pt x="278817" y="153439"/>
                  </a:lnTo>
                  <a:lnTo>
                    <a:pt x="278817" y="149744"/>
                  </a:lnTo>
                  <a:lnTo>
                    <a:pt x="275121" y="149744"/>
                  </a:lnTo>
                  <a:lnTo>
                    <a:pt x="264053" y="142362"/>
                  </a:lnTo>
                  <a:lnTo>
                    <a:pt x="264053" y="134980"/>
                  </a:lnTo>
                  <a:lnTo>
                    <a:pt x="264053" y="127608"/>
                  </a:lnTo>
                  <a:lnTo>
                    <a:pt x="267749" y="127608"/>
                  </a:lnTo>
                  <a:lnTo>
                    <a:pt x="267749" y="123912"/>
                  </a:lnTo>
                  <a:lnTo>
                    <a:pt x="271435" y="112844"/>
                  </a:lnTo>
                  <a:lnTo>
                    <a:pt x="271435" y="109148"/>
                  </a:lnTo>
                  <a:lnTo>
                    <a:pt x="275121" y="105462"/>
                  </a:lnTo>
                  <a:lnTo>
                    <a:pt x="275121" y="101766"/>
                  </a:lnTo>
                  <a:lnTo>
                    <a:pt x="267749" y="98080"/>
                  </a:lnTo>
                  <a:lnTo>
                    <a:pt x="264053" y="98080"/>
                  </a:lnTo>
                  <a:lnTo>
                    <a:pt x="260367" y="98080"/>
                  </a:lnTo>
                  <a:lnTo>
                    <a:pt x="260367" y="94384"/>
                  </a:lnTo>
                  <a:lnTo>
                    <a:pt x="256681" y="94384"/>
                  </a:lnTo>
                  <a:lnTo>
                    <a:pt x="252985" y="94384"/>
                  </a:lnTo>
                  <a:lnTo>
                    <a:pt x="234545" y="87003"/>
                  </a:lnTo>
                  <a:lnTo>
                    <a:pt x="230859" y="83316"/>
                  </a:lnTo>
                  <a:lnTo>
                    <a:pt x="230859" y="79630"/>
                  </a:lnTo>
                  <a:lnTo>
                    <a:pt x="230859" y="75935"/>
                  </a:lnTo>
                  <a:lnTo>
                    <a:pt x="234545" y="72248"/>
                  </a:lnTo>
                  <a:lnTo>
                    <a:pt x="230859" y="68553"/>
                  </a:lnTo>
                  <a:lnTo>
                    <a:pt x="230859" y="64867"/>
                  </a:lnTo>
                  <a:lnTo>
                    <a:pt x="230859" y="57485"/>
                  </a:lnTo>
                  <a:lnTo>
                    <a:pt x="234545" y="57485"/>
                  </a:lnTo>
                  <a:lnTo>
                    <a:pt x="238231" y="57485"/>
                  </a:lnTo>
                  <a:lnTo>
                    <a:pt x="238231" y="53789"/>
                  </a:lnTo>
                  <a:lnTo>
                    <a:pt x="234545" y="53789"/>
                  </a:lnTo>
                  <a:lnTo>
                    <a:pt x="234545" y="50103"/>
                  </a:lnTo>
                  <a:lnTo>
                    <a:pt x="234545" y="46407"/>
                  </a:lnTo>
                  <a:lnTo>
                    <a:pt x="230859" y="46407"/>
                  </a:lnTo>
                  <a:lnTo>
                    <a:pt x="219791" y="39025"/>
                  </a:lnTo>
                  <a:lnTo>
                    <a:pt x="216095" y="35339"/>
                  </a:lnTo>
                  <a:lnTo>
                    <a:pt x="208723" y="35339"/>
                  </a:lnTo>
                  <a:lnTo>
                    <a:pt x="205027" y="35339"/>
                  </a:lnTo>
                  <a:lnTo>
                    <a:pt x="193959" y="35339"/>
                  </a:lnTo>
                  <a:lnTo>
                    <a:pt x="193959" y="31653"/>
                  </a:lnTo>
                  <a:lnTo>
                    <a:pt x="190273" y="35339"/>
                  </a:lnTo>
                  <a:lnTo>
                    <a:pt x="186587" y="35339"/>
                  </a:lnTo>
                  <a:lnTo>
                    <a:pt x="182891" y="31653"/>
                  </a:lnTo>
                  <a:lnTo>
                    <a:pt x="182891" y="27957"/>
                  </a:lnTo>
                  <a:lnTo>
                    <a:pt x="179205" y="27957"/>
                  </a:lnTo>
                  <a:lnTo>
                    <a:pt x="175518" y="24271"/>
                  </a:lnTo>
                  <a:lnTo>
                    <a:pt x="175518" y="20575"/>
                  </a:lnTo>
                  <a:lnTo>
                    <a:pt x="171823" y="16889"/>
                  </a:lnTo>
                  <a:lnTo>
                    <a:pt x="171823" y="13193"/>
                  </a:lnTo>
                  <a:lnTo>
                    <a:pt x="168137" y="9507"/>
                  </a:lnTo>
                  <a:lnTo>
                    <a:pt x="164450" y="5812"/>
                  </a:lnTo>
                  <a:lnTo>
                    <a:pt x="160755" y="5812"/>
                  </a:lnTo>
                  <a:lnTo>
                    <a:pt x="153382" y="5812"/>
                  </a:lnTo>
                  <a:close/>
                </a:path>
              </a:pathLst>
            </a:custGeom>
            <a:solidFill>
              <a:srgbClr val="408E94"/>
            </a:solidFill>
            <a:ln w="12821" cap="flat">
              <a:solidFill>
                <a:schemeClr val="bg1"/>
              </a:solidFill>
              <a:prstDash val="solid"/>
              <a:round/>
            </a:ln>
          </p:spPr>
          <p:txBody>
            <a:bodyPr rot="0" spcFirstLastPara="0" vertOverflow="overflow" horzOverflow="overflow" vert="horz" wrap="square" lIns="180000" tIns="45720" rIns="91440" bIns="4572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76</a:t>
              </a:r>
            </a:p>
          </p:txBody>
        </p:sp>
        <p:sp>
          <p:nvSpPr>
            <p:cNvPr id="80" name="Freeform: Shape 79">
              <a:extLst>
                <a:ext uri="{FF2B5EF4-FFF2-40B4-BE49-F238E27FC236}">
                  <a16:creationId xmlns:a16="http://schemas.microsoft.com/office/drawing/2014/main" id="{43F84481-B7FF-428A-B61D-8537DA249718}"/>
                </a:ext>
              </a:extLst>
            </p:cNvPr>
            <p:cNvSpPr/>
            <p:nvPr/>
          </p:nvSpPr>
          <p:spPr>
            <a:xfrm>
              <a:off x="2220591" y="3634360"/>
              <a:ext cx="584161" cy="476554"/>
            </a:xfrm>
            <a:custGeom>
              <a:avLst/>
              <a:gdLst>
                <a:gd name="connsiteX0" fmla="*/ 256678 w 361950"/>
                <a:gd name="connsiteY0" fmla="*/ 5812 h 295275"/>
                <a:gd name="connsiteX1" fmla="*/ 252982 w 361950"/>
                <a:gd name="connsiteY1" fmla="*/ 9502 h 295275"/>
                <a:gd name="connsiteX2" fmla="*/ 227160 w 361950"/>
                <a:gd name="connsiteY2" fmla="*/ 16882 h 295275"/>
                <a:gd name="connsiteX3" fmla="*/ 223474 w 361950"/>
                <a:gd name="connsiteY3" fmla="*/ 16882 h 295275"/>
                <a:gd name="connsiteX4" fmla="*/ 219788 w 361950"/>
                <a:gd name="connsiteY4" fmla="*/ 20573 h 295275"/>
                <a:gd name="connsiteX5" fmla="*/ 190270 w 361950"/>
                <a:gd name="connsiteY5" fmla="*/ 46407 h 295275"/>
                <a:gd name="connsiteX6" fmla="*/ 190270 w 361950"/>
                <a:gd name="connsiteY6" fmla="*/ 50098 h 295275"/>
                <a:gd name="connsiteX7" fmla="*/ 186584 w 361950"/>
                <a:gd name="connsiteY7" fmla="*/ 50098 h 295275"/>
                <a:gd name="connsiteX8" fmla="*/ 171820 w 361950"/>
                <a:gd name="connsiteY8" fmla="*/ 50098 h 295275"/>
                <a:gd name="connsiteX9" fmla="*/ 168134 w 361950"/>
                <a:gd name="connsiteY9" fmla="*/ 50098 h 295275"/>
                <a:gd name="connsiteX10" fmla="*/ 168134 w 361950"/>
                <a:gd name="connsiteY10" fmla="*/ 53788 h 295275"/>
                <a:gd name="connsiteX11" fmla="*/ 164448 w 361950"/>
                <a:gd name="connsiteY11" fmla="*/ 64860 h 295275"/>
                <a:gd name="connsiteX12" fmla="*/ 164448 w 361950"/>
                <a:gd name="connsiteY12" fmla="*/ 61170 h 295275"/>
                <a:gd name="connsiteX13" fmla="*/ 160761 w 361950"/>
                <a:gd name="connsiteY13" fmla="*/ 68551 h 295275"/>
                <a:gd name="connsiteX14" fmla="*/ 160761 w 361950"/>
                <a:gd name="connsiteY14" fmla="*/ 72242 h 295275"/>
                <a:gd name="connsiteX15" fmla="*/ 160761 w 361950"/>
                <a:gd name="connsiteY15" fmla="*/ 75932 h 295275"/>
                <a:gd name="connsiteX16" fmla="*/ 160761 w 361950"/>
                <a:gd name="connsiteY16" fmla="*/ 79623 h 295275"/>
                <a:gd name="connsiteX17" fmla="*/ 160761 w 361950"/>
                <a:gd name="connsiteY17" fmla="*/ 83313 h 295275"/>
                <a:gd name="connsiteX18" fmla="*/ 153380 w 361950"/>
                <a:gd name="connsiteY18" fmla="*/ 87004 h 295275"/>
                <a:gd name="connsiteX19" fmla="*/ 149693 w 361950"/>
                <a:gd name="connsiteY19" fmla="*/ 87004 h 295275"/>
                <a:gd name="connsiteX20" fmla="*/ 145998 w 361950"/>
                <a:gd name="connsiteY20" fmla="*/ 90695 h 295275"/>
                <a:gd name="connsiteX21" fmla="*/ 142312 w 361950"/>
                <a:gd name="connsiteY21" fmla="*/ 98075 h 295275"/>
                <a:gd name="connsiteX22" fmla="*/ 138625 w 361950"/>
                <a:gd name="connsiteY22" fmla="*/ 98075 h 295275"/>
                <a:gd name="connsiteX23" fmla="*/ 134930 w 361950"/>
                <a:gd name="connsiteY23" fmla="*/ 98075 h 295275"/>
                <a:gd name="connsiteX24" fmla="*/ 134930 w 361950"/>
                <a:gd name="connsiteY24" fmla="*/ 101765 h 295275"/>
                <a:gd name="connsiteX25" fmla="*/ 72217 w 361950"/>
                <a:gd name="connsiteY25" fmla="*/ 142362 h 295275"/>
                <a:gd name="connsiteX26" fmla="*/ 61149 w 361950"/>
                <a:gd name="connsiteY26" fmla="*/ 149743 h 295275"/>
                <a:gd name="connsiteX27" fmla="*/ 61149 w 361950"/>
                <a:gd name="connsiteY27" fmla="*/ 153434 h 295275"/>
                <a:gd name="connsiteX28" fmla="*/ 57460 w 361950"/>
                <a:gd name="connsiteY28" fmla="*/ 153434 h 295275"/>
                <a:gd name="connsiteX29" fmla="*/ 57460 w 361950"/>
                <a:gd name="connsiteY29" fmla="*/ 157125 h 295275"/>
                <a:gd name="connsiteX30" fmla="*/ 53771 w 361950"/>
                <a:gd name="connsiteY30" fmla="*/ 157125 h 295275"/>
                <a:gd name="connsiteX31" fmla="*/ 51580 w 361950"/>
                <a:gd name="connsiteY31" fmla="*/ 157125 h 295275"/>
                <a:gd name="connsiteX32" fmla="*/ 27947 w 361950"/>
                <a:gd name="connsiteY32" fmla="*/ 171887 h 295275"/>
                <a:gd name="connsiteX33" fmla="*/ 24257 w 361950"/>
                <a:gd name="connsiteY33" fmla="*/ 175578 h 295275"/>
                <a:gd name="connsiteX34" fmla="*/ 9501 w 361950"/>
                <a:gd name="connsiteY34" fmla="*/ 186648 h 295275"/>
                <a:gd name="connsiteX35" fmla="*/ 5812 w 361950"/>
                <a:gd name="connsiteY35" fmla="*/ 186648 h 295275"/>
                <a:gd name="connsiteX36" fmla="*/ 5812 w 361950"/>
                <a:gd name="connsiteY36" fmla="*/ 190339 h 295275"/>
                <a:gd name="connsiteX37" fmla="*/ 13190 w 361950"/>
                <a:gd name="connsiteY37" fmla="*/ 197723 h 295275"/>
                <a:gd name="connsiteX38" fmla="*/ 13190 w 361950"/>
                <a:gd name="connsiteY38" fmla="*/ 205105 h 295275"/>
                <a:gd name="connsiteX39" fmla="*/ 13190 w 361950"/>
                <a:gd name="connsiteY39" fmla="*/ 216173 h 295275"/>
                <a:gd name="connsiteX40" fmla="*/ 9501 w 361950"/>
                <a:gd name="connsiteY40" fmla="*/ 219869 h 295275"/>
                <a:gd name="connsiteX41" fmla="*/ 13190 w 361950"/>
                <a:gd name="connsiteY41" fmla="*/ 219869 h 295275"/>
                <a:gd name="connsiteX42" fmla="*/ 16879 w 361950"/>
                <a:gd name="connsiteY42" fmla="*/ 227241 h 295275"/>
                <a:gd name="connsiteX43" fmla="*/ 13190 w 361950"/>
                <a:gd name="connsiteY43" fmla="*/ 227241 h 295275"/>
                <a:gd name="connsiteX44" fmla="*/ 16879 w 361950"/>
                <a:gd name="connsiteY44" fmla="*/ 230937 h 295275"/>
                <a:gd name="connsiteX45" fmla="*/ 20568 w 361950"/>
                <a:gd name="connsiteY45" fmla="*/ 227241 h 295275"/>
                <a:gd name="connsiteX46" fmla="*/ 24257 w 361950"/>
                <a:gd name="connsiteY46" fmla="*/ 227241 h 295275"/>
                <a:gd name="connsiteX47" fmla="*/ 39014 w 361950"/>
                <a:gd name="connsiteY47" fmla="*/ 223555 h 295275"/>
                <a:gd name="connsiteX48" fmla="*/ 42703 w 361950"/>
                <a:gd name="connsiteY48" fmla="*/ 223555 h 295275"/>
                <a:gd name="connsiteX49" fmla="*/ 46392 w 361950"/>
                <a:gd name="connsiteY49" fmla="*/ 223555 h 295275"/>
                <a:gd name="connsiteX50" fmla="*/ 50082 w 361950"/>
                <a:gd name="connsiteY50" fmla="*/ 227241 h 295275"/>
                <a:gd name="connsiteX51" fmla="*/ 53771 w 361950"/>
                <a:gd name="connsiteY51" fmla="*/ 227241 h 295275"/>
                <a:gd name="connsiteX52" fmla="*/ 57460 w 361950"/>
                <a:gd name="connsiteY52" fmla="*/ 227241 h 295275"/>
                <a:gd name="connsiteX53" fmla="*/ 64838 w 361950"/>
                <a:gd name="connsiteY53" fmla="*/ 227241 h 295275"/>
                <a:gd name="connsiteX54" fmla="*/ 75903 w 361950"/>
                <a:gd name="connsiteY54" fmla="*/ 230937 h 295275"/>
                <a:gd name="connsiteX55" fmla="*/ 83285 w 361950"/>
                <a:gd name="connsiteY55" fmla="*/ 238319 h 295275"/>
                <a:gd name="connsiteX56" fmla="*/ 94353 w 361950"/>
                <a:gd name="connsiteY56" fmla="*/ 242005 h 295275"/>
                <a:gd name="connsiteX57" fmla="*/ 101725 w 361950"/>
                <a:gd name="connsiteY57" fmla="*/ 249387 h 295275"/>
                <a:gd name="connsiteX58" fmla="*/ 134930 w 361950"/>
                <a:gd name="connsiteY58" fmla="*/ 278914 h 295275"/>
                <a:gd name="connsiteX59" fmla="*/ 138625 w 361950"/>
                <a:gd name="connsiteY59" fmla="*/ 286296 h 295275"/>
                <a:gd name="connsiteX60" fmla="*/ 142312 w 361950"/>
                <a:gd name="connsiteY60" fmla="*/ 286296 h 295275"/>
                <a:gd name="connsiteX61" fmla="*/ 149693 w 361950"/>
                <a:gd name="connsiteY61" fmla="*/ 289982 h 295275"/>
                <a:gd name="connsiteX62" fmla="*/ 157066 w 361950"/>
                <a:gd name="connsiteY62" fmla="*/ 286296 h 295275"/>
                <a:gd name="connsiteX63" fmla="*/ 175516 w 361950"/>
                <a:gd name="connsiteY63" fmla="*/ 278914 h 295275"/>
                <a:gd name="connsiteX64" fmla="*/ 179202 w 361950"/>
                <a:gd name="connsiteY64" fmla="*/ 278914 h 295275"/>
                <a:gd name="connsiteX65" fmla="*/ 186584 w 361950"/>
                <a:gd name="connsiteY65" fmla="*/ 278914 h 295275"/>
                <a:gd name="connsiteX66" fmla="*/ 190270 w 361950"/>
                <a:gd name="connsiteY66" fmla="*/ 275219 h 295275"/>
                <a:gd name="connsiteX67" fmla="*/ 201338 w 361950"/>
                <a:gd name="connsiteY67" fmla="*/ 271532 h 295275"/>
                <a:gd name="connsiteX68" fmla="*/ 205024 w 361950"/>
                <a:gd name="connsiteY68" fmla="*/ 271532 h 295275"/>
                <a:gd name="connsiteX69" fmla="*/ 208720 w 361950"/>
                <a:gd name="connsiteY69" fmla="*/ 256769 h 295275"/>
                <a:gd name="connsiteX70" fmla="*/ 212406 w 361950"/>
                <a:gd name="connsiteY70" fmla="*/ 253082 h 295275"/>
                <a:gd name="connsiteX71" fmla="*/ 212406 w 361950"/>
                <a:gd name="connsiteY71" fmla="*/ 242005 h 295275"/>
                <a:gd name="connsiteX72" fmla="*/ 216092 w 361950"/>
                <a:gd name="connsiteY72" fmla="*/ 242005 h 295275"/>
                <a:gd name="connsiteX73" fmla="*/ 216092 w 361950"/>
                <a:gd name="connsiteY73" fmla="*/ 234623 h 295275"/>
                <a:gd name="connsiteX74" fmla="*/ 216092 w 361950"/>
                <a:gd name="connsiteY74" fmla="*/ 230937 h 295275"/>
                <a:gd name="connsiteX75" fmla="*/ 216092 w 361950"/>
                <a:gd name="connsiteY75" fmla="*/ 227241 h 295275"/>
                <a:gd name="connsiteX76" fmla="*/ 216092 w 361950"/>
                <a:gd name="connsiteY76" fmla="*/ 223555 h 295275"/>
                <a:gd name="connsiteX77" fmla="*/ 212406 w 361950"/>
                <a:gd name="connsiteY77" fmla="*/ 223555 h 295275"/>
                <a:gd name="connsiteX78" fmla="*/ 212406 w 361950"/>
                <a:gd name="connsiteY78" fmla="*/ 219869 h 295275"/>
                <a:gd name="connsiteX79" fmla="*/ 208720 w 361950"/>
                <a:gd name="connsiteY79" fmla="*/ 212487 h 295275"/>
                <a:gd name="connsiteX80" fmla="*/ 212406 w 361950"/>
                <a:gd name="connsiteY80" fmla="*/ 208791 h 295275"/>
                <a:gd name="connsiteX81" fmla="*/ 223474 w 361950"/>
                <a:gd name="connsiteY81" fmla="*/ 197723 h 295275"/>
                <a:gd name="connsiteX82" fmla="*/ 230856 w 361950"/>
                <a:gd name="connsiteY82" fmla="*/ 201409 h 295275"/>
                <a:gd name="connsiteX83" fmla="*/ 241914 w 361950"/>
                <a:gd name="connsiteY83" fmla="*/ 197723 h 295275"/>
                <a:gd name="connsiteX84" fmla="*/ 245610 w 361950"/>
                <a:gd name="connsiteY84" fmla="*/ 197723 h 295275"/>
                <a:gd name="connsiteX85" fmla="*/ 249296 w 361950"/>
                <a:gd name="connsiteY85" fmla="*/ 194027 h 295275"/>
                <a:gd name="connsiteX86" fmla="*/ 245610 w 361950"/>
                <a:gd name="connsiteY86" fmla="*/ 194027 h 295275"/>
                <a:gd name="connsiteX87" fmla="*/ 249296 w 361950"/>
                <a:gd name="connsiteY87" fmla="*/ 190339 h 295275"/>
                <a:gd name="connsiteX88" fmla="*/ 252982 w 361950"/>
                <a:gd name="connsiteY88" fmla="*/ 186648 h 295275"/>
                <a:gd name="connsiteX89" fmla="*/ 256678 w 361950"/>
                <a:gd name="connsiteY89" fmla="*/ 182958 h 295275"/>
                <a:gd name="connsiteX90" fmla="*/ 267746 w 361950"/>
                <a:gd name="connsiteY90" fmla="*/ 171887 h 295275"/>
                <a:gd name="connsiteX91" fmla="*/ 297255 w 361950"/>
                <a:gd name="connsiteY91" fmla="*/ 157125 h 295275"/>
                <a:gd name="connsiteX92" fmla="*/ 300950 w 361950"/>
                <a:gd name="connsiteY92" fmla="*/ 157125 h 295275"/>
                <a:gd name="connsiteX93" fmla="*/ 304637 w 361950"/>
                <a:gd name="connsiteY93" fmla="*/ 157125 h 295275"/>
                <a:gd name="connsiteX94" fmla="*/ 308323 w 361950"/>
                <a:gd name="connsiteY94" fmla="*/ 160815 h 295275"/>
                <a:gd name="connsiteX95" fmla="*/ 312009 w 361950"/>
                <a:gd name="connsiteY95" fmla="*/ 160815 h 295275"/>
                <a:gd name="connsiteX96" fmla="*/ 326773 w 361950"/>
                <a:gd name="connsiteY96" fmla="*/ 149743 h 295275"/>
                <a:gd name="connsiteX97" fmla="*/ 330459 w 361950"/>
                <a:gd name="connsiteY97" fmla="*/ 142362 h 295275"/>
                <a:gd name="connsiteX98" fmla="*/ 337841 w 361950"/>
                <a:gd name="connsiteY98" fmla="*/ 134981 h 295275"/>
                <a:gd name="connsiteX99" fmla="*/ 341527 w 361950"/>
                <a:gd name="connsiteY99" fmla="*/ 127600 h 295275"/>
                <a:gd name="connsiteX100" fmla="*/ 345213 w 361950"/>
                <a:gd name="connsiteY100" fmla="*/ 123909 h 295275"/>
                <a:gd name="connsiteX101" fmla="*/ 348909 w 361950"/>
                <a:gd name="connsiteY101" fmla="*/ 116528 h 295275"/>
                <a:gd name="connsiteX102" fmla="*/ 359977 w 361950"/>
                <a:gd name="connsiteY102" fmla="*/ 94385 h 295275"/>
                <a:gd name="connsiteX103" fmla="*/ 363663 w 361950"/>
                <a:gd name="connsiteY103" fmla="*/ 87004 h 295275"/>
                <a:gd name="connsiteX104" fmla="*/ 363663 w 361950"/>
                <a:gd name="connsiteY104" fmla="*/ 83313 h 295275"/>
                <a:gd name="connsiteX105" fmla="*/ 363663 w 361950"/>
                <a:gd name="connsiteY105" fmla="*/ 75932 h 295275"/>
                <a:gd name="connsiteX106" fmla="*/ 363663 w 361950"/>
                <a:gd name="connsiteY106" fmla="*/ 57479 h 295275"/>
                <a:gd name="connsiteX107" fmla="*/ 359977 w 361950"/>
                <a:gd name="connsiteY107" fmla="*/ 50098 h 295275"/>
                <a:gd name="connsiteX108" fmla="*/ 341527 w 361950"/>
                <a:gd name="connsiteY108" fmla="*/ 31645 h 295275"/>
                <a:gd name="connsiteX109" fmla="*/ 341527 w 361950"/>
                <a:gd name="connsiteY109" fmla="*/ 27954 h 295275"/>
                <a:gd name="connsiteX110" fmla="*/ 337841 w 361950"/>
                <a:gd name="connsiteY110" fmla="*/ 27954 h 295275"/>
                <a:gd name="connsiteX111" fmla="*/ 319391 w 361950"/>
                <a:gd name="connsiteY111" fmla="*/ 27954 h 295275"/>
                <a:gd name="connsiteX112" fmla="*/ 315705 w 361950"/>
                <a:gd name="connsiteY112" fmla="*/ 27954 h 295275"/>
                <a:gd name="connsiteX113" fmla="*/ 300950 w 361950"/>
                <a:gd name="connsiteY113" fmla="*/ 24264 h 295275"/>
                <a:gd name="connsiteX114" fmla="*/ 267746 w 361950"/>
                <a:gd name="connsiteY114" fmla="*/ 13193 h 295275"/>
                <a:gd name="connsiteX115" fmla="*/ 264051 w 361950"/>
                <a:gd name="connsiteY115" fmla="*/ 13193 h 295275"/>
                <a:gd name="connsiteX116" fmla="*/ 260364 w 361950"/>
                <a:gd name="connsiteY116" fmla="*/ 5812 h 295275"/>
                <a:gd name="connsiteX117" fmla="*/ 256678 w 361950"/>
                <a:gd name="connsiteY117" fmla="*/ 5812 h 295275"/>
                <a:gd name="connsiteX118" fmla="*/ 51580 w 361950"/>
                <a:gd name="connsiteY118" fmla="*/ 157125 h 295275"/>
                <a:gd name="connsiteX119" fmla="*/ 57460 w 361950"/>
                <a:gd name="connsiteY119" fmla="*/ 153434 h 295275"/>
                <a:gd name="connsiteX120" fmla="*/ 50082 w 361950"/>
                <a:gd name="connsiteY120" fmla="*/ 157125 h 295275"/>
                <a:gd name="connsiteX121" fmla="*/ 51580 w 361950"/>
                <a:gd name="connsiteY121" fmla="*/ 157125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361950" h="295275">
                  <a:moveTo>
                    <a:pt x="256678" y="5812"/>
                  </a:moveTo>
                  <a:lnTo>
                    <a:pt x="252982" y="9502"/>
                  </a:lnTo>
                  <a:lnTo>
                    <a:pt x="227160" y="16882"/>
                  </a:lnTo>
                  <a:lnTo>
                    <a:pt x="223474" y="16882"/>
                  </a:lnTo>
                  <a:lnTo>
                    <a:pt x="219788" y="20573"/>
                  </a:lnTo>
                  <a:lnTo>
                    <a:pt x="190270" y="46407"/>
                  </a:lnTo>
                  <a:lnTo>
                    <a:pt x="190270" y="50098"/>
                  </a:lnTo>
                  <a:lnTo>
                    <a:pt x="186584" y="50098"/>
                  </a:lnTo>
                  <a:lnTo>
                    <a:pt x="171820" y="50098"/>
                  </a:lnTo>
                  <a:lnTo>
                    <a:pt x="168134" y="50098"/>
                  </a:lnTo>
                  <a:lnTo>
                    <a:pt x="168134" y="53788"/>
                  </a:lnTo>
                  <a:lnTo>
                    <a:pt x="164448" y="64860"/>
                  </a:lnTo>
                  <a:lnTo>
                    <a:pt x="164448" y="61170"/>
                  </a:lnTo>
                  <a:lnTo>
                    <a:pt x="160761" y="68551"/>
                  </a:lnTo>
                  <a:lnTo>
                    <a:pt x="160761" y="72242"/>
                  </a:lnTo>
                  <a:lnTo>
                    <a:pt x="160761" y="75932"/>
                  </a:lnTo>
                  <a:lnTo>
                    <a:pt x="160761" y="79623"/>
                  </a:lnTo>
                  <a:lnTo>
                    <a:pt x="160761" y="83313"/>
                  </a:lnTo>
                  <a:lnTo>
                    <a:pt x="153380" y="87004"/>
                  </a:lnTo>
                  <a:lnTo>
                    <a:pt x="149693" y="87004"/>
                  </a:lnTo>
                  <a:lnTo>
                    <a:pt x="145998" y="90695"/>
                  </a:lnTo>
                  <a:lnTo>
                    <a:pt x="142312" y="98075"/>
                  </a:lnTo>
                  <a:lnTo>
                    <a:pt x="138625" y="98075"/>
                  </a:lnTo>
                  <a:lnTo>
                    <a:pt x="134930" y="98075"/>
                  </a:lnTo>
                  <a:lnTo>
                    <a:pt x="134930" y="101765"/>
                  </a:lnTo>
                  <a:lnTo>
                    <a:pt x="72217" y="142362"/>
                  </a:lnTo>
                  <a:lnTo>
                    <a:pt x="61149" y="149743"/>
                  </a:lnTo>
                  <a:lnTo>
                    <a:pt x="61149" y="153434"/>
                  </a:lnTo>
                  <a:lnTo>
                    <a:pt x="57460" y="153434"/>
                  </a:lnTo>
                  <a:lnTo>
                    <a:pt x="57460" y="157125"/>
                  </a:lnTo>
                  <a:lnTo>
                    <a:pt x="53771" y="157125"/>
                  </a:lnTo>
                  <a:lnTo>
                    <a:pt x="51580" y="157125"/>
                  </a:lnTo>
                  <a:lnTo>
                    <a:pt x="27947" y="171887"/>
                  </a:lnTo>
                  <a:lnTo>
                    <a:pt x="24257" y="175578"/>
                  </a:lnTo>
                  <a:lnTo>
                    <a:pt x="9501" y="186648"/>
                  </a:lnTo>
                  <a:lnTo>
                    <a:pt x="5812" y="186648"/>
                  </a:lnTo>
                  <a:lnTo>
                    <a:pt x="5812" y="190339"/>
                  </a:lnTo>
                  <a:lnTo>
                    <a:pt x="13190" y="197723"/>
                  </a:lnTo>
                  <a:lnTo>
                    <a:pt x="13190" y="205105"/>
                  </a:lnTo>
                  <a:lnTo>
                    <a:pt x="13190" y="216173"/>
                  </a:lnTo>
                  <a:lnTo>
                    <a:pt x="9501" y="219869"/>
                  </a:lnTo>
                  <a:lnTo>
                    <a:pt x="13190" y="219869"/>
                  </a:lnTo>
                  <a:lnTo>
                    <a:pt x="16879" y="227241"/>
                  </a:lnTo>
                  <a:lnTo>
                    <a:pt x="13190" y="227241"/>
                  </a:lnTo>
                  <a:lnTo>
                    <a:pt x="16879" y="230937"/>
                  </a:lnTo>
                  <a:lnTo>
                    <a:pt x="20568" y="227241"/>
                  </a:lnTo>
                  <a:lnTo>
                    <a:pt x="24257" y="227241"/>
                  </a:lnTo>
                  <a:lnTo>
                    <a:pt x="39014" y="223555"/>
                  </a:lnTo>
                  <a:lnTo>
                    <a:pt x="42703" y="223555"/>
                  </a:lnTo>
                  <a:lnTo>
                    <a:pt x="46392" y="223555"/>
                  </a:lnTo>
                  <a:lnTo>
                    <a:pt x="50082" y="227241"/>
                  </a:lnTo>
                  <a:lnTo>
                    <a:pt x="53771" y="227241"/>
                  </a:lnTo>
                  <a:lnTo>
                    <a:pt x="57460" y="227241"/>
                  </a:lnTo>
                  <a:lnTo>
                    <a:pt x="64838" y="227241"/>
                  </a:lnTo>
                  <a:lnTo>
                    <a:pt x="75903" y="230937"/>
                  </a:lnTo>
                  <a:lnTo>
                    <a:pt x="83285" y="238319"/>
                  </a:lnTo>
                  <a:lnTo>
                    <a:pt x="94353" y="242005"/>
                  </a:lnTo>
                  <a:lnTo>
                    <a:pt x="101725" y="249387"/>
                  </a:lnTo>
                  <a:lnTo>
                    <a:pt x="134930" y="278914"/>
                  </a:lnTo>
                  <a:lnTo>
                    <a:pt x="138625" y="286296"/>
                  </a:lnTo>
                  <a:lnTo>
                    <a:pt x="142312" y="286296"/>
                  </a:lnTo>
                  <a:lnTo>
                    <a:pt x="149693" y="289982"/>
                  </a:lnTo>
                  <a:lnTo>
                    <a:pt x="157066" y="286296"/>
                  </a:lnTo>
                  <a:lnTo>
                    <a:pt x="175516" y="278914"/>
                  </a:lnTo>
                  <a:lnTo>
                    <a:pt x="179202" y="278914"/>
                  </a:lnTo>
                  <a:lnTo>
                    <a:pt x="186584" y="278914"/>
                  </a:lnTo>
                  <a:lnTo>
                    <a:pt x="190270" y="275219"/>
                  </a:lnTo>
                  <a:lnTo>
                    <a:pt x="201338" y="271532"/>
                  </a:lnTo>
                  <a:lnTo>
                    <a:pt x="205024" y="271532"/>
                  </a:lnTo>
                  <a:lnTo>
                    <a:pt x="208720" y="256769"/>
                  </a:lnTo>
                  <a:lnTo>
                    <a:pt x="212406" y="253082"/>
                  </a:lnTo>
                  <a:lnTo>
                    <a:pt x="212406" y="242005"/>
                  </a:lnTo>
                  <a:lnTo>
                    <a:pt x="216092" y="242005"/>
                  </a:lnTo>
                  <a:lnTo>
                    <a:pt x="216092" y="234623"/>
                  </a:lnTo>
                  <a:lnTo>
                    <a:pt x="216092" y="230937"/>
                  </a:lnTo>
                  <a:lnTo>
                    <a:pt x="216092" y="227241"/>
                  </a:lnTo>
                  <a:lnTo>
                    <a:pt x="216092" y="223555"/>
                  </a:lnTo>
                  <a:lnTo>
                    <a:pt x="212406" y="223555"/>
                  </a:lnTo>
                  <a:lnTo>
                    <a:pt x="212406" y="219869"/>
                  </a:lnTo>
                  <a:lnTo>
                    <a:pt x="208720" y="212487"/>
                  </a:lnTo>
                  <a:lnTo>
                    <a:pt x="212406" y="208791"/>
                  </a:lnTo>
                  <a:lnTo>
                    <a:pt x="223474" y="197723"/>
                  </a:lnTo>
                  <a:lnTo>
                    <a:pt x="230856" y="201409"/>
                  </a:lnTo>
                  <a:lnTo>
                    <a:pt x="241914" y="197723"/>
                  </a:lnTo>
                  <a:lnTo>
                    <a:pt x="245610" y="197723"/>
                  </a:lnTo>
                  <a:lnTo>
                    <a:pt x="249296" y="194027"/>
                  </a:lnTo>
                  <a:lnTo>
                    <a:pt x="245610" y="194027"/>
                  </a:lnTo>
                  <a:lnTo>
                    <a:pt x="249296" y="190339"/>
                  </a:lnTo>
                  <a:lnTo>
                    <a:pt x="252982" y="186648"/>
                  </a:lnTo>
                  <a:lnTo>
                    <a:pt x="256678" y="182958"/>
                  </a:lnTo>
                  <a:lnTo>
                    <a:pt x="267746" y="171887"/>
                  </a:lnTo>
                  <a:lnTo>
                    <a:pt x="297255" y="157125"/>
                  </a:lnTo>
                  <a:lnTo>
                    <a:pt x="300950" y="157125"/>
                  </a:lnTo>
                  <a:lnTo>
                    <a:pt x="304637" y="157125"/>
                  </a:lnTo>
                  <a:lnTo>
                    <a:pt x="308323" y="160815"/>
                  </a:lnTo>
                  <a:lnTo>
                    <a:pt x="312009" y="160815"/>
                  </a:lnTo>
                  <a:lnTo>
                    <a:pt x="326773" y="149743"/>
                  </a:lnTo>
                  <a:lnTo>
                    <a:pt x="330459" y="142362"/>
                  </a:lnTo>
                  <a:lnTo>
                    <a:pt x="337841" y="134981"/>
                  </a:lnTo>
                  <a:lnTo>
                    <a:pt x="341527" y="127600"/>
                  </a:lnTo>
                  <a:lnTo>
                    <a:pt x="345213" y="123909"/>
                  </a:lnTo>
                  <a:lnTo>
                    <a:pt x="348909" y="116528"/>
                  </a:lnTo>
                  <a:lnTo>
                    <a:pt x="359977" y="94385"/>
                  </a:lnTo>
                  <a:lnTo>
                    <a:pt x="363663" y="87004"/>
                  </a:lnTo>
                  <a:lnTo>
                    <a:pt x="363663" y="83313"/>
                  </a:lnTo>
                  <a:lnTo>
                    <a:pt x="363663" y="75932"/>
                  </a:lnTo>
                  <a:lnTo>
                    <a:pt x="363663" y="57479"/>
                  </a:lnTo>
                  <a:lnTo>
                    <a:pt x="359977" y="50098"/>
                  </a:lnTo>
                  <a:lnTo>
                    <a:pt x="341527" y="31645"/>
                  </a:lnTo>
                  <a:lnTo>
                    <a:pt x="341527" y="27954"/>
                  </a:lnTo>
                  <a:lnTo>
                    <a:pt x="337841" y="27954"/>
                  </a:lnTo>
                  <a:lnTo>
                    <a:pt x="319391" y="27954"/>
                  </a:lnTo>
                  <a:lnTo>
                    <a:pt x="315705" y="27954"/>
                  </a:lnTo>
                  <a:lnTo>
                    <a:pt x="300950" y="24264"/>
                  </a:lnTo>
                  <a:lnTo>
                    <a:pt x="267746" y="13193"/>
                  </a:lnTo>
                  <a:lnTo>
                    <a:pt x="264051" y="13193"/>
                  </a:lnTo>
                  <a:lnTo>
                    <a:pt x="260364" y="5812"/>
                  </a:lnTo>
                  <a:lnTo>
                    <a:pt x="256678" y="5812"/>
                  </a:lnTo>
                  <a:close/>
                  <a:moveTo>
                    <a:pt x="51580" y="157125"/>
                  </a:moveTo>
                  <a:lnTo>
                    <a:pt x="57460" y="153434"/>
                  </a:lnTo>
                  <a:lnTo>
                    <a:pt x="50082" y="157125"/>
                  </a:lnTo>
                  <a:lnTo>
                    <a:pt x="51580" y="157125"/>
                  </a:lnTo>
                  <a:close/>
                </a:path>
              </a:pathLst>
            </a:custGeom>
            <a:solidFill>
              <a:srgbClr val="22777B"/>
            </a:solidFill>
            <a:ln w="12821" cap="flat">
              <a:solidFill>
                <a:schemeClr val="bg1"/>
              </a:solidFill>
              <a:prstDash val="solid"/>
              <a:round/>
            </a:ln>
          </p:spPr>
          <p:txBody>
            <a:bodyPr rot="0" spcFirstLastPara="0" vertOverflow="overflow" horzOverflow="overflow" vert="horz" wrap="square" lIns="216000" tIns="45720" rIns="91440" bIns="252000" numCol="1" spcCol="0" rtlCol="0" fromWordArt="0" anchor="ctr" anchorCtr="0" forceAA="0" compatLnSpc="1">
              <a:prstTxWarp prst="textNoShape">
                <a:avLst/>
              </a:prstTxWarp>
              <a:noAutofit/>
            </a:bodyPr>
            <a:lstStyle/>
            <a:p>
              <a:pPr marL="0" indent="0" algn="ctr">
                <a:buNone/>
              </a:pPr>
              <a:endParaRPr lang="nl-NL" sz="800" b="1" dirty="0">
                <a:solidFill>
                  <a:srgbClr val="FFFFFF"/>
                </a:solidFill>
                <a:latin typeface="+mj-lt"/>
                <a:cs typeface="Arial" panose="020B0604020202020204" pitchFamily="34" charset="0"/>
              </a:endParaRPr>
            </a:p>
          </p:txBody>
        </p:sp>
        <p:sp>
          <p:nvSpPr>
            <p:cNvPr id="81" name="Freeform: Shape 80">
              <a:extLst>
                <a:ext uri="{FF2B5EF4-FFF2-40B4-BE49-F238E27FC236}">
                  <a16:creationId xmlns:a16="http://schemas.microsoft.com/office/drawing/2014/main" id="{38B73AC2-DDD9-4A16-A5E9-33EBE750905C}"/>
                </a:ext>
              </a:extLst>
            </p:cNvPr>
            <p:cNvSpPr/>
            <p:nvPr/>
          </p:nvSpPr>
          <p:spPr>
            <a:xfrm>
              <a:off x="2589743" y="3330587"/>
              <a:ext cx="338200" cy="307454"/>
            </a:xfrm>
            <a:custGeom>
              <a:avLst/>
              <a:gdLst>
                <a:gd name="connsiteX0" fmla="*/ 68524 w 209550"/>
                <a:gd name="connsiteY0" fmla="*/ 5812 h 190500"/>
                <a:gd name="connsiteX1" fmla="*/ 72220 w 209550"/>
                <a:gd name="connsiteY1" fmla="*/ 13193 h 190500"/>
                <a:gd name="connsiteX2" fmla="*/ 64838 w 209550"/>
                <a:gd name="connsiteY2" fmla="*/ 9503 h 190500"/>
                <a:gd name="connsiteX3" fmla="*/ 64838 w 209550"/>
                <a:gd name="connsiteY3" fmla="*/ 13193 h 190500"/>
                <a:gd name="connsiteX4" fmla="*/ 61152 w 209550"/>
                <a:gd name="connsiteY4" fmla="*/ 13193 h 190500"/>
                <a:gd name="connsiteX5" fmla="*/ 42702 w 209550"/>
                <a:gd name="connsiteY5" fmla="*/ 16883 h 190500"/>
                <a:gd name="connsiteX6" fmla="*/ 39016 w 209550"/>
                <a:gd name="connsiteY6" fmla="*/ 16883 h 190500"/>
                <a:gd name="connsiteX7" fmla="*/ 39016 w 209550"/>
                <a:gd name="connsiteY7" fmla="*/ 20574 h 190500"/>
                <a:gd name="connsiteX8" fmla="*/ 27948 w 209550"/>
                <a:gd name="connsiteY8" fmla="*/ 39027 h 190500"/>
                <a:gd name="connsiteX9" fmla="*/ 9498 w 209550"/>
                <a:gd name="connsiteY9" fmla="*/ 68552 h 190500"/>
                <a:gd name="connsiteX10" fmla="*/ 9498 w 209550"/>
                <a:gd name="connsiteY10" fmla="*/ 72242 h 190500"/>
                <a:gd name="connsiteX11" fmla="*/ 5812 w 209550"/>
                <a:gd name="connsiteY11" fmla="*/ 83314 h 190500"/>
                <a:gd name="connsiteX12" fmla="*/ 5812 w 209550"/>
                <a:gd name="connsiteY12" fmla="*/ 120219 h 190500"/>
                <a:gd name="connsiteX13" fmla="*/ 5812 w 209550"/>
                <a:gd name="connsiteY13" fmla="*/ 138672 h 190500"/>
                <a:gd name="connsiteX14" fmla="*/ 5812 w 209550"/>
                <a:gd name="connsiteY14" fmla="*/ 146054 h 190500"/>
                <a:gd name="connsiteX15" fmla="*/ 5812 w 209550"/>
                <a:gd name="connsiteY15" fmla="*/ 149744 h 190500"/>
                <a:gd name="connsiteX16" fmla="*/ 5812 w 209550"/>
                <a:gd name="connsiteY16" fmla="*/ 153435 h 190500"/>
                <a:gd name="connsiteX17" fmla="*/ 9498 w 209550"/>
                <a:gd name="connsiteY17" fmla="*/ 153435 h 190500"/>
                <a:gd name="connsiteX18" fmla="*/ 13184 w 209550"/>
                <a:gd name="connsiteY18" fmla="*/ 157125 h 190500"/>
                <a:gd name="connsiteX19" fmla="*/ 16880 w 209550"/>
                <a:gd name="connsiteY19" fmla="*/ 160816 h 190500"/>
                <a:gd name="connsiteX20" fmla="*/ 24252 w 209550"/>
                <a:gd name="connsiteY20" fmla="*/ 171888 h 190500"/>
                <a:gd name="connsiteX21" fmla="*/ 35320 w 209550"/>
                <a:gd name="connsiteY21" fmla="*/ 186649 h 190500"/>
                <a:gd name="connsiteX22" fmla="*/ 39016 w 209550"/>
                <a:gd name="connsiteY22" fmla="*/ 190340 h 190500"/>
                <a:gd name="connsiteX23" fmla="*/ 42702 w 209550"/>
                <a:gd name="connsiteY23" fmla="*/ 190340 h 190500"/>
                <a:gd name="connsiteX24" fmla="*/ 79592 w 209550"/>
                <a:gd name="connsiteY24" fmla="*/ 190340 h 190500"/>
                <a:gd name="connsiteX25" fmla="*/ 83278 w 209550"/>
                <a:gd name="connsiteY25" fmla="*/ 190340 h 190500"/>
                <a:gd name="connsiteX26" fmla="*/ 94346 w 209550"/>
                <a:gd name="connsiteY26" fmla="*/ 190340 h 190500"/>
                <a:gd name="connsiteX27" fmla="*/ 123864 w 209550"/>
                <a:gd name="connsiteY27" fmla="*/ 190340 h 190500"/>
                <a:gd name="connsiteX28" fmla="*/ 127551 w 209550"/>
                <a:gd name="connsiteY28" fmla="*/ 190340 h 190500"/>
                <a:gd name="connsiteX29" fmla="*/ 157069 w 209550"/>
                <a:gd name="connsiteY29" fmla="*/ 182959 h 190500"/>
                <a:gd name="connsiteX30" fmla="*/ 160755 w 209550"/>
                <a:gd name="connsiteY30" fmla="*/ 186649 h 190500"/>
                <a:gd name="connsiteX31" fmla="*/ 164441 w 209550"/>
                <a:gd name="connsiteY31" fmla="*/ 190340 h 190500"/>
                <a:gd name="connsiteX32" fmla="*/ 171823 w 209550"/>
                <a:gd name="connsiteY32" fmla="*/ 186649 h 190500"/>
                <a:gd name="connsiteX33" fmla="*/ 175509 w 209550"/>
                <a:gd name="connsiteY33" fmla="*/ 186649 h 190500"/>
                <a:gd name="connsiteX34" fmla="*/ 182891 w 209550"/>
                <a:gd name="connsiteY34" fmla="*/ 182959 h 190500"/>
                <a:gd name="connsiteX35" fmla="*/ 182891 w 209550"/>
                <a:gd name="connsiteY35" fmla="*/ 179269 h 190500"/>
                <a:gd name="connsiteX36" fmla="*/ 193959 w 209550"/>
                <a:gd name="connsiteY36" fmla="*/ 175578 h 190500"/>
                <a:gd name="connsiteX37" fmla="*/ 197645 w 209550"/>
                <a:gd name="connsiteY37" fmla="*/ 175578 h 190500"/>
                <a:gd name="connsiteX38" fmla="*/ 208713 w 209550"/>
                <a:gd name="connsiteY38" fmla="*/ 168197 h 190500"/>
                <a:gd name="connsiteX39" fmla="*/ 212409 w 209550"/>
                <a:gd name="connsiteY39" fmla="*/ 164507 h 190500"/>
                <a:gd name="connsiteX40" fmla="*/ 208713 w 209550"/>
                <a:gd name="connsiteY40" fmla="*/ 157125 h 190500"/>
                <a:gd name="connsiteX41" fmla="*/ 201341 w 209550"/>
                <a:gd name="connsiteY41" fmla="*/ 157125 h 190500"/>
                <a:gd name="connsiteX42" fmla="*/ 197645 w 209550"/>
                <a:gd name="connsiteY42" fmla="*/ 153435 h 190500"/>
                <a:gd name="connsiteX43" fmla="*/ 193959 w 209550"/>
                <a:gd name="connsiteY43" fmla="*/ 149744 h 190500"/>
                <a:gd name="connsiteX44" fmla="*/ 186577 w 209550"/>
                <a:gd name="connsiteY44" fmla="*/ 146054 h 190500"/>
                <a:gd name="connsiteX45" fmla="*/ 182891 w 209550"/>
                <a:gd name="connsiteY45" fmla="*/ 146054 h 190500"/>
                <a:gd name="connsiteX46" fmla="*/ 175509 w 209550"/>
                <a:gd name="connsiteY46" fmla="*/ 142363 h 190500"/>
                <a:gd name="connsiteX47" fmla="*/ 175509 w 209550"/>
                <a:gd name="connsiteY47" fmla="*/ 146054 h 190500"/>
                <a:gd name="connsiteX48" fmla="*/ 171823 w 209550"/>
                <a:gd name="connsiteY48" fmla="*/ 146054 h 190500"/>
                <a:gd name="connsiteX49" fmla="*/ 171823 w 209550"/>
                <a:gd name="connsiteY49" fmla="*/ 142363 h 190500"/>
                <a:gd name="connsiteX50" fmla="*/ 171823 w 209550"/>
                <a:gd name="connsiteY50" fmla="*/ 138672 h 190500"/>
                <a:gd name="connsiteX51" fmla="*/ 175509 w 209550"/>
                <a:gd name="connsiteY51" fmla="*/ 134982 h 190500"/>
                <a:gd name="connsiteX52" fmla="*/ 179205 w 209550"/>
                <a:gd name="connsiteY52" fmla="*/ 131291 h 190500"/>
                <a:gd name="connsiteX53" fmla="*/ 186577 w 209550"/>
                <a:gd name="connsiteY53" fmla="*/ 127600 h 190500"/>
                <a:gd name="connsiteX54" fmla="*/ 186577 w 209550"/>
                <a:gd name="connsiteY54" fmla="*/ 123910 h 190500"/>
                <a:gd name="connsiteX55" fmla="*/ 186577 w 209550"/>
                <a:gd name="connsiteY55" fmla="*/ 120219 h 190500"/>
                <a:gd name="connsiteX56" fmla="*/ 182891 w 209550"/>
                <a:gd name="connsiteY56" fmla="*/ 116529 h 190500"/>
                <a:gd name="connsiteX57" fmla="*/ 182891 w 209550"/>
                <a:gd name="connsiteY57" fmla="*/ 112838 h 190500"/>
                <a:gd name="connsiteX58" fmla="*/ 179205 w 209550"/>
                <a:gd name="connsiteY58" fmla="*/ 109147 h 190500"/>
                <a:gd name="connsiteX59" fmla="*/ 175509 w 209550"/>
                <a:gd name="connsiteY59" fmla="*/ 109147 h 190500"/>
                <a:gd name="connsiteX60" fmla="*/ 175509 w 209550"/>
                <a:gd name="connsiteY60" fmla="*/ 105457 h 190500"/>
                <a:gd name="connsiteX61" fmla="*/ 168137 w 209550"/>
                <a:gd name="connsiteY61" fmla="*/ 90695 h 190500"/>
                <a:gd name="connsiteX62" fmla="*/ 164441 w 209550"/>
                <a:gd name="connsiteY62" fmla="*/ 79623 h 190500"/>
                <a:gd name="connsiteX63" fmla="*/ 157069 w 209550"/>
                <a:gd name="connsiteY63" fmla="*/ 72242 h 190500"/>
                <a:gd name="connsiteX64" fmla="*/ 153373 w 209550"/>
                <a:gd name="connsiteY64" fmla="*/ 72242 h 190500"/>
                <a:gd name="connsiteX65" fmla="*/ 149687 w 209550"/>
                <a:gd name="connsiteY65" fmla="*/ 68552 h 190500"/>
                <a:gd name="connsiteX66" fmla="*/ 146001 w 209550"/>
                <a:gd name="connsiteY66" fmla="*/ 61171 h 190500"/>
                <a:gd name="connsiteX67" fmla="*/ 134932 w 209550"/>
                <a:gd name="connsiteY67" fmla="*/ 57480 h 190500"/>
                <a:gd name="connsiteX68" fmla="*/ 131246 w 209550"/>
                <a:gd name="connsiteY68" fmla="*/ 53789 h 190500"/>
                <a:gd name="connsiteX69" fmla="*/ 123864 w 209550"/>
                <a:gd name="connsiteY69" fmla="*/ 53789 h 190500"/>
                <a:gd name="connsiteX70" fmla="*/ 116483 w 209550"/>
                <a:gd name="connsiteY70" fmla="*/ 53789 h 190500"/>
                <a:gd name="connsiteX71" fmla="*/ 116483 w 209550"/>
                <a:gd name="connsiteY71" fmla="*/ 50099 h 190500"/>
                <a:gd name="connsiteX72" fmla="*/ 112796 w 209550"/>
                <a:gd name="connsiteY72" fmla="*/ 46408 h 190500"/>
                <a:gd name="connsiteX73" fmla="*/ 109110 w 209550"/>
                <a:gd name="connsiteY73" fmla="*/ 42717 h 190500"/>
                <a:gd name="connsiteX74" fmla="*/ 105414 w 209550"/>
                <a:gd name="connsiteY74" fmla="*/ 35336 h 190500"/>
                <a:gd name="connsiteX75" fmla="*/ 101728 w 209550"/>
                <a:gd name="connsiteY75" fmla="*/ 39027 h 190500"/>
                <a:gd name="connsiteX76" fmla="*/ 101728 w 209550"/>
                <a:gd name="connsiteY76" fmla="*/ 35336 h 190500"/>
                <a:gd name="connsiteX77" fmla="*/ 98042 w 209550"/>
                <a:gd name="connsiteY77" fmla="*/ 27955 h 190500"/>
                <a:gd name="connsiteX78" fmla="*/ 83278 w 209550"/>
                <a:gd name="connsiteY78" fmla="*/ 9503 h 190500"/>
                <a:gd name="connsiteX79" fmla="*/ 79592 w 209550"/>
                <a:gd name="connsiteY79" fmla="*/ 9503 h 190500"/>
                <a:gd name="connsiteX80" fmla="*/ 68524 w 209550"/>
                <a:gd name="connsiteY80" fmla="*/ 5812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209550" h="190500">
                  <a:moveTo>
                    <a:pt x="68524" y="5812"/>
                  </a:moveTo>
                  <a:lnTo>
                    <a:pt x="72220" y="13193"/>
                  </a:lnTo>
                  <a:lnTo>
                    <a:pt x="64838" y="9503"/>
                  </a:lnTo>
                  <a:lnTo>
                    <a:pt x="64838" y="13193"/>
                  </a:lnTo>
                  <a:lnTo>
                    <a:pt x="61152" y="13193"/>
                  </a:lnTo>
                  <a:lnTo>
                    <a:pt x="42702" y="16883"/>
                  </a:lnTo>
                  <a:lnTo>
                    <a:pt x="39016" y="16883"/>
                  </a:lnTo>
                  <a:lnTo>
                    <a:pt x="39016" y="20574"/>
                  </a:lnTo>
                  <a:lnTo>
                    <a:pt x="27948" y="39027"/>
                  </a:lnTo>
                  <a:lnTo>
                    <a:pt x="9498" y="68552"/>
                  </a:lnTo>
                  <a:lnTo>
                    <a:pt x="9498" y="72242"/>
                  </a:lnTo>
                  <a:lnTo>
                    <a:pt x="5812" y="83314"/>
                  </a:lnTo>
                  <a:lnTo>
                    <a:pt x="5812" y="120219"/>
                  </a:lnTo>
                  <a:lnTo>
                    <a:pt x="5812" y="138672"/>
                  </a:lnTo>
                  <a:lnTo>
                    <a:pt x="5812" y="146054"/>
                  </a:lnTo>
                  <a:lnTo>
                    <a:pt x="5812" y="149744"/>
                  </a:lnTo>
                  <a:lnTo>
                    <a:pt x="5812" y="153435"/>
                  </a:lnTo>
                  <a:lnTo>
                    <a:pt x="9498" y="153435"/>
                  </a:lnTo>
                  <a:lnTo>
                    <a:pt x="13184" y="157125"/>
                  </a:lnTo>
                  <a:lnTo>
                    <a:pt x="16880" y="160816"/>
                  </a:lnTo>
                  <a:lnTo>
                    <a:pt x="24252" y="171888"/>
                  </a:lnTo>
                  <a:lnTo>
                    <a:pt x="35320" y="186649"/>
                  </a:lnTo>
                  <a:lnTo>
                    <a:pt x="39016" y="190340"/>
                  </a:lnTo>
                  <a:lnTo>
                    <a:pt x="42702" y="190340"/>
                  </a:lnTo>
                  <a:lnTo>
                    <a:pt x="79592" y="190340"/>
                  </a:lnTo>
                  <a:lnTo>
                    <a:pt x="83278" y="190340"/>
                  </a:lnTo>
                  <a:lnTo>
                    <a:pt x="94346" y="190340"/>
                  </a:lnTo>
                  <a:lnTo>
                    <a:pt x="123864" y="190340"/>
                  </a:lnTo>
                  <a:lnTo>
                    <a:pt x="127551" y="190340"/>
                  </a:lnTo>
                  <a:lnTo>
                    <a:pt x="157069" y="182959"/>
                  </a:lnTo>
                  <a:lnTo>
                    <a:pt x="160755" y="186649"/>
                  </a:lnTo>
                  <a:lnTo>
                    <a:pt x="164441" y="190340"/>
                  </a:lnTo>
                  <a:lnTo>
                    <a:pt x="171823" y="186649"/>
                  </a:lnTo>
                  <a:lnTo>
                    <a:pt x="175509" y="186649"/>
                  </a:lnTo>
                  <a:lnTo>
                    <a:pt x="182891" y="182959"/>
                  </a:lnTo>
                  <a:lnTo>
                    <a:pt x="182891" y="179269"/>
                  </a:lnTo>
                  <a:lnTo>
                    <a:pt x="193959" y="175578"/>
                  </a:lnTo>
                  <a:lnTo>
                    <a:pt x="197645" y="175578"/>
                  </a:lnTo>
                  <a:lnTo>
                    <a:pt x="208713" y="168197"/>
                  </a:lnTo>
                  <a:lnTo>
                    <a:pt x="212409" y="164507"/>
                  </a:lnTo>
                  <a:lnTo>
                    <a:pt x="208713" y="157125"/>
                  </a:lnTo>
                  <a:lnTo>
                    <a:pt x="201341" y="157125"/>
                  </a:lnTo>
                  <a:lnTo>
                    <a:pt x="197645" y="153435"/>
                  </a:lnTo>
                  <a:lnTo>
                    <a:pt x="193959" y="149744"/>
                  </a:lnTo>
                  <a:lnTo>
                    <a:pt x="186577" y="146054"/>
                  </a:lnTo>
                  <a:lnTo>
                    <a:pt x="182891" y="146054"/>
                  </a:lnTo>
                  <a:lnTo>
                    <a:pt x="175509" y="142363"/>
                  </a:lnTo>
                  <a:lnTo>
                    <a:pt x="175509" y="146054"/>
                  </a:lnTo>
                  <a:lnTo>
                    <a:pt x="171823" y="146054"/>
                  </a:lnTo>
                  <a:lnTo>
                    <a:pt x="171823" y="142363"/>
                  </a:lnTo>
                  <a:lnTo>
                    <a:pt x="171823" y="138672"/>
                  </a:lnTo>
                  <a:lnTo>
                    <a:pt x="175509" y="134982"/>
                  </a:lnTo>
                  <a:lnTo>
                    <a:pt x="179205" y="131291"/>
                  </a:lnTo>
                  <a:lnTo>
                    <a:pt x="186577" y="127600"/>
                  </a:lnTo>
                  <a:lnTo>
                    <a:pt x="186577" y="123910"/>
                  </a:lnTo>
                  <a:lnTo>
                    <a:pt x="186577" y="120219"/>
                  </a:lnTo>
                  <a:lnTo>
                    <a:pt x="182891" y="116529"/>
                  </a:lnTo>
                  <a:lnTo>
                    <a:pt x="182891" y="112838"/>
                  </a:lnTo>
                  <a:lnTo>
                    <a:pt x="179205" y="109147"/>
                  </a:lnTo>
                  <a:lnTo>
                    <a:pt x="175509" y="109147"/>
                  </a:lnTo>
                  <a:lnTo>
                    <a:pt x="175509" y="105457"/>
                  </a:lnTo>
                  <a:lnTo>
                    <a:pt x="168137" y="90695"/>
                  </a:lnTo>
                  <a:lnTo>
                    <a:pt x="164441" y="79623"/>
                  </a:lnTo>
                  <a:lnTo>
                    <a:pt x="157069" y="72242"/>
                  </a:lnTo>
                  <a:lnTo>
                    <a:pt x="153373" y="72242"/>
                  </a:lnTo>
                  <a:lnTo>
                    <a:pt x="149687" y="68552"/>
                  </a:lnTo>
                  <a:lnTo>
                    <a:pt x="146001" y="61171"/>
                  </a:lnTo>
                  <a:lnTo>
                    <a:pt x="134932" y="57480"/>
                  </a:lnTo>
                  <a:lnTo>
                    <a:pt x="131246" y="53789"/>
                  </a:lnTo>
                  <a:lnTo>
                    <a:pt x="123864" y="53789"/>
                  </a:lnTo>
                  <a:lnTo>
                    <a:pt x="116483" y="53789"/>
                  </a:lnTo>
                  <a:lnTo>
                    <a:pt x="116483" y="50099"/>
                  </a:lnTo>
                  <a:lnTo>
                    <a:pt x="112796" y="46408"/>
                  </a:lnTo>
                  <a:lnTo>
                    <a:pt x="109110" y="42717"/>
                  </a:lnTo>
                  <a:lnTo>
                    <a:pt x="105414" y="35336"/>
                  </a:lnTo>
                  <a:lnTo>
                    <a:pt x="101728" y="39027"/>
                  </a:lnTo>
                  <a:lnTo>
                    <a:pt x="101728" y="35336"/>
                  </a:lnTo>
                  <a:lnTo>
                    <a:pt x="98042" y="27955"/>
                  </a:lnTo>
                  <a:lnTo>
                    <a:pt x="83278" y="9503"/>
                  </a:lnTo>
                  <a:lnTo>
                    <a:pt x="79592" y="9503"/>
                  </a:lnTo>
                  <a:lnTo>
                    <a:pt x="68524" y="5812"/>
                  </a:lnTo>
                  <a:close/>
                </a:path>
              </a:pathLst>
            </a:custGeom>
            <a:solidFill>
              <a:srgbClr val="22777B"/>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82" name="Freeform: Shape 81">
              <a:extLst>
                <a:ext uri="{FF2B5EF4-FFF2-40B4-BE49-F238E27FC236}">
                  <a16:creationId xmlns:a16="http://schemas.microsoft.com/office/drawing/2014/main" id="{84A05C8B-A477-4C77-A297-33C4245BBDD4}"/>
                </a:ext>
              </a:extLst>
            </p:cNvPr>
            <p:cNvSpPr/>
            <p:nvPr/>
          </p:nvSpPr>
          <p:spPr>
            <a:xfrm>
              <a:off x="2696922" y="3640315"/>
              <a:ext cx="30745" cy="30745"/>
            </a:xfrm>
            <a:custGeom>
              <a:avLst/>
              <a:gdLst>
                <a:gd name="connsiteX0" fmla="*/ 9498 w 19050"/>
                <a:gd name="connsiteY0" fmla="*/ 5812 h 19050"/>
                <a:gd name="connsiteX1" fmla="*/ 13184 w 19050"/>
                <a:gd name="connsiteY1" fmla="*/ 5812 h 19050"/>
                <a:gd name="connsiteX2" fmla="*/ 16870 w 19050"/>
                <a:gd name="connsiteY2" fmla="*/ 5812 h 19050"/>
                <a:gd name="connsiteX3" fmla="*/ 16870 w 19050"/>
                <a:gd name="connsiteY3" fmla="*/ 5812 h 19050"/>
                <a:gd name="connsiteX4" fmla="*/ 20566 w 19050"/>
                <a:gd name="connsiteY4" fmla="*/ 9503 h 19050"/>
                <a:gd name="connsiteX5" fmla="*/ 16870 w 19050"/>
                <a:gd name="connsiteY5" fmla="*/ 13193 h 19050"/>
                <a:gd name="connsiteX6" fmla="*/ 16870 w 19050"/>
                <a:gd name="connsiteY6" fmla="*/ 13193 h 19050"/>
                <a:gd name="connsiteX7" fmla="*/ 13184 w 19050"/>
                <a:gd name="connsiteY7" fmla="*/ 13193 h 19050"/>
                <a:gd name="connsiteX8" fmla="*/ 13184 w 19050"/>
                <a:gd name="connsiteY8" fmla="*/ 13193 h 19050"/>
                <a:gd name="connsiteX9" fmla="*/ 13184 w 19050"/>
                <a:gd name="connsiteY9" fmla="*/ 13193 h 19050"/>
                <a:gd name="connsiteX10" fmla="*/ 13184 w 19050"/>
                <a:gd name="connsiteY10" fmla="*/ 16883 h 19050"/>
                <a:gd name="connsiteX11" fmla="*/ 13184 w 19050"/>
                <a:gd name="connsiteY11" fmla="*/ 16883 h 19050"/>
                <a:gd name="connsiteX12" fmla="*/ 13184 w 19050"/>
                <a:gd name="connsiteY12" fmla="*/ 16883 h 19050"/>
                <a:gd name="connsiteX13" fmla="*/ 9498 w 19050"/>
                <a:gd name="connsiteY13" fmla="*/ 13193 h 19050"/>
                <a:gd name="connsiteX14" fmla="*/ 9498 w 19050"/>
                <a:gd name="connsiteY14" fmla="*/ 13193 h 19050"/>
                <a:gd name="connsiteX15" fmla="*/ 9498 w 19050"/>
                <a:gd name="connsiteY15" fmla="*/ 9503 h 19050"/>
                <a:gd name="connsiteX16" fmla="*/ 5812 w 19050"/>
                <a:gd name="connsiteY16" fmla="*/ 9503 h 19050"/>
                <a:gd name="connsiteX17" fmla="*/ 5812 w 19050"/>
                <a:gd name="connsiteY17" fmla="*/ 5812 h 19050"/>
                <a:gd name="connsiteX18" fmla="*/ 9498 w 19050"/>
                <a:gd name="connsiteY18" fmla="*/ 5812 h 19050"/>
                <a:gd name="connsiteX19" fmla="*/ 9498 w 19050"/>
                <a:gd name="connsiteY19"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050" h="19050">
                  <a:moveTo>
                    <a:pt x="9498" y="5812"/>
                  </a:moveTo>
                  <a:lnTo>
                    <a:pt x="13184" y="5812"/>
                  </a:lnTo>
                  <a:lnTo>
                    <a:pt x="16870" y="5812"/>
                  </a:lnTo>
                  <a:lnTo>
                    <a:pt x="16870" y="5812"/>
                  </a:lnTo>
                  <a:lnTo>
                    <a:pt x="20566" y="9503"/>
                  </a:lnTo>
                  <a:lnTo>
                    <a:pt x="16870" y="13193"/>
                  </a:lnTo>
                  <a:lnTo>
                    <a:pt x="16870" y="13193"/>
                  </a:lnTo>
                  <a:lnTo>
                    <a:pt x="13184" y="13193"/>
                  </a:lnTo>
                  <a:lnTo>
                    <a:pt x="13184" y="13193"/>
                  </a:lnTo>
                  <a:lnTo>
                    <a:pt x="13184" y="13193"/>
                  </a:lnTo>
                  <a:lnTo>
                    <a:pt x="13184" y="16883"/>
                  </a:lnTo>
                  <a:lnTo>
                    <a:pt x="13184" y="16883"/>
                  </a:lnTo>
                  <a:lnTo>
                    <a:pt x="13184" y="16883"/>
                  </a:lnTo>
                  <a:lnTo>
                    <a:pt x="9498" y="13193"/>
                  </a:lnTo>
                  <a:lnTo>
                    <a:pt x="9498" y="13193"/>
                  </a:lnTo>
                  <a:lnTo>
                    <a:pt x="9498" y="9503"/>
                  </a:lnTo>
                  <a:lnTo>
                    <a:pt x="5812" y="9503"/>
                  </a:lnTo>
                  <a:lnTo>
                    <a:pt x="5812" y="5812"/>
                  </a:lnTo>
                  <a:lnTo>
                    <a:pt x="9498" y="5812"/>
                  </a:lnTo>
                  <a:lnTo>
                    <a:pt x="9498" y="5812"/>
                  </a:lnTo>
                  <a:close/>
                </a:path>
              </a:pathLst>
            </a:custGeom>
            <a:solidFill>
              <a:schemeClr val="accent3">
                <a:lumMod val="20000"/>
                <a:lumOff val="80000"/>
              </a:schemeClr>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83" name="Freeform: Shape 82">
              <a:extLst>
                <a:ext uri="{FF2B5EF4-FFF2-40B4-BE49-F238E27FC236}">
                  <a16:creationId xmlns:a16="http://schemas.microsoft.com/office/drawing/2014/main" id="{85BB9049-F338-43A2-B468-FF0A5FA0F925}"/>
                </a:ext>
              </a:extLst>
            </p:cNvPr>
            <p:cNvSpPr/>
            <p:nvPr/>
          </p:nvSpPr>
          <p:spPr>
            <a:xfrm>
              <a:off x="2345625" y="3527144"/>
              <a:ext cx="153727" cy="230591"/>
            </a:xfrm>
            <a:custGeom>
              <a:avLst/>
              <a:gdLst>
                <a:gd name="connsiteX0" fmla="*/ 9498 w 95250"/>
                <a:gd name="connsiteY0" fmla="*/ 5812 h 142875"/>
                <a:gd name="connsiteX1" fmla="*/ 9498 w 95250"/>
                <a:gd name="connsiteY1" fmla="*/ 5812 h 142875"/>
                <a:gd name="connsiteX2" fmla="*/ 16880 w 95250"/>
                <a:gd name="connsiteY2" fmla="*/ 5812 h 142875"/>
                <a:gd name="connsiteX3" fmla="*/ 42702 w 95250"/>
                <a:gd name="connsiteY3" fmla="*/ 16883 h 142875"/>
                <a:gd name="connsiteX4" fmla="*/ 46388 w 95250"/>
                <a:gd name="connsiteY4" fmla="*/ 20574 h 142875"/>
                <a:gd name="connsiteX5" fmla="*/ 64838 w 95250"/>
                <a:gd name="connsiteY5" fmla="*/ 39027 h 142875"/>
                <a:gd name="connsiteX6" fmla="*/ 72220 w 95250"/>
                <a:gd name="connsiteY6" fmla="*/ 50099 h 142875"/>
                <a:gd name="connsiteX7" fmla="*/ 72220 w 95250"/>
                <a:gd name="connsiteY7" fmla="*/ 53789 h 142875"/>
                <a:gd name="connsiteX8" fmla="*/ 90660 w 95250"/>
                <a:gd name="connsiteY8" fmla="*/ 83314 h 142875"/>
                <a:gd name="connsiteX9" fmla="*/ 98042 w 95250"/>
                <a:gd name="connsiteY9" fmla="*/ 101766 h 142875"/>
                <a:gd name="connsiteX10" fmla="*/ 98042 w 95250"/>
                <a:gd name="connsiteY10" fmla="*/ 105457 h 142875"/>
                <a:gd name="connsiteX11" fmla="*/ 94346 w 95250"/>
                <a:gd name="connsiteY11" fmla="*/ 105457 h 142875"/>
                <a:gd name="connsiteX12" fmla="*/ 90660 w 95250"/>
                <a:gd name="connsiteY12" fmla="*/ 109148 h 142875"/>
                <a:gd name="connsiteX13" fmla="*/ 83288 w 95250"/>
                <a:gd name="connsiteY13" fmla="*/ 112838 h 142875"/>
                <a:gd name="connsiteX14" fmla="*/ 79592 w 95250"/>
                <a:gd name="connsiteY14" fmla="*/ 127601 h 142875"/>
                <a:gd name="connsiteX15" fmla="*/ 75906 w 95250"/>
                <a:gd name="connsiteY15" fmla="*/ 134982 h 142875"/>
                <a:gd name="connsiteX16" fmla="*/ 79592 w 95250"/>
                <a:gd name="connsiteY16" fmla="*/ 134982 h 142875"/>
                <a:gd name="connsiteX17" fmla="*/ 79592 w 95250"/>
                <a:gd name="connsiteY17" fmla="*/ 134982 h 142875"/>
                <a:gd name="connsiteX18" fmla="*/ 75906 w 95250"/>
                <a:gd name="connsiteY18" fmla="*/ 142363 h 142875"/>
                <a:gd name="connsiteX19" fmla="*/ 75906 w 95250"/>
                <a:gd name="connsiteY19" fmla="*/ 134982 h 142875"/>
                <a:gd name="connsiteX20" fmla="*/ 75906 w 95250"/>
                <a:gd name="connsiteY20" fmla="*/ 134982 h 142875"/>
                <a:gd name="connsiteX21" fmla="*/ 79592 w 95250"/>
                <a:gd name="connsiteY21" fmla="*/ 127601 h 142875"/>
                <a:gd name="connsiteX22" fmla="*/ 83288 w 95250"/>
                <a:gd name="connsiteY22" fmla="*/ 112838 h 142875"/>
                <a:gd name="connsiteX23" fmla="*/ 86974 w 95250"/>
                <a:gd name="connsiteY23" fmla="*/ 109148 h 142875"/>
                <a:gd name="connsiteX24" fmla="*/ 94346 w 95250"/>
                <a:gd name="connsiteY24" fmla="*/ 105457 h 142875"/>
                <a:gd name="connsiteX25" fmla="*/ 98042 w 95250"/>
                <a:gd name="connsiteY25" fmla="*/ 105457 h 142875"/>
                <a:gd name="connsiteX26" fmla="*/ 98042 w 95250"/>
                <a:gd name="connsiteY26" fmla="*/ 101766 h 142875"/>
                <a:gd name="connsiteX27" fmla="*/ 90660 w 95250"/>
                <a:gd name="connsiteY27" fmla="*/ 83314 h 142875"/>
                <a:gd name="connsiteX28" fmla="*/ 64838 w 95250"/>
                <a:gd name="connsiteY28" fmla="*/ 39027 h 142875"/>
                <a:gd name="connsiteX29" fmla="*/ 46388 w 95250"/>
                <a:gd name="connsiteY29" fmla="*/ 20574 h 142875"/>
                <a:gd name="connsiteX30" fmla="*/ 42702 w 95250"/>
                <a:gd name="connsiteY30" fmla="*/ 16883 h 142875"/>
                <a:gd name="connsiteX31" fmla="*/ 20566 w 95250"/>
                <a:gd name="connsiteY31" fmla="*/ 5812 h 142875"/>
                <a:gd name="connsiteX32" fmla="*/ 16880 w 95250"/>
                <a:gd name="connsiteY32" fmla="*/ 13193 h 142875"/>
                <a:gd name="connsiteX33" fmla="*/ 16880 w 95250"/>
                <a:gd name="connsiteY33" fmla="*/ 13193 h 142875"/>
                <a:gd name="connsiteX34" fmla="*/ 13193 w 95250"/>
                <a:gd name="connsiteY34" fmla="*/ 13193 h 142875"/>
                <a:gd name="connsiteX35" fmla="*/ 9498 w 95250"/>
                <a:gd name="connsiteY35" fmla="*/ 13193 h 142875"/>
                <a:gd name="connsiteX36" fmla="*/ 5812 w 95250"/>
                <a:gd name="connsiteY36" fmla="*/ 13193 h 142875"/>
                <a:gd name="connsiteX37" fmla="*/ 9498 w 95250"/>
                <a:gd name="connsiteY37" fmla="*/ 13193 h 142875"/>
                <a:gd name="connsiteX38" fmla="*/ 13193 w 95250"/>
                <a:gd name="connsiteY38" fmla="*/ 9503 h 142875"/>
                <a:gd name="connsiteX39" fmla="*/ 16880 w 95250"/>
                <a:gd name="connsiteY39" fmla="*/ 5812 h 142875"/>
                <a:gd name="connsiteX40" fmla="*/ 13193 w 95250"/>
                <a:gd name="connsiteY40" fmla="*/ 5812 h 142875"/>
                <a:gd name="connsiteX41" fmla="*/ 13193 w 95250"/>
                <a:gd name="connsiteY41" fmla="*/ 5812 h 142875"/>
                <a:gd name="connsiteX42" fmla="*/ 9498 w 95250"/>
                <a:gd name="connsiteY42" fmla="*/ 5812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5250" h="142875">
                  <a:moveTo>
                    <a:pt x="9498" y="5812"/>
                  </a:moveTo>
                  <a:lnTo>
                    <a:pt x="9498" y="5812"/>
                  </a:lnTo>
                  <a:lnTo>
                    <a:pt x="16880" y="5812"/>
                  </a:lnTo>
                  <a:lnTo>
                    <a:pt x="42702" y="16883"/>
                  </a:lnTo>
                  <a:lnTo>
                    <a:pt x="46388" y="20574"/>
                  </a:lnTo>
                  <a:lnTo>
                    <a:pt x="64838" y="39027"/>
                  </a:lnTo>
                  <a:lnTo>
                    <a:pt x="72220" y="50099"/>
                  </a:lnTo>
                  <a:lnTo>
                    <a:pt x="72220" y="53789"/>
                  </a:lnTo>
                  <a:lnTo>
                    <a:pt x="90660" y="83314"/>
                  </a:lnTo>
                  <a:lnTo>
                    <a:pt x="98042" y="101766"/>
                  </a:lnTo>
                  <a:lnTo>
                    <a:pt x="98042" y="105457"/>
                  </a:lnTo>
                  <a:lnTo>
                    <a:pt x="94346" y="105457"/>
                  </a:lnTo>
                  <a:lnTo>
                    <a:pt x="90660" y="109148"/>
                  </a:lnTo>
                  <a:lnTo>
                    <a:pt x="83288" y="112838"/>
                  </a:lnTo>
                  <a:lnTo>
                    <a:pt x="79592" y="127601"/>
                  </a:lnTo>
                  <a:lnTo>
                    <a:pt x="75906" y="134982"/>
                  </a:lnTo>
                  <a:lnTo>
                    <a:pt x="79592" y="134982"/>
                  </a:lnTo>
                  <a:lnTo>
                    <a:pt x="79592" y="134982"/>
                  </a:lnTo>
                  <a:lnTo>
                    <a:pt x="75906" y="142363"/>
                  </a:lnTo>
                  <a:lnTo>
                    <a:pt x="75906" y="134982"/>
                  </a:lnTo>
                  <a:lnTo>
                    <a:pt x="75906" y="134982"/>
                  </a:lnTo>
                  <a:lnTo>
                    <a:pt x="79592" y="127601"/>
                  </a:lnTo>
                  <a:lnTo>
                    <a:pt x="83288" y="112838"/>
                  </a:lnTo>
                  <a:lnTo>
                    <a:pt x="86974" y="109148"/>
                  </a:lnTo>
                  <a:lnTo>
                    <a:pt x="94346" y="105457"/>
                  </a:lnTo>
                  <a:lnTo>
                    <a:pt x="98042" y="105457"/>
                  </a:lnTo>
                  <a:lnTo>
                    <a:pt x="98042" y="101766"/>
                  </a:lnTo>
                  <a:lnTo>
                    <a:pt x="90660" y="83314"/>
                  </a:lnTo>
                  <a:lnTo>
                    <a:pt x="64838" y="39027"/>
                  </a:lnTo>
                  <a:lnTo>
                    <a:pt x="46388" y="20574"/>
                  </a:lnTo>
                  <a:lnTo>
                    <a:pt x="42702" y="16883"/>
                  </a:lnTo>
                  <a:lnTo>
                    <a:pt x="20566" y="5812"/>
                  </a:lnTo>
                  <a:lnTo>
                    <a:pt x="16880" y="13193"/>
                  </a:lnTo>
                  <a:lnTo>
                    <a:pt x="16880" y="13193"/>
                  </a:lnTo>
                  <a:lnTo>
                    <a:pt x="13193" y="13193"/>
                  </a:lnTo>
                  <a:lnTo>
                    <a:pt x="9498" y="13193"/>
                  </a:lnTo>
                  <a:lnTo>
                    <a:pt x="5812" y="13193"/>
                  </a:lnTo>
                  <a:lnTo>
                    <a:pt x="9498" y="13193"/>
                  </a:lnTo>
                  <a:lnTo>
                    <a:pt x="13193" y="9503"/>
                  </a:lnTo>
                  <a:lnTo>
                    <a:pt x="16880" y="5812"/>
                  </a:lnTo>
                  <a:lnTo>
                    <a:pt x="13193" y="5812"/>
                  </a:lnTo>
                  <a:lnTo>
                    <a:pt x="13193" y="5812"/>
                  </a:lnTo>
                  <a:lnTo>
                    <a:pt x="9498" y="5812"/>
                  </a:lnTo>
                  <a:close/>
                </a:path>
              </a:pathLst>
            </a:custGeom>
            <a:solidFill>
              <a:schemeClr val="accent3">
                <a:lumMod val="20000"/>
                <a:lumOff val="80000"/>
              </a:schemeClr>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84" name="Freeform: Shape 83">
              <a:extLst>
                <a:ext uri="{FF2B5EF4-FFF2-40B4-BE49-F238E27FC236}">
                  <a16:creationId xmlns:a16="http://schemas.microsoft.com/office/drawing/2014/main" id="{64898DE1-1EAD-4A1F-84DA-6FB8382F51A9}"/>
                </a:ext>
              </a:extLst>
            </p:cNvPr>
            <p:cNvSpPr/>
            <p:nvPr/>
          </p:nvSpPr>
          <p:spPr>
            <a:xfrm>
              <a:off x="2262268" y="3032771"/>
              <a:ext cx="138355" cy="107609"/>
            </a:xfrm>
            <a:custGeom>
              <a:avLst/>
              <a:gdLst>
                <a:gd name="connsiteX0" fmla="*/ 5812 w 85725"/>
                <a:gd name="connsiteY0" fmla="*/ 68551 h 66675"/>
                <a:gd name="connsiteX1" fmla="*/ 20568 w 85725"/>
                <a:gd name="connsiteY1" fmla="*/ 53789 h 66675"/>
                <a:gd name="connsiteX2" fmla="*/ 24258 w 85725"/>
                <a:gd name="connsiteY2" fmla="*/ 50098 h 66675"/>
                <a:gd name="connsiteX3" fmla="*/ 64843 w 85725"/>
                <a:gd name="connsiteY3" fmla="*/ 13192 h 66675"/>
                <a:gd name="connsiteX4" fmla="*/ 68529 w 85725"/>
                <a:gd name="connsiteY4" fmla="*/ 13192 h 66675"/>
                <a:gd name="connsiteX5" fmla="*/ 79597 w 85725"/>
                <a:gd name="connsiteY5" fmla="*/ 9502 h 66675"/>
                <a:gd name="connsiteX6" fmla="*/ 83283 w 85725"/>
                <a:gd name="connsiteY6" fmla="*/ 9502 h 66675"/>
                <a:gd name="connsiteX7" fmla="*/ 83283 w 85725"/>
                <a:gd name="connsiteY7" fmla="*/ 9502 h 66675"/>
                <a:gd name="connsiteX8" fmla="*/ 83283 w 85725"/>
                <a:gd name="connsiteY8" fmla="*/ 9502 h 66675"/>
                <a:gd name="connsiteX9" fmla="*/ 83283 w 85725"/>
                <a:gd name="connsiteY9" fmla="*/ 5812 h 66675"/>
                <a:gd name="connsiteX10" fmla="*/ 83283 w 85725"/>
                <a:gd name="connsiteY10" fmla="*/ 9502 h 66675"/>
                <a:gd name="connsiteX11" fmla="*/ 86969 w 85725"/>
                <a:gd name="connsiteY11" fmla="*/ 13192 h 66675"/>
                <a:gd name="connsiteX12" fmla="*/ 83283 w 85725"/>
                <a:gd name="connsiteY12" fmla="*/ 9502 h 66675"/>
                <a:gd name="connsiteX13" fmla="*/ 79597 w 85725"/>
                <a:gd name="connsiteY13" fmla="*/ 9502 h 66675"/>
                <a:gd name="connsiteX14" fmla="*/ 79597 w 85725"/>
                <a:gd name="connsiteY14" fmla="*/ 9502 h 66675"/>
                <a:gd name="connsiteX15" fmla="*/ 72215 w 85725"/>
                <a:gd name="connsiteY15" fmla="*/ 13192 h 66675"/>
                <a:gd name="connsiteX16" fmla="*/ 64843 w 85725"/>
                <a:gd name="connsiteY16" fmla="*/ 13192 h 66675"/>
                <a:gd name="connsiteX17" fmla="*/ 31636 w 85725"/>
                <a:gd name="connsiteY17" fmla="*/ 46407 h 66675"/>
                <a:gd name="connsiteX18" fmla="*/ 27947 w 85725"/>
                <a:gd name="connsiteY18" fmla="*/ 50098 h 66675"/>
                <a:gd name="connsiteX19" fmla="*/ 27947 w 85725"/>
                <a:gd name="connsiteY19" fmla="*/ 50098 h 66675"/>
                <a:gd name="connsiteX20" fmla="*/ 24258 w 85725"/>
                <a:gd name="connsiteY20" fmla="*/ 50098 h 66675"/>
                <a:gd name="connsiteX21" fmla="*/ 20568 w 85725"/>
                <a:gd name="connsiteY21" fmla="*/ 53789 h 66675"/>
                <a:gd name="connsiteX22" fmla="*/ 5812 w 85725"/>
                <a:gd name="connsiteY22" fmla="*/ 68551 h 66675"/>
                <a:gd name="connsiteX23" fmla="*/ 5812 w 85725"/>
                <a:gd name="connsiteY23" fmla="*/ 68551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725" h="66675">
                  <a:moveTo>
                    <a:pt x="5812" y="68551"/>
                  </a:moveTo>
                  <a:lnTo>
                    <a:pt x="20568" y="53789"/>
                  </a:lnTo>
                  <a:lnTo>
                    <a:pt x="24258" y="50098"/>
                  </a:lnTo>
                  <a:lnTo>
                    <a:pt x="64843" y="13192"/>
                  </a:lnTo>
                  <a:lnTo>
                    <a:pt x="68529" y="13192"/>
                  </a:lnTo>
                  <a:lnTo>
                    <a:pt x="79597" y="9502"/>
                  </a:lnTo>
                  <a:lnTo>
                    <a:pt x="83283" y="9502"/>
                  </a:lnTo>
                  <a:lnTo>
                    <a:pt x="83283" y="9502"/>
                  </a:lnTo>
                  <a:lnTo>
                    <a:pt x="83283" y="9502"/>
                  </a:lnTo>
                  <a:lnTo>
                    <a:pt x="83283" y="5812"/>
                  </a:lnTo>
                  <a:lnTo>
                    <a:pt x="83283" y="9502"/>
                  </a:lnTo>
                  <a:lnTo>
                    <a:pt x="86969" y="13192"/>
                  </a:lnTo>
                  <a:lnTo>
                    <a:pt x="83283" y="9502"/>
                  </a:lnTo>
                  <a:lnTo>
                    <a:pt x="79597" y="9502"/>
                  </a:lnTo>
                  <a:lnTo>
                    <a:pt x="79597" y="9502"/>
                  </a:lnTo>
                  <a:lnTo>
                    <a:pt x="72215" y="13192"/>
                  </a:lnTo>
                  <a:lnTo>
                    <a:pt x="64843" y="13192"/>
                  </a:lnTo>
                  <a:lnTo>
                    <a:pt x="31636" y="46407"/>
                  </a:lnTo>
                  <a:lnTo>
                    <a:pt x="27947" y="50098"/>
                  </a:lnTo>
                  <a:lnTo>
                    <a:pt x="27947" y="50098"/>
                  </a:lnTo>
                  <a:lnTo>
                    <a:pt x="24258" y="50098"/>
                  </a:lnTo>
                  <a:lnTo>
                    <a:pt x="20568" y="53789"/>
                  </a:lnTo>
                  <a:lnTo>
                    <a:pt x="5812" y="68551"/>
                  </a:lnTo>
                  <a:lnTo>
                    <a:pt x="5812" y="68551"/>
                  </a:lnTo>
                  <a:close/>
                </a:path>
              </a:pathLst>
            </a:custGeom>
            <a:solidFill>
              <a:schemeClr val="accent3">
                <a:lumMod val="20000"/>
                <a:lumOff val="80000"/>
              </a:schemeClr>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85" name="Freeform: Shape 84">
              <a:extLst>
                <a:ext uri="{FF2B5EF4-FFF2-40B4-BE49-F238E27FC236}">
                  <a16:creationId xmlns:a16="http://schemas.microsoft.com/office/drawing/2014/main" id="{6D094B99-7688-4764-80AE-AED3143ADF1D}"/>
                </a:ext>
              </a:extLst>
            </p:cNvPr>
            <p:cNvSpPr/>
            <p:nvPr/>
          </p:nvSpPr>
          <p:spPr>
            <a:xfrm>
              <a:off x="2411113" y="3032771"/>
              <a:ext cx="30745" cy="46118"/>
            </a:xfrm>
            <a:custGeom>
              <a:avLst/>
              <a:gdLst>
                <a:gd name="connsiteX0" fmla="*/ 9507 w 19050"/>
                <a:gd name="connsiteY0" fmla="*/ 16883 h 28575"/>
                <a:gd name="connsiteX1" fmla="*/ 9507 w 19050"/>
                <a:gd name="connsiteY1" fmla="*/ 13192 h 28575"/>
                <a:gd name="connsiteX2" fmla="*/ 5812 w 19050"/>
                <a:gd name="connsiteY2" fmla="*/ 5812 h 28575"/>
                <a:gd name="connsiteX3" fmla="*/ 5812 w 19050"/>
                <a:gd name="connsiteY3" fmla="*/ 5812 h 28575"/>
                <a:gd name="connsiteX4" fmla="*/ 9507 w 19050"/>
                <a:gd name="connsiteY4" fmla="*/ 5812 h 28575"/>
                <a:gd name="connsiteX5" fmla="*/ 9507 w 19050"/>
                <a:gd name="connsiteY5" fmla="*/ 9502 h 28575"/>
                <a:gd name="connsiteX6" fmla="*/ 13193 w 19050"/>
                <a:gd name="connsiteY6" fmla="*/ 9502 h 28575"/>
                <a:gd name="connsiteX7" fmla="*/ 16880 w 19050"/>
                <a:gd name="connsiteY7" fmla="*/ 9502 h 28575"/>
                <a:gd name="connsiteX8" fmla="*/ 16880 w 19050"/>
                <a:gd name="connsiteY8" fmla="*/ 13192 h 28575"/>
                <a:gd name="connsiteX9" fmla="*/ 16880 w 19050"/>
                <a:gd name="connsiteY9" fmla="*/ 16883 h 28575"/>
                <a:gd name="connsiteX10" fmla="*/ 20575 w 19050"/>
                <a:gd name="connsiteY10" fmla="*/ 16883 h 28575"/>
                <a:gd name="connsiteX11" fmla="*/ 20575 w 19050"/>
                <a:gd name="connsiteY11" fmla="*/ 20573 h 28575"/>
                <a:gd name="connsiteX12" fmla="*/ 20575 w 19050"/>
                <a:gd name="connsiteY12" fmla="*/ 20573 h 28575"/>
                <a:gd name="connsiteX13" fmla="*/ 20575 w 19050"/>
                <a:gd name="connsiteY13" fmla="*/ 24264 h 28575"/>
                <a:gd name="connsiteX14" fmla="*/ 16880 w 19050"/>
                <a:gd name="connsiteY14" fmla="*/ 24264 h 28575"/>
                <a:gd name="connsiteX15" fmla="*/ 13193 w 19050"/>
                <a:gd name="connsiteY15" fmla="*/ 20573 h 28575"/>
                <a:gd name="connsiteX16" fmla="*/ 9507 w 19050"/>
                <a:gd name="connsiteY16" fmla="*/ 16883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50" h="28575">
                  <a:moveTo>
                    <a:pt x="9507" y="16883"/>
                  </a:moveTo>
                  <a:lnTo>
                    <a:pt x="9507" y="13192"/>
                  </a:lnTo>
                  <a:lnTo>
                    <a:pt x="5812" y="5812"/>
                  </a:lnTo>
                  <a:lnTo>
                    <a:pt x="5812" y="5812"/>
                  </a:lnTo>
                  <a:lnTo>
                    <a:pt x="9507" y="5812"/>
                  </a:lnTo>
                  <a:lnTo>
                    <a:pt x="9507" y="9502"/>
                  </a:lnTo>
                  <a:lnTo>
                    <a:pt x="13193" y="9502"/>
                  </a:lnTo>
                  <a:lnTo>
                    <a:pt x="16880" y="9502"/>
                  </a:lnTo>
                  <a:lnTo>
                    <a:pt x="16880" y="13192"/>
                  </a:lnTo>
                  <a:lnTo>
                    <a:pt x="16880" y="16883"/>
                  </a:lnTo>
                  <a:lnTo>
                    <a:pt x="20575" y="16883"/>
                  </a:lnTo>
                  <a:lnTo>
                    <a:pt x="20575" y="20573"/>
                  </a:lnTo>
                  <a:lnTo>
                    <a:pt x="20575" y="20573"/>
                  </a:lnTo>
                  <a:lnTo>
                    <a:pt x="20575" y="24264"/>
                  </a:lnTo>
                  <a:lnTo>
                    <a:pt x="16880" y="24264"/>
                  </a:lnTo>
                  <a:lnTo>
                    <a:pt x="13193" y="20573"/>
                  </a:lnTo>
                  <a:lnTo>
                    <a:pt x="9507" y="16883"/>
                  </a:lnTo>
                  <a:close/>
                </a:path>
              </a:pathLst>
            </a:custGeom>
            <a:solidFill>
              <a:schemeClr val="accent3">
                <a:lumMod val="20000"/>
                <a:lumOff val="80000"/>
              </a:schemeClr>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86" name="Freeform: Shape 85">
              <a:extLst>
                <a:ext uri="{FF2B5EF4-FFF2-40B4-BE49-F238E27FC236}">
                  <a16:creationId xmlns:a16="http://schemas.microsoft.com/office/drawing/2014/main" id="{7CBA81D8-13DF-4335-95D0-B3DFF33DC6BD}"/>
                </a:ext>
              </a:extLst>
            </p:cNvPr>
            <p:cNvSpPr/>
            <p:nvPr/>
          </p:nvSpPr>
          <p:spPr>
            <a:xfrm>
              <a:off x="3036305" y="2520529"/>
              <a:ext cx="830125" cy="814752"/>
            </a:xfrm>
            <a:custGeom>
              <a:avLst/>
              <a:gdLst>
                <a:gd name="connsiteX0" fmla="*/ 275121 w 514350"/>
                <a:gd name="connsiteY0" fmla="*/ 5812 h 504825"/>
                <a:gd name="connsiteX1" fmla="*/ 267740 w 514350"/>
                <a:gd name="connsiteY1" fmla="*/ 9502 h 504825"/>
                <a:gd name="connsiteX2" fmla="*/ 238222 w 514350"/>
                <a:gd name="connsiteY2" fmla="*/ 13193 h 504825"/>
                <a:gd name="connsiteX3" fmla="*/ 234535 w 514350"/>
                <a:gd name="connsiteY3" fmla="*/ 16883 h 504825"/>
                <a:gd name="connsiteX4" fmla="*/ 223467 w 514350"/>
                <a:gd name="connsiteY4" fmla="*/ 20574 h 504825"/>
                <a:gd name="connsiteX5" fmla="*/ 219781 w 514350"/>
                <a:gd name="connsiteY5" fmla="*/ 20574 h 504825"/>
                <a:gd name="connsiteX6" fmla="*/ 216095 w 514350"/>
                <a:gd name="connsiteY6" fmla="*/ 24264 h 504825"/>
                <a:gd name="connsiteX7" fmla="*/ 208713 w 514350"/>
                <a:gd name="connsiteY7" fmla="*/ 24264 h 504825"/>
                <a:gd name="connsiteX8" fmla="*/ 201331 w 514350"/>
                <a:gd name="connsiteY8" fmla="*/ 31645 h 504825"/>
                <a:gd name="connsiteX9" fmla="*/ 197645 w 514350"/>
                <a:gd name="connsiteY9" fmla="*/ 31645 h 504825"/>
                <a:gd name="connsiteX10" fmla="*/ 193959 w 514350"/>
                <a:gd name="connsiteY10" fmla="*/ 31645 h 504825"/>
                <a:gd name="connsiteX11" fmla="*/ 190263 w 514350"/>
                <a:gd name="connsiteY11" fmla="*/ 31645 h 504825"/>
                <a:gd name="connsiteX12" fmla="*/ 182891 w 514350"/>
                <a:gd name="connsiteY12" fmla="*/ 35336 h 504825"/>
                <a:gd name="connsiteX13" fmla="*/ 175509 w 514350"/>
                <a:gd name="connsiteY13" fmla="*/ 39027 h 504825"/>
                <a:gd name="connsiteX14" fmla="*/ 171823 w 514350"/>
                <a:gd name="connsiteY14" fmla="*/ 35336 h 504825"/>
                <a:gd name="connsiteX15" fmla="*/ 168127 w 514350"/>
                <a:gd name="connsiteY15" fmla="*/ 39027 h 504825"/>
                <a:gd name="connsiteX16" fmla="*/ 149687 w 514350"/>
                <a:gd name="connsiteY16" fmla="*/ 39027 h 504825"/>
                <a:gd name="connsiteX17" fmla="*/ 138619 w 514350"/>
                <a:gd name="connsiteY17" fmla="*/ 42717 h 504825"/>
                <a:gd name="connsiteX18" fmla="*/ 123864 w 514350"/>
                <a:gd name="connsiteY18" fmla="*/ 46408 h 504825"/>
                <a:gd name="connsiteX19" fmla="*/ 116483 w 514350"/>
                <a:gd name="connsiteY19" fmla="*/ 46408 h 504825"/>
                <a:gd name="connsiteX20" fmla="*/ 109101 w 514350"/>
                <a:gd name="connsiteY20" fmla="*/ 50098 h 504825"/>
                <a:gd name="connsiteX21" fmla="*/ 101728 w 514350"/>
                <a:gd name="connsiteY21" fmla="*/ 50098 h 504825"/>
                <a:gd name="connsiteX22" fmla="*/ 90660 w 514350"/>
                <a:gd name="connsiteY22" fmla="*/ 53789 h 504825"/>
                <a:gd name="connsiteX23" fmla="*/ 79592 w 514350"/>
                <a:gd name="connsiteY23" fmla="*/ 57480 h 504825"/>
                <a:gd name="connsiteX24" fmla="*/ 75906 w 514350"/>
                <a:gd name="connsiteY24" fmla="*/ 61170 h 504825"/>
                <a:gd name="connsiteX25" fmla="*/ 75906 w 514350"/>
                <a:gd name="connsiteY25" fmla="*/ 64861 h 504825"/>
                <a:gd name="connsiteX26" fmla="*/ 68524 w 514350"/>
                <a:gd name="connsiteY26" fmla="*/ 68551 h 504825"/>
                <a:gd name="connsiteX27" fmla="*/ 64838 w 514350"/>
                <a:gd name="connsiteY27" fmla="*/ 64861 h 504825"/>
                <a:gd name="connsiteX28" fmla="*/ 61142 w 514350"/>
                <a:gd name="connsiteY28" fmla="*/ 61170 h 504825"/>
                <a:gd name="connsiteX29" fmla="*/ 42702 w 514350"/>
                <a:gd name="connsiteY29" fmla="*/ 50098 h 504825"/>
                <a:gd name="connsiteX30" fmla="*/ 39006 w 514350"/>
                <a:gd name="connsiteY30" fmla="*/ 50098 h 504825"/>
                <a:gd name="connsiteX31" fmla="*/ 24252 w 514350"/>
                <a:gd name="connsiteY31" fmla="*/ 57480 h 504825"/>
                <a:gd name="connsiteX32" fmla="*/ 24252 w 514350"/>
                <a:gd name="connsiteY32" fmla="*/ 53789 h 504825"/>
                <a:gd name="connsiteX33" fmla="*/ 20566 w 514350"/>
                <a:gd name="connsiteY33" fmla="*/ 53789 h 504825"/>
                <a:gd name="connsiteX34" fmla="*/ 20566 w 514350"/>
                <a:gd name="connsiteY34" fmla="*/ 57480 h 504825"/>
                <a:gd name="connsiteX35" fmla="*/ 16870 w 514350"/>
                <a:gd name="connsiteY35" fmla="*/ 57480 h 504825"/>
                <a:gd name="connsiteX36" fmla="*/ 16870 w 514350"/>
                <a:gd name="connsiteY36" fmla="*/ 53789 h 504825"/>
                <a:gd name="connsiteX37" fmla="*/ 13184 w 514350"/>
                <a:gd name="connsiteY37" fmla="*/ 57480 h 504825"/>
                <a:gd name="connsiteX38" fmla="*/ 16870 w 514350"/>
                <a:gd name="connsiteY38" fmla="*/ 61170 h 504825"/>
                <a:gd name="connsiteX39" fmla="*/ 20566 w 514350"/>
                <a:gd name="connsiteY39" fmla="*/ 61170 h 504825"/>
                <a:gd name="connsiteX40" fmla="*/ 24252 w 514350"/>
                <a:gd name="connsiteY40" fmla="*/ 64861 h 504825"/>
                <a:gd name="connsiteX41" fmla="*/ 27938 w 514350"/>
                <a:gd name="connsiteY41" fmla="*/ 64861 h 504825"/>
                <a:gd name="connsiteX42" fmla="*/ 31634 w 514350"/>
                <a:gd name="connsiteY42" fmla="*/ 68551 h 504825"/>
                <a:gd name="connsiteX43" fmla="*/ 35320 w 514350"/>
                <a:gd name="connsiteY43" fmla="*/ 68551 h 504825"/>
                <a:gd name="connsiteX44" fmla="*/ 35320 w 514350"/>
                <a:gd name="connsiteY44" fmla="*/ 72242 h 504825"/>
                <a:gd name="connsiteX45" fmla="*/ 31634 w 514350"/>
                <a:gd name="connsiteY45" fmla="*/ 72242 h 504825"/>
                <a:gd name="connsiteX46" fmla="*/ 27938 w 514350"/>
                <a:gd name="connsiteY46" fmla="*/ 72242 h 504825"/>
                <a:gd name="connsiteX47" fmla="*/ 24252 w 514350"/>
                <a:gd name="connsiteY47" fmla="*/ 72242 h 504825"/>
                <a:gd name="connsiteX48" fmla="*/ 24252 w 514350"/>
                <a:gd name="connsiteY48" fmla="*/ 68551 h 504825"/>
                <a:gd name="connsiteX49" fmla="*/ 16870 w 514350"/>
                <a:gd name="connsiteY49" fmla="*/ 64861 h 504825"/>
                <a:gd name="connsiteX50" fmla="*/ 16870 w 514350"/>
                <a:gd name="connsiteY50" fmla="*/ 61170 h 504825"/>
                <a:gd name="connsiteX51" fmla="*/ 9498 w 514350"/>
                <a:gd name="connsiteY51" fmla="*/ 61170 h 504825"/>
                <a:gd name="connsiteX52" fmla="*/ 5812 w 514350"/>
                <a:gd name="connsiteY52" fmla="*/ 68551 h 504825"/>
                <a:gd name="connsiteX53" fmla="*/ 9498 w 514350"/>
                <a:gd name="connsiteY53" fmla="*/ 68551 h 504825"/>
                <a:gd name="connsiteX54" fmla="*/ 13184 w 514350"/>
                <a:gd name="connsiteY54" fmla="*/ 72242 h 504825"/>
                <a:gd name="connsiteX55" fmla="*/ 16870 w 514350"/>
                <a:gd name="connsiteY55" fmla="*/ 72242 h 504825"/>
                <a:gd name="connsiteX56" fmla="*/ 16870 w 514350"/>
                <a:gd name="connsiteY56" fmla="*/ 75933 h 504825"/>
                <a:gd name="connsiteX57" fmla="*/ 13184 w 514350"/>
                <a:gd name="connsiteY57" fmla="*/ 79623 h 504825"/>
                <a:gd name="connsiteX58" fmla="*/ 9498 w 514350"/>
                <a:gd name="connsiteY58" fmla="*/ 75933 h 504825"/>
                <a:gd name="connsiteX59" fmla="*/ 9498 w 514350"/>
                <a:gd name="connsiteY59" fmla="*/ 79623 h 504825"/>
                <a:gd name="connsiteX60" fmla="*/ 13184 w 514350"/>
                <a:gd name="connsiteY60" fmla="*/ 83314 h 504825"/>
                <a:gd name="connsiteX61" fmla="*/ 16870 w 514350"/>
                <a:gd name="connsiteY61" fmla="*/ 83314 h 504825"/>
                <a:gd name="connsiteX62" fmla="*/ 20566 w 514350"/>
                <a:gd name="connsiteY62" fmla="*/ 83314 h 504825"/>
                <a:gd name="connsiteX63" fmla="*/ 24252 w 514350"/>
                <a:gd name="connsiteY63" fmla="*/ 83314 h 504825"/>
                <a:gd name="connsiteX64" fmla="*/ 27938 w 514350"/>
                <a:gd name="connsiteY64" fmla="*/ 83314 h 504825"/>
                <a:gd name="connsiteX65" fmla="*/ 31634 w 514350"/>
                <a:gd name="connsiteY65" fmla="*/ 83314 h 504825"/>
                <a:gd name="connsiteX66" fmla="*/ 31634 w 514350"/>
                <a:gd name="connsiteY66" fmla="*/ 87005 h 504825"/>
                <a:gd name="connsiteX67" fmla="*/ 24252 w 514350"/>
                <a:gd name="connsiteY67" fmla="*/ 87005 h 504825"/>
                <a:gd name="connsiteX68" fmla="*/ 20566 w 514350"/>
                <a:gd name="connsiteY68" fmla="*/ 87005 h 504825"/>
                <a:gd name="connsiteX69" fmla="*/ 20566 w 514350"/>
                <a:gd name="connsiteY69" fmla="*/ 90695 h 504825"/>
                <a:gd name="connsiteX70" fmla="*/ 24252 w 514350"/>
                <a:gd name="connsiteY70" fmla="*/ 90695 h 504825"/>
                <a:gd name="connsiteX71" fmla="*/ 27938 w 514350"/>
                <a:gd name="connsiteY71" fmla="*/ 90695 h 504825"/>
                <a:gd name="connsiteX72" fmla="*/ 31634 w 514350"/>
                <a:gd name="connsiteY72" fmla="*/ 90695 h 504825"/>
                <a:gd name="connsiteX73" fmla="*/ 35320 w 514350"/>
                <a:gd name="connsiteY73" fmla="*/ 87005 h 504825"/>
                <a:gd name="connsiteX74" fmla="*/ 35320 w 514350"/>
                <a:gd name="connsiteY74" fmla="*/ 90695 h 504825"/>
                <a:gd name="connsiteX75" fmla="*/ 35320 w 514350"/>
                <a:gd name="connsiteY75" fmla="*/ 94385 h 504825"/>
                <a:gd name="connsiteX76" fmla="*/ 31634 w 514350"/>
                <a:gd name="connsiteY76" fmla="*/ 94385 h 504825"/>
                <a:gd name="connsiteX77" fmla="*/ 35320 w 514350"/>
                <a:gd name="connsiteY77" fmla="*/ 98075 h 504825"/>
                <a:gd name="connsiteX78" fmla="*/ 39006 w 514350"/>
                <a:gd name="connsiteY78" fmla="*/ 94385 h 504825"/>
                <a:gd name="connsiteX79" fmla="*/ 42702 w 514350"/>
                <a:gd name="connsiteY79" fmla="*/ 94385 h 504825"/>
                <a:gd name="connsiteX80" fmla="*/ 42702 w 514350"/>
                <a:gd name="connsiteY80" fmla="*/ 98075 h 504825"/>
                <a:gd name="connsiteX81" fmla="*/ 39006 w 514350"/>
                <a:gd name="connsiteY81" fmla="*/ 101766 h 504825"/>
                <a:gd name="connsiteX82" fmla="*/ 31634 w 514350"/>
                <a:gd name="connsiteY82" fmla="*/ 101766 h 504825"/>
                <a:gd name="connsiteX83" fmla="*/ 31634 w 514350"/>
                <a:gd name="connsiteY83" fmla="*/ 105457 h 504825"/>
                <a:gd name="connsiteX84" fmla="*/ 35320 w 514350"/>
                <a:gd name="connsiteY84" fmla="*/ 109147 h 504825"/>
                <a:gd name="connsiteX85" fmla="*/ 39006 w 514350"/>
                <a:gd name="connsiteY85" fmla="*/ 105457 h 504825"/>
                <a:gd name="connsiteX86" fmla="*/ 42702 w 514350"/>
                <a:gd name="connsiteY86" fmla="*/ 105457 h 504825"/>
                <a:gd name="connsiteX87" fmla="*/ 46388 w 514350"/>
                <a:gd name="connsiteY87" fmla="*/ 105457 h 504825"/>
                <a:gd name="connsiteX88" fmla="*/ 50074 w 514350"/>
                <a:gd name="connsiteY88" fmla="*/ 105457 h 504825"/>
                <a:gd name="connsiteX89" fmla="*/ 53770 w 514350"/>
                <a:gd name="connsiteY89" fmla="*/ 109147 h 504825"/>
                <a:gd name="connsiteX90" fmla="*/ 57456 w 514350"/>
                <a:gd name="connsiteY90" fmla="*/ 109147 h 504825"/>
                <a:gd name="connsiteX91" fmla="*/ 57456 w 514350"/>
                <a:gd name="connsiteY91" fmla="*/ 131291 h 504825"/>
                <a:gd name="connsiteX92" fmla="*/ 57456 w 514350"/>
                <a:gd name="connsiteY92" fmla="*/ 134981 h 504825"/>
                <a:gd name="connsiteX93" fmla="*/ 61142 w 514350"/>
                <a:gd name="connsiteY93" fmla="*/ 134981 h 504825"/>
                <a:gd name="connsiteX94" fmla="*/ 61142 w 514350"/>
                <a:gd name="connsiteY94" fmla="*/ 138672 h 504825"/>
                <a:gd name="connsiteX95" fmla="*/ 57456 w 514350"/>
                <a:gd name="connsiteY95" fmla="*/ 138672 h 504825"/>
                <a:gd name="connsiteX96" fmla="*/ 53770 w 514350"/>
                <a:gd name="connsiteY96" fmla="*/ 142363 h 504825"/>
                <a:gd name="connsiteX97" fmla="*/ 53770 w 514350"/>
                <a:gd name="connsiteY97" fmla="*/ 146053 h 504825"/>
                <a:gd name="connsiteX98" fmla="*/ 50074 w 514350"/>
                <a:gd name="connsiteY98" fmla="*/ 149744 h 504825"/>
                <a:gd name="connsiteX99" fmla="*/ 46388 w 514350"/>
                <a:gd name="connsiteY99" fmla="*/ 149744 h 504825"/>
                <a:gd name="connsiteX100" fmla="*/ 42702 w 514350"/>
                <a:gd name="connsiteY100" fmla="*/ 153435 h 504825"/>
                <a:gd name="connsiteX101" fmla="*/ 42702 w 514350"/>
                <a:gd name="connsiteY101" fmla="*/ 157125 h 504825"/>
                <a:gd name="connsiteX102" fmla="*/ 42702 w 514350"/>
                <a:gd name="connsiteY102" fmla="*/ 160816 h 504825"/>
                <a:gd name="connsiteX103" fmla="*/ 42702 w 514350"/>
                <a:gd name="connsiteY103" fmla="*/ 164506 h 504825"/>
                <a:gd name="connsiteX104" fmla="*/ 46388 w 514350"/>
                <a:gd name="connsiteY104" fmla="*/ 164506 h 504825"/>
                <a:gd name="connsiteX105" fmla="*/ 42702 w 514350"/>
                <a:gd name="connsiteY105" fmla="*/ 168197 h 504825"/>
                <a:gd name="connsiteX106" fmla="*/ 39006 w 514350"/>
                <a:gd name="connsiteY106" fmla="*/ 168197 h 504825"/>
                <a:gd name="connsiteX107" fmla="*/ 39006 w 514350"/>
                <a:gd name="connsiteY107" fmla="*/ 171888 h 504825"/>
                <a:gd name="connsiteX108" fmla="*/ 35320 w 514350"/>
                <a:gd name="connsiteY108" fmla="*/ 175578 h 504825"/>
                <a:gd name="connsiteX109" fmla="*/ 35320 w 514350"/>
                <a:gd name="connsiteY109" fmla="*/ 179268 h 504825"/>
                <a:gd name="connsiteX110" fmla="*/ 35320 w 514350"/>
                <a:gd name="connsiteY110" fmla="*/ 182958 h 504825"/>
                <a:gd name="connsiteX111" fmla="*/ 31634 w 514350"/>
                <a:gd name="connsiteY111" fmla="*/ 186649 h 504825"/>
                <a:gd name="connsiteX112" fmla="*/ 27938 w 514350"/>
                <a:gd name="connsiteY112" fmla="*/ 190340 h 504825"/>
                <a:gd name="connsiteX113" fmla="*/ 24252 w 514350"/>
                <a:gd name="connsiteY113" fmla="*/ 194030 h 504825"/>
                <a:gd name="connsiteX114" fmla="*/ 24252 w 514350"/>
                <a:gd name="connsiteY114" fmla="*/ 197721 h 504825"/>
                <a:gd name="connsiteX115" fmla="*/ 27938 w 514350"/>
                <a:gd name="connsiteY115" fmla="*/ 197721 h 504825"/>
                <a:gd name="connsiteX116" fmla="*/ 31634 w 514350"/>
                <a:gd name="connsiteY116" fmla="*/ 197721 h 504825"/>
                <a:gd name="connsiteX117" fmla="*/ 31634 w 514350"/>
                <a:gd name="connsiteY117" fmla="*/ 205102 h 504825"/>
                <a:gd name="connsiteX118" fmla="*/ 31634 w 514350"/>
                <a:gd name="connsiteY118" fmla="*/ 208793 h 504825"/>
                <a:gd name="connsiteX119" fmla="*/ 31634 w 514350"/>
                <a:gd name="connsiteY119" fmla="*/ 212483 h 504825"/>
                <a:gd name="connsiteX120" fmla="*/ 27938 w 514350"/>
                <a:gd name="connsiteY120" fmla="*/ 219865 h 504825"/>
                <a:gd name="connsiteX121" fmla="*/ 24252 w 514350"/>
                <a:gd name="connsiteY121" fmla="*/ 223555 h 504825"/>
                <a:gd name="connsiteX122" fmla="*/ 20566 w 514350"/>
                <a:gd name="connsiteY122" fmla="*/ 223555 h 504825"/>
                <a:gd name="connsiteX123" fmla="*/ 16870 w 514350"/>
                <a:gd name="connsiteY123" fmla="*/ 227246 h 504825"/>
                <a:gd name="connsiteX124" fmla="*/ 16870 w 514350"/>
                <a:gd name="connsiteY124" fmla="*/ 230936 h 504825"/>
                <a:gd name="connsiteX125" fmla="*/ 13184 w 514350"/>
                <a:gd name="connsiteY125" fmla="*/ 238318 h 504825"/>
                <a:gd name="connsiteX126" fmla="*/ 9498 w 514350"/>
                <a:gd name="connsiteY126" fmla="*/ 242008 h 504825"/>
                <a:gd name="connsiteX127" fmla="*/ 9498 w 514350"/>
                <a:gd name="connsiteY127" fmla="*/ 249389 h 504825"/>
                <a:gd name="connsiteX128" fmla="*/ 9498 w 514350"/>
                <a:gd name="connsiteY128" fmla="*/ 256771 h 504825"/>
                <a:gd name="connsiteX129" fmla="*/ 9498 w 514350"/>
                <a:gd name="connsiteY129" fmla="*/ 260461 h 504825"/>
                <a:gd name="connsiteX130" fmla="*/ 9498 w 514350"/>
                <a:gd name="connsiteY130" fmla="*/ 275223 h 504825"/>
                <a:gd name="connsiteX131" fmla="*/ 13184 w 514350"/>
                <a:gd name="connsiteY131" fmla="*/ 278913 h 504825"/>
                <a:gd name="connsiteX132" fmla="*/ 16870 w 514350"/>
                <a:gd name="connsiteY132" fmla="*/ 282604 h 504825"/>
                <a:gd name="connsiteX133" fmla="*/ 20566 w 514350"/>
                <a:gd name="connsiteY133" fmla="*/ 289985 h 504825"/>
                <a:gd name="connsiteX134" fmla="*/ 24252 w 514350"/>
                <a:gd name="connsiteY134" fmla="*/ 289985 h 504825"/>
                <a:gd name="connsiteX135" fmla="*/ 31634 w 514350"/>
                <a:gd name="connsiteY135" fmla="*/ 289985 h 504825"/>
                <a:gd name="connsiteX136" fmla="*/ 39006 w 514350"/>
                <a:gd name="connsiteY136" fmla="*/ 289985 h 504825"/>
                <a:gd name="connsiteX137" fmla="*/ 46388 w 514350"/>
                <a:gd name="connsiteY137" fmla="*/ 289985 h 504825"/>
                <a:gd name="connsiteX138" fmla="*/ 50074 w 514350"/>
                <a:gd name="connsiteY138" fmla="*/ 289985 h 504825"/>
                <a:gd name="connsiteX139" fmla="*/ 53770 w 514350"/>
                <a:gd name="connsiteY139" fmla="*/ 293676 h 504825"/>
                <a:gd name="connsiteX140" fmla="*/ 61142 w 514350"/>
                <a:gd name="connsiteY140" fmla="*/ 297366 h 504825"/>
                <a:gd name="connsiteX141" fmla="*/ 64838 w 514350"/>
                <a:gd name="connsiteY141" fmla="*/ 301057 h 504825"/>
                <a:gd name="connsiteX142" fmla="*/ 64838 w 514350"/>
                <a:gd name="connsiteY142" fmla="*/ 304748 h 504825"/>
                <a:gd name="connsiteX143" fmla="*/ 75906 w 514350"/>
                <a:gd name="connsiteY143" fmla="*/ 308438 h 504825"/>
                <a:gd name="connsiteX144" fmla="*/ 86974 w 514350"/>
                <a:gd name="connsiteY144" fmla="*/ 312129 h 504825"/>
                <a:gd name="connsiteX145" fmla="*/ 90660 w 514350"/>
                <a:gd name="connsiteY145" fmla="*/ 312129 h 504825"/>
                <a:gd name="connsiteX146" fmla="*/ 94346 w 514350"/>
                <a:gd name="connsiteY146" fmla="*/ 297366 h 504825"/>
                <a:gd name="connsiteX147" fmla="*/ 98033 w 514350"/>
                <a:gd name="connsiteY147" fmla="*/ 297366 h 504825"/>
                <a:gd name="connsiteX148" fmla="*/ 98033 w 514350"/>
                <a:gd name="connsiteY148" fmla="*/ 286295 h 504825"/>
                <a:gd name="connsiteX149" fmla="*/ 98033 w 514350"/>
                <a:gd name="connsiteY149" fmla="*/ 282604 h 504825"/>
                <a:gd name="connsiteX150" fmla="*/ 105414 w 514350"/>
                <a:gd name="connsiteY150" fmla="*/ 264151 h 504825"/>
                <a:gd name="connsiteX151" fmla="*/ 105414 w 514350"/>
                <a:gd name="connsiteY151" fmla="*/ 260461 h 504825"/>
                <a:gd name="connsiteX152" fmla="*/ 109101 w 514350"/>
                <a:gd name="connsiteY152" fmla="*/ 256771 h 504825"/>
                <a:gd name="connsiteX153" fmla="*/ 112796 w 514350"/>
                <a:gd name="connsiteY153" fmla="*/ 249389 h 504825"/>
                <a:gd name="connsiteX154" fmla="*/ 116483 w 514350"/>
                <a:gd name="connsiteY154" fmla="*/ 245699 h 504825"/>
                <a:gd name="connsiteX155" fmla="*/ 116483 w 514350"/>
                <a:gd name="connsiteY155" fmla="*/ 242008 h 504825"/>
                <a:gd name="connsiteX156" fmla="*/ 120169 w 514350"/>
                <a:gd name="connsiteY156" fmla="*/ 238318 h 504825"/>
                <a:gd name="connsiteX157" fmla="*/ 127551 w 514350"/>
                <a:gd name="connsiteY157" fmla="*/ 234627 h 504825"/>
                <a:gd name="connsiteX158" fmla="*/ 134932 w 514350"/>
                <a:gd name="connsiteY158" fmla="*/ 230936 h 504825"/>
                <a:gd name="connsiteX159" fmla="*/ 134932 w 514350"/>
                <a:gd name="connsiteY159" fmla="*/ 227246 h 504825"/>
                <a:gd name="connsiteX160" fmla="*/ 138619 w 514350"/>
                <a:gd name="connsiteY160" fmla="*/ 223555 h 504825"/>
                <a:gd name="connsiteX161" fmla="*/ 146001 w 514350"/>
                <a:gd name="connsiteY161" fmla="*/ 219865 h 504825"/>
                <a:gd name="connsiteX162" fmla="*/ 153373 w 514350"/>
                <a:gd name="connsiteY162" fmla="*/ 219865 h 504825"/>
                <a:gd name="connsiteX163" fmla="*/ 157069 w 514350"/>
                <a:gd name="connsiteY163" fmla="*/ 219865 h 504825"/>
                <a:gd name="connsiteX164" fmla="*/ 160755 w 514350"/>
                <a:gd name="connsiteY164" fmla="*/ 223555 h 504825"/>
                <a:gd name="connsiteX165" fmla="*/ 164441 w 514350"/>
                <a:gd name="connsiteY165" fmla="*/ 219865 h 504825"/>
                <a:gd name="connsiteX166" fmla="*/ 168127 w 514350"/>
                <a:gd name="connsiteY166" fmla="*/ 223555 h 504825"/>
                <a:gd name="connsiteX167" fmla="*/ 175509 w 514350"/>
                <a:gd name="connsiteY167" fmla="*/ 223555 h 504825"/>
                <a:gd name="connsiteX168" fmla="*/ 179195 w 514350"/>
                <a:gd name="connsiteY168" fmla="*/ 234627 h 504825"/>
                <a:gd name="connsiteX169" fmla="*/ 182891 w 514350"/>
                <a:gd name="connsiteY169" fmla="*/ 238318 h 504825"/>
                <a:gd name="connsiteX170" fmla="*/ 186577 w 514350"/>
                <a:gd name="connsiteY170" fmla="*/ 234627 h 504825"/>
                <a:gd name="connsiteX171" fmla="*/ 190263 w 514350"/>
                <a:gd name="connsiteY171" fmla="*/ 245699 h 504825"/>
                <a:gd name="connsiteX172" fmla="*/ 190263 w 514350"/>
                <a:gd name="connsiteY172" fmla="*/ 249389 h 504825"/>
                <a:gd name="connsiteX173" fmla="*/ 193959 w 514350"/>
                <a:gd name="connsiteY173" fmla="*/ 253080 h 504825"/>
                <a:gd name="connsiteX174" fmla="*/ 201331 w 514350"/>
                <a:gd name="connsiteY174" fmla="*/ 249389 h 504825"/>
                <a:gd name="connsiteX175" fmla="*/ 201331 w 514350"/>
                <a:gd name="connsiteY175" fmla="*/ 253080 h 504825"/>
                <a:gd name="connsiteX176" fmla="*/ 201331 w 514350"/>
                <a:gd name="connsiteY176" fmla="*/ 256771 h 504825"/>
                <a:gd name="connsiteX177" fmla="*/ 205027 w 514350"/>
                <a:gd name="connsiteY177" fmla="*/ 260461 h 504825"/>
                <a:gd name="connsiteX178" fmla="*/ 205027 w 514350"/>
                <a:gd name="connsiteY178" fmla="*/ 264151 h 504825"/>
                <a:gd name="connsiteX179" fmla="*/ 212399 w 514350"/>
                <a:gd name="connsiteY179" fmla="*/ 264151 h 504825"/>
                <a:gd name="connsiteX180" fmla="*/ 212399 w 514350"/>
                <a:gd name="connsiteY180" fmla="*/ 267842 h 504825"/>
                <a:gd name="connsiteX181" fmla="*/ 216095 w 514350"/>
                <a:gd name="connsiteY181" fmla="*/ 271532 h 504825"/>
                <a:gd name="connsiteX182" fmla="*/ 219781 w 514350"/>
                <a:gd name="connsiteY182" fmla="*/ 275223 h 504825"/>
                <a:gd name="connsiteX183" fmla="*/ 223467 w 514350"/>
                <a:gd name="connsiteY183" fmla="*/ 278913 h 504825"/>
                <a:gd name="connsiteX184" fmla="*/ 223467 w 514350"/>
                <a:gd name="connsiteY184" fmla="*/ 282604 h 504825"/>
                <a:gd name="connsiteX185" fmla="*/ 227163 w 514350"/>
                <a:gd name="connsiteY185" fmla="*/ 282604 h 504825"/>
                <a:gd name="connsiteX186" fmla="*/ 223467 w 514350"/>
                <a:gd name="connsiteY186" fmla="*/ 286295 h 504825"/>
                <a:gd name="connsiteX187" fmla="*/ 227163 w 514350"/>
                <a:gd name="connsiteY187" fmla="*/ 289985 h 504825"/>
                <a:gd name="connsiteX188" fmla="*/ 227163 w 514350"/>
                <a:gd name="connsiteY188" fmla="*/ 293676 h 504825"/>
                <a:gd name="connsiteX189" fmla="*/ 245603 w 514350"/>
                <a:gd name="connsiteY189" fmla="*/ 286295 h 504825"/>
                <a:gd name="connsiteX190" fmla="*/ 249290 w 514350"/>
                <a:gd name="connsiteY190" fmla="*/ 286295 h 504825"/>
                <a:gd name="connsiteX191" fmla="*/ 256672 w 514350"/>
                <a:gd name="connsiteY191" fmla="*/ 282604 h 504825"/>
                <a:gd name="connsiteX192" fmla="*/ 267740 w 514350"/>
                <a:gd name="connsiteY192" fmla="*/ 282604 h 504825"/>
                <a:gd name="connsiteX193" fmla="*/ 271426 w 514350"/>
                <a:gd name="connsiteY193" fmla="*/ 282604 h 504825"/>
                <a:gd name="connsiteX194" fmla="*/ 275121 w 514350"/>
                <a:gd name="connsiteY194" fmla="*/ 282604 h 504825"/>
                <a:gd name="connsiteX195" fmla="*/ 278808 w 514350"/>
                <a:gd name="connsiteY195" fmla="*/ 286295 h 504825"/>
                <a:gd name="connsiteX196" fmla="*/ 282494 w 514350"/>
                <a:gd name="connsiteY196" fmla="*/ 286295 h 504825"/>
                <a:gd name="connsiteX197" fmla="*/ 282494 w 514350"/>
                <a:gd name="connsiteY197" fmla="*/ 289985 h 504825"/>
                <a:gd name="connsiteX198" fmla="*/ 297258 w 514350"/>
                <a:gd name="connsiteY198" fmla="*/ 301057 h 504825"/>
                <a:gd name="connsiteX199" fmla="*/ 300944 w 514350"/>
                <a:gd name="connsiteY199" fmla="*/ 308438 h 504825"/>
                <a:gd name="connsiteX200" fmla="*/ 315698 w 514350"/>
                <a:gd name="connsiteY200" fmla="*/ 319510 h 504825"/>
                <a:gd name="connsiteX201" fmla="*/ 315698 w 514350"/>
                <a:gd name="connsiteY201" fmla="*/ 323201 h 504825"/>
                <a:gd name="connsiteX202" fmla="*/ 326766 w 514350"/>
                <a:gd name="connsiteY202" fmla="*/ 334273 h 504825"/>
                <a:gd name="connsiteX203" fmla="*/ 337834 w 514350"/>
                <a:gd name="connsiteY203" fmla="*/ 345344 h 504825"/>
                <a:gd name="connsiteX204" fmla="*/ 356284 w 514350"/>
                <a:gd name="connsiteY204" fmla="*/ 363796 h 504825"/>
                <a:gd name="connsiteX205" fmla="*/ 359970 w 514350"/>
                <a:gd name="connsiteY205" fmla="*/ 367487 h 504825"/>
                <a:gd name="connsiteX206" fmla="*/ 367352 w 514350"/>
                <a:gd name="connsiteY206" fmla="*/ 374868 h 504825"/>
                <a:gd name="connsiteX207" fmla="*/ 374724 w 514350"/>
                <a:gd name="connsiteY207" fmla="*/ 382249 h 504825"/>
                <a:gd name="connsiteX208" fmla="*/ 378410 w 514350"/>
                <a:gd name="connsiteY208" fmla="*/ 385940 h 504825"/>
                <a:gd name="connsiteX209" fmla="*/ 378410 w 514350"/>
                <a:gd name="connsiteY209" fmla="*/ 389631 h 504825"/>
                <a:gd name="connsiteX210" fmla="*/ 382106 w 514350"/>
                <a:gd name="connsiteY210" fmla="*/ 393321 h 504825"/>
                <a:gd name="connsiteX211" fmla="*/ 385792 w 514350"/>
                <a:gd name="connsiteY211" fmla="*/ 397012 h 504825"/>
                <a:gd name="connsiteX212" fmla="*/ 389479 w 514350"/>
                <a:gd name="connsiteY212" fmla="*/ 404393 h 504825"/>
                <a:gd name="connsiteX213" fmla="*/ 393174 w 514350"/>
                <a:gd name="connsiteY213" fmla="*/ 411774 h 504825"/>
                <a:gd name="connsiteX214" fmla="*/ 396861 w 514350"/>
                <a:gd name="connsiteY214" fmla="*/ 411774 h 504825"/>
                <a:gd name="connsiteX215" fmla="*/ 396861 w 514350"/>
                <a:gd name="connsiteY215" fmla="*/ 415465 h 504825"/>
                <a:gd name="connsiteX216" fmla="*/ 400547 w 514350"/>
                <a:gd name="connsiteY216" fmla="*/ 415465 h 504825"/>
                <a:gd name="connsiteX217" fmla="*/ 407928 w 514350"/>
                <a:gd name="connsiteY217" fmla="*/ 426537 h 504825"/>
                <a:gd name="connsiteX218" fmla="*/ 411615 w 514350"/>
                <a:gd name="connsiteY218" fmla="*/ 433917 h 504825"/>
                <a:gd name="connsiteX219" fmla="*/ 415310 w 514350"/>
                <a:gd name="connsiteY219" fmla="*/ 437608 h 504825"/>
                <a:gd name="connsiteX220" fmla="*/ 418997 w 514350"/>
                <a:gd name="connsiteY220" fmla="*/ 441298 h 504825"/>
                <a:gd name="connsiteX221" fmla="*/ 426378 w 514350"/>
                <a:gd name="connsiteY221" fmla="*/ 441298 h 504825"/>
                <a:gd name="connsiteX222" fmla="*/ 426378 w 514350"/>
                <a:gd name="connsiteY222" fmla="*/ 448680 h 504825"/>
                <a:gd name="connsiteX223" fmla="*/ 422683 w 514350"/>
                <a:gd name="connsiteY223" fmla="*/ 452370 h 504825"/>
                <a:gd name="connsiteX224" fmla="*/ 415310 w 514350"/>
                <a:gd name="connsiteY224" fmla="*/ 474514 h 504825"/>
                <a:gd name="connsiteX225" fmla="*/ 415310 w 514350"/>
                <a:gd name="connsiteY225" fmla="*/ 478204 h 504825"/>
                <a:gd name="connsiteX226" fmla="*/ 426378 w 514350"/>
                <a:gd name="connsiteY226" fmla="*/ 478204 h 504825"/>
                <a:gd name="connsiteX227" fmla="*/ 426378 w 514350"/>
                <a:gd name="connsiteY227" fmla="*/ 481895 h 504825"/>
                <a:gd name="connsiteX228" fmla="*/ 430065 w 514350"/>
                <a:gd name="connsiteY228" fmla="*/ 481895 h 504825"/>
                <a:gd name="connsiteX229" fmla="*/ 437447 w 514350"/>
                <a:gd name="connsiteY229" fmla="*/ 492967 h 504825"/>
                <a:gd name="connsiteX230" fmla="*/ 441133 w 514350"/>
                <a:gd name="connsiteY230" fmla="*/ 496657 h 504825"/>
                <a:gd name="connsiteX231" fmla="*/ 444819 w 514350"/>
                <a:gd name="connsiteY231" fmla="*/ 492967 h 504825"/>
                <a:gd name="connsiteX232" fmla="*/ 444819 w 514350"/>
                <a:gd name="connsiteY232" fmla="*/ 496657 h 504825"/>
                <a:gd name="connsiteX233" fmla="*/ 441133 w 514350"/>
                <a:gd name="connsiteY233" fmla="*/ 496657 h 504825"/>
                <a:gd name="connsiteX234" fmla="*/ 441133 w 514350"/>
                <a:gd name="connsiteY234" fmla="*/ 504039 h 504825"/>
                <a:gd name="connsiteX235" fmla="*/ 452201 w 514350"/>
                <a:gd name="connsiteY235" fmla="*/ 504039 h 504825"/>
                <a:gd name="connsiteX236" fmla="*/ 448505 w 514350"/>
                <a:gd name="connsiteY236" fmla="*/ 496657 h 504825"/>
                <a:gd name="connsiteX237" fmla="*/ 448505 w 514350"/>
                <a:gd name="connsiteY237" fmla="*/ 492967 h 504825"/>
                <a:gd name="connsiteX238" fmla="*/ 455887 w 514350"/>
                <a:gd name="connsiteY238" fmla="*/ 481895 h 504825"/>
                <a:gd name="connsiteX239" fmla="*/ 478023 w 514350"/>
                <a:gd name="connsiteY239" fmla="*/ 444989 h 504825"/>
                <a:gd name="connsiteX240" fmla="*/ 492777 w 514350"/>
                <a:gd name="connsiteY240" fmla="*/ 419156 h 504825"/>
                <a:gd name="connsiteX241" fmla="*/ 500159 w 514350"/>
                <a:gd name="connsiteY241" fmla="*/ 389631 h 504825"/>
                <a:gd name="connsiteX242" fmla="*/ 503845 w 514350"/>
                <a:gd name="connsiteY242" fmla="*/ 371178 h 504825"/>
                <a:gd name="connsiteX243" fmla="*/ 507541 w 514350"/>
                <a:gd name="connsiteY243" fmla="*/ 367487 h 504825"/>
                <a:gd name="connsiteX244" fmla="*/ 507541 w 514350"/>
                <a:gd name="connsiteY244" fmla="*/ 363796 h 504825"/>
                <a:gd name="connsiteX245" fmla="*/ 500159 w 514350"/>
                <a:gd name="connsiteY245" fmla="*/ 330582 h 504825"/>
                <a:gd name="connsiteX246" fmla="*/ 500159 w 514350"/>
                <a:gd name="connsiteY246" fmla="*/ 312129 h 504825"/>
                <a:gd name="connsiteX247" fmla="*/ 500159 w 514350"/>
                <a:gd name="connsiteY247" fmla="*/ 308438 h 504825"/>
                <a:gd name="connsiteX248" fmla="*/ 500159 w 514350"/>
                <a:gd name="connsiteY248" fmla="*/ 282604 h 504825"/>
                <a:gd name="connsiteX249" fmla="*/ 489091 w 514350"/>
                <a:gd name="connsiteY249" fmla="*/ 275223 h 504825"/>
                <a:gd name="connsiteX250" fmla="*/ 489091 w 514350"/>
                <a:gd name="connsiteY250" fmla="*/ 267842 h 504825"/>
                <a:gd name="connsiteX251" fmla="*/ 489091 w 514350"/>
                <a:gd name="connsiteY251" fmla="*/ 264151 h 504825"/>
                <a:gd name="connsiteX252" fmla="*/ 489091 w 514350"/>
                <a:gd name="connsiteY252" fmla="*/ 260461 h 504825"/>
                <a:gd name="connsiteX253" fmla="*/ 492777 w 514350"/>
                <a:gd name="connsiteY253" fmla="*/ 256771 h 504825"/>
                <a:gd name="connsiteX254" fmla="*/ 492777 w 514350"/>
                <a:gd name="connsiteY254" fmla="*/ 249389 h 504825"/>
                <a:gd name="connsiteX255" fmla="*/ 492777 w 514350"/>
                <a:gd name="connsiteY255" fmla="*/ 245699 h 504825"/>
                <a:gd name="connsiteX256" fmla="*/ 496473 w 514350"/>
                <a:gd name="connsiteY256" fmla="*/ 234627 h 504825"/>
                <a:gd name="connsiteX257" fmla="*/ 500159 w 514350"/>
                <a:gd name="connsiteY257" fmla="*/ 234627 h 504825"/>
                <a:gd name="connsiteX258" fmla="*/ 503845 w 514350"/>
                <a:gd name="connsiteY258" fmla="*/ 230936 h 504825"/>
                <a:gd name="connsiteX259" fmla="*/ 511227 w 514350"/>
                <a:gd name="connsiteY259" fmla="*/ 230936 h 504825"/>
                <a:gd name="connsiteX260" fmla="*/ 503845 w 514350"/>
                <a:gd name="connsiteY260" fmla="*/ 227246 h 504825"/>
                <a:gd name="connsiteX261" fmla="*/ 500159 w 514350"/>
                <a:gd name="connsiteY261" fmla="*/ 223555 h 504825"/>
                <a:gd name="connsiteX262" fmla="*/ 503845 w 514350"/>
                <a:gd name="connsiteY262" fmla="*/ 219865 h 504825"/>
                <a:gd name="connsiteX263" fmla="*/ 503845 w 514350"/>
                <a:gd name="connsiteY263" fmla="*/ 216174 h 504825"/>
                <a:gd name="connsiteX264" fmla="*/ 503845 w 514350"/>
                <a:gd name="connsiteY264" fmla="*/ 201412 h 504825"/>
                <a:gd name="connsiteX265" fmla="*/ 500159 w 514350"/>
                <a:gd name="connsiteY265" fmla="*/ 190340 h 504825"/>
                <a:gd name="connsiteX266" fmla="*/ 500159 w 514350"/>
                <a:gd name="connsiteY266" fmla="*/ 186649 h 504825"/>
                <a:gd name="connsiteX267" fmla="*/ 496473 w 514350"/>
                <a:gd name="connsiteY267" fmla="*/ 186649 h 504825"/>
                <a:gd name="connsiteX268" fmla="*/ 485405 w 514350"/>
                <a:gd name="connsiteY268" fmla="*/ 182958 h 504825"/>
                <a:gd name="connsiteX269" fmla="*/ 481709 w 514350"/>
                <a:gd name="connsiteY269" fmla="*/ 182958 h 504825"/>
                <a:gd name="connsiteX270" fmla="*/ 481709 w 514350"/>
                <a:gd name="connsiteY270" fmla="*/ 179268 h 504825"/>
                <a:gd name="connsiteX271" fmla="*/ 478023 w 514350"/>
                <a:gd name="connsiteY271" fmla="*/ 179268 h 504825"/>
                <a:gd name="connsiteX272" fmla="*/ 474337 w 514350"/>
                <a:gd name="connsiteY272" fmla="*/ 179268 h 504825"/>
                <a:gd name="connsiteX273" fmla="*/ 470641 w 514350"/>
                <a:gd name="connsiteY273" fmla="*/ 179268 h 504825"/>
                <a:gd name="connsiteX274" fmla="*/ 466955 w 514350"/>
                <a:gd name="connsiteY274" fmla="*/ 179268 h 504825"/>
                <a:gd name="connsiteX275" fmla="*/ 466955 w 514350"/>
                <a:gd name="connsiteY275" fmla="*/ 175578 h 504825"/>
                <a:gd name="connsiteX276" fmla="*/ 463269 w 514350"/>
                <a:gd name="connsiteY276" fmla="*/ 175578 h 504825"/>
                <a:gd name="connsiteX277" fmla="*/ 459573 w 514350"/>
                <a:gd name="connsiteY277" fmla="*/ 175578 h 504825"/>
                <a:gd name="connsiteX278" fmla="*/ 452201 w 514350"/>
                <a:gd name="connsiteY278" fmla="*/ 175578 h 504825"/>
                <a:gd name="connsiteX279" fmla="*/ 448505 w 514350"/>
                <a:gd name="connsiteY279" fmla="*/ 171888 h 504825"/>
                <a:gd name="connsiteX280" fmla="*/ 444819 w 514350"/>
                <a:gd name="connsiteY280" fmla="*/ 171888 h 504825"/>
                <a:gd name="connsiteX281" fmla="*/ 441133 w 514350"/>
                <a:gd name="connsiteY281" fmla="*/ 168197 h 504825"/>
                <a:gd name="connsiteX282" fmla="*/ 437447 w 514350"/>
                <a:gd name="connsiteY282" fmla="*/ 164506 h 504825"/>
                <a:gd name="connsiteX283" fmla="*/ 437447 w 514350"/>
                <a:gd name="connsiteY283" fmla="*/ 160816 h 504825"/>
                <a:gd name="connsiteX284" fmla="*/ 437447 w 514350"/>
                <a:gd name="connsiteY284" fmla="*/ 153435 h 504825"/>
                <a:gd name="connsiteX285" fmla="*/ 441133 w 514350"/>
                <a:gd name="connsiteY285" fmla="*/ 149744 h 504825"/>
                <a:gd name="connsiteX286" fmla="*/ 437447 w 514350"/>
                <a:gd name="connsiteY286" fmla="*/ 142363 h 504825"/>
                <a:gd name="connsiteX287" fmla="*/ 437447 w 514350"/>
                <a:gd name="connsiteY287" fmla="*/ 138672 h 504825"/>
                <a:gd name="connsiteX288" fmla="*/ 441133 w 514350"/>
                <a:gd name="connsiteY288" fmla="*/ 138672 h 504825"/>
                <a:gd name="connsiteX289" fmla="*/ 444819 w 514350"/>
                <a:gd name="connsiteY289" fmla="*/ 131291 h 504825"/>
                <a:gd name="connsiteX290" fmla="*/ 444819 w 514350"/>
                <a:gd name="connsiteY290" fmla="*/ 127600 h 504825"/>
                <a:gd name="connsiteX291" fmla="*/ 437447 w 514350"/>
                <a:gd name="connsiteY291" fmla="*/ 131291 h 504825"/>
                <a:gd name="connsiteX292" fmla="*/ 433751 w 514350"/>
                <a:gd name="connsiteY292" fmla="*/ 134981 h 504825"/>
                <a:gd name="connsiteX293" fmla="*/ 422683 w 514350"/>
                <a:gd name="connsiteY293" fmla="*/ 134981 h 504825"/>
                <a:gd name="connsiteX294" fmla="*/ 418997 w 514350"/>
                <a:gd name="connsiteY294" fmla="*/ 134981 h 504825"/>
                <a:gd name="connsiteX295" fmla="*/ 415310 w 514350"/>
                <a:gd name="connsiteY295" fmla="*/ 134981 h 504825"/>
                <a:gd name="connsiteX296" fmla="*/ 411615 w 514350"/>
                <a:gd name="connsiteY296" fmla="*/ 134981 h 504825"/>
                <a:gd name="connsiteX297" fmla="*/ 404242 w 514350"/>
                <a:gd name="connsiteY297" fmla="*/ 131291 h 504825"/>
                <a:gd name="connsiteX298" fmla="*/ 404242 w 514350"/>
                <a:gd name="connsiteY298" fmla="*/ 127600 h 504825"/>
                <a:gd name="connsiteX299" fmla="*/ 400547 w 514350"/>
                <a:gd name="connsiteY299" fmla="*/ 127600 h 504825"/>
                <a:gd name="connsiteX300" fmla="*/ 396861 w 514350"/>
                <a:gd name="connsiteY300" fmla="*/ 127600 h 504825"/>
                <a:gd name="connsiteX301" fmla="*/ 389479 w 514350"/>
                <a:gd name="connsiteY301" fmla="*/ 123910 h 504825"/>
                <a:gd name="connsiteX302" fmla="*/ 382106 w 514350"/>
                <a:gd name="connsiteY302" fmla="*/ 120219 h 504825"/>
                <a:gd name="connsiteX303" fmla="*/ 382106 w 514350"/>
                <a:gd name="connsiteY303" fmla="*/ 123910 h 504825"/>
                <a:gd name="connsiteX304" fmla="*/ 374724 w 514350"/>
                <a:gd name="connsiteY304" fmla="*/ 120219 h 504825"/>
                <a:gd name="connsiteX305" fmla="*/ 367352 w 514350"/>
                <a:gd name="connsiteY305" fmla="*/ 116528 h 504825"/>
                <a:gd name="connsiteX306" fmla="*/ 363656 w 514350"/>
                <a:gd name="connsiteY306" fmla="*/ 116528 h 504825"/>
                <a:gd name="connsiteX307" fmla="*/ 363656 w 514350"/>
                <a:gd name="connsiteY307" fmla="*/ 112838 h 504825"/>
                <a:gd name="connsiteX308" fmla="*/ 367352 w 514350"/>
                <a:gd name="connsiteY308" fmla="*/ 112838 h 504825"/>
                <a:gd name="connsiteX309" fmla="*/ 363656 w 514350"/>
                <a:gd name="connsiteY309" fmla="*/ 109147 h 504825"/>
                <a:gd name="connsiteX310" fmla="*/ 356284 w 514350"/>
                <a:gd name="connsiteY310" fmla="*/ 101766 h 504825"/>
                <a:gd name="connsiteX311" fmla="*/ 352588 w 514350"/>
                <a:gd name="connsiteY311" fmla="*/ 101766 h 504825"/>
                <a:gd name="connsiteX312" fmla="*/ 348902 w 514350"/>
                <a:gd name="connsiteY312" fmla="*/ 98075 h 504825"/>
                <a:gd name="connsiteX313" fmla="*/ 348902 w 514350"/>
                <a:gd name="connsiteY313" fmla="*/ 94385 h 504825"/>
                <a:gd name="connsiteX314" fmla="*/ 348902 w 514350"/>
                <a:gd name="connsiteY314" fmla="*/ 87005 h 504825"/>
                <a:gd name="connsiteX315" fmla="*/ 348902 w 514350"/>
                <a:gd name="connsiteY315" fmla="*/ 79623 h 504825"/>
                <a:gd name="connsiteX316" fmla="*/ 345216 w 514350"/>
                <a:gd name="connsiteY316" fmla="*/ 75933 h 504825"/>
                <a:gd name="connsiteX317" fmla="*/ 345216 w 514350"/>
                <a:gd name="connsiteY317" fmla="*/ 72242 h 504825"/>
                <a:gd name="connsiteX318" fmla="*/ 345216 w 514350"/>
                <a:gd name="connsiteY318" fmla="*/ 68551 h 504825"/>
                <a:gd name="connsiteX319" fmla="*/ 345216 w 514350"/>
                <a:gd name="connsiteY319" fmla="*/ 61170 h 504825"/>
                <a:gd name="connsiteX320" fmla="*/ 341520 w 514350"/>
                <a:gd name="connsiteY320" fmla="*/ 53789 h 504825"/>
                <a:gd name="connsiteX321" fmla="*/ 337834 w 514350"/>
                <a:gd name="connsiteY321" fmla="*/ 53789 h 504825"/>
                <a:gd name="connsiteX322" fmla="*/ 337834 w 514350"/>
                <a:gd name="connsiteY322" fmla="*/ 42717 h 504825"/>
                <a:gd name="connsiteX323" fmla="*/ 341520 w 514350"/>
                <a:gd name="connsiteY323" fmla="*/ 31645 h 504825"/>
                <a:gd name="connsiteX324" fmla="*/ 341520 w 514350"/>
                <a:gd name="connsiteY324" fmla="*/ 27955 h 504825"/>
                <a:gd name="connsiteX325" fmla="*/ 330452 w 514350"/>
                <a:gd name="connsiteY325" fmla="*/ 16883 h 504825"/>
                <a:gd name="connsiteX326" fmla="*/ 323080 w 514350"/>
                <a:gd name="connsiteY326" fmla="*/ 13193 h 504825"/>
                <a:gd name="connsiteX327" fmla="*/ 319384 w 514350"/>
                <a:gd name="connsiteY327" fmla="*/ 20574 h 504825"/>
                <a:gd name="connsiteX328" fmla="*/ 323080 w 514350"/>
                <a:gd name="connsiteY328" fmla="*/ 24264 h 504825"/>
                <a:gd name="connsiteX329" fmla="*/ 319384 w 514350"/>
                <a:gd name="connsiteY329" fmla="*/ 24264 h 504825"/>
                <a:gd name="connsiteX330" fmla="*/ 315698 w 514350"/>
                <a:gd name="connsiteY330" fmla="*/ 24264 h 504825"/>
                <a:gd name="connsiteX331" fmla="*/ 312012 w 514350"/>
                <a:gd name="connsiteY331" fmla="*/ 24264 h 504825"/>
                <a:gd name="connsiteX332" fmla="*/ 312012 w 514350"/>
                <a:gd name="connsiteY332" fmla="*/ 20574 h 504825"/>
                <a:gd name="connsiteX333" fmla="*/ 315698 w 514350"/>
                <a:gd name="connsiteY333" fmla="*/ 24264 h 504825"/>
                <a:gd name="connsiteX334" fmla="*/ 315698 w 514350"/>
                <a:gd name="connsiteY334" fmla="*/ 20574 h 504825"/>
                <a:gd name="connsiteX335" fmla="*/ 319384 w 514350"/>
                <a:gd name="connsiteY335" fmla="*/ 13193 h 504825"/>
                <a:gd name="connsiteX336" fmla="*/ 315698 w 514350"/>
                <a:gd name="connsiteY336" fmla="*/ 13193 h 504825"/>
                <a:gd name="connsiteX337" fmla="*/ 308316 w 514350"/>
                <a:gd name="connsiteY337" fmla="*/ 9502 h 504825"/>
                <a:gd name="connsiteX338" fmla="*/ 300944 w 514350"/>
                <a:gd name="connsiteY338" fmla="*/ 16883 h 504825"/>
                <a:gd name="connsiteX339" fmla="*/ 297258 w 514350"/>
                <a:gd name="connsiteY339" fmla="*/ 13193 h 504825"/>
                <a:gd name="connsiteX340" fmla="*/ 289876 w 514350"/>
                <a:gd name="connsiteY340" fmla="*/ 9502 h 504825"/>
                <a:gd name="connsiteX341" fmla="*/ 278808 w 514350"/>
                <a:gd name="connsiteY341" fmla="*/ 9502 h 504825"/>
                <a:gd name="connsiteX342" fmla="*/ 275121 w 514350"/>
                <a:gd name="connsiteY342" fmla="*/ 5812 h 504825"/>
                <a:gd name="connsiteX343" fmla="*/ 367352 w 514350"/>
                <a:gd name="connsiteY343" fmla="*/ 112838 h 504825"/>
                <a:gd name="connsiteX344" fmla="*/ 371038 w 514350"/>
                <a:gd name="connsiteY344" fmla="*/ 116528 h 504825"/>
                <a:gd name="connsiteX345" fmla="*/ 371038 w 514350"/>
                <a:gd name="connsiteY345" fmla="*/ 112838 h 504825"/>
                <a:gd name="connsiteX346" fmla="*/ 367352 w 514350"/>
                <a:gd name="connsiteY346" fmla="*/ 112838 h 504825"/>
                <a:gd name="connsiteX347" fmla="*/ 500159 w 514350"/>
                <a:gd name="connsiteY347" fmla="*/ 186649 h 504825"/>
                <a:gd name="connsiteX348" fmla="*/ 500159 w 514350"/>
                <a:gd name="connsiteY348" fmla="*/ 179268 h 504825"/>
                <a:gd name="connsiteX349" fmla="*/ 496473 w 514350"/>
                <a:gd name="connsiteY349" fmla="*/ 182958 h 504825"/>
                <a:gd name="connsiteX350" fmla="*/ 500159 w 514350"/>
                <a:gd name="connsiteY350" fmla="*/ 186649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Lst>
              <a:rect l="l" t="t" r="r" b="b"/>
              <a:pathLst>
                <a:path w="514350" h="504825">
                  <a:moveTo>
                    <a:pt x="275121" y="5812"/>
                  </a:moveTo>
                  <a:lnTo>
                    <a:pt x="267740" y="9502"/>
                  </a:lnTo>
                  <a:lnTo>
                    <a:pt x="238222" y="13193"/>
                  </a:lnTo>
                  <a:lnTo>
                    <a:pt x="234535" y="16883"/>
                  </a:lnTo>
                  <a:lnTo>
                    <a:pt x="223467" y="20574"/>
                  </a:lnTo>
                  <a:lnTo>
                    <a:pt x="219781" y="20574"/>
                  </a:lnTo>
                  <a:lnTo>
                    <a:pt x="216095" y="24264"/>
                  </a:lnTo>
                  <a:lnTo>
                    <a:pt x="208713" y="24264"/>
                  </a:lnTo>
                  <a:lnTo>
                    <a:pt x="201331" y="31645"/>
                  </a:lnTo>
                  <a:lnTo>
                    <a:pt x="197645" y="31645"/>
                  </a:lnTo>
                  <a:lnTo>
                    <a:pt x="193959" y="31645"/>
                  </a:lnTo>
                  <a:lnTo>
                    <a:pt x="190263" y="31645"/>
                  </a:lnTo>
                  <a:lnTo>
                    <a:pt x="182891" y="35336"/>
                  </a:lnTo>
                  <a:lnTo>
                    <a:pt x="175509" y="39027"/>
                  </a:lnTo>
                  <a:lnTo>
                    <a:pt x="171823" y="35336"/>
                  </a:lnTo>
                  <a:lnTo>
                    <a:pt x="168127" y="39027"/>
                  </a:lnTo>
                  <a:lnTo>
                    <a:pt x="149687" y="39027"/>
                  </a:lnTo>
                  <a:lnTo>
                    <a:pt x="138619" y="42717"/>
                  </a:lnTo>
                  <a:lnTo>
                    <a:pt x="123864" y="46408"/>
                  </a:lnTo>
                  <a:lnTo>
                    <a:pt x="116483" y="46408"/>
                  </a:lnTo>
                  <a:lnTo>
                    <a:pt x="109101" y="50098"/>
                  </a:lnTo>
                  <a:lnTo>
                    <a:pt x="101728" y="50098"/>
                  </a:lnTo>
                  <a:lnTo>
                    <a:pt x="90660" y="53789"/>
                  </a:lnTo>
                  <a:lnTo>
                    <a:pt x="79592" y="57480"/>
                  </a:lnTo>
                  <a:lnTo>
                    <a:pt x="75906" y="61170"/>
                  </a:lnTo>
                  <a:lnTo>
                    <a:pt x="75906" y="64861"/>
                  </a:lnTo>
                  <a:lnTo>
                    <a:pt x="68524" y="68551"/>
                  </a:lnTo>
                  <a:lnTo>
                    <a:pt x="64838" y="64861"/>
                  </a:lnTo>
                  <a:lnTo>
                    <a:pt x="61142" y="61170"/>
                  </a:lnTo>
                  <a:lnTo>
                    <a:pt x="42702" y="50098"/>
                  </a:lnTo>
                  <a:lnTo>
                    <a:pt x="39006" y="50098"/>
                  </a:lnTo>
                  <a:lnTo>
                    <a:pt x="24252" y="57480"/>
                  </a:lnTo>
                  <a:lnTo>
                    <a:pt x="24252" y="53789"/>
                  </a:lnTo>
                  <a:lnTo>
                    <a:pt x="20566" y="53789"/>
                  </a:lnTo>
                  <a:lnTo>
                    <a:pt x="20566" y="57480"/>
                  </a:lnTo>
                  <a:lnTo>
                    <a:pt x="16870" y="57480"/>
                  </a:lnTo>
                  <a:lnTo>
                    <a:pt x="16870" y="53789"/>
                  </a:lnTo>
                  <a:lnTo>
                    <a:pt x="13184" y="57480"/>
                  </a:lnTo>
                  <a:lnTo>
                    <a:pt x="16870" y="61170"/>
                  </a:lnTo>
                  <a:lnTo>
                    <a:pt x="20566" y="61170"/>
                  </a:lnTo>
                  <a:lnTo>
                    <a:pt x="24252" y="64861"/>
                  </a:lnTo>
                  <a:lnTo>
                    <a:pt x="27938" y="64861"/>
                  </a:lnTo>
                  <a:lnTo>
                    <a:pt x="31634" y="68551"/>
                  </a:lnTo>
                  <a:lnTo>
                    <a:pt x="35320" y="68551"/>
                  </a:lnTo>
                  <a:lnTo>
                    <a:pt x="35320" y="72242"/>
                  </a:lnTo>
                  <a:lnTo>
                    <a:pt x="31634" y="72242"/>
                  </a:lnTo>
                  <a:lnTo>
                    <a:pt x="27938" y="72242"/>
                  </a:lnTo>
                  <a:lnTo>
                    <a:pt x="24252" y="72242"/>
                  </a:lnTo>
                  <a:lnTo>
                    <a:pt x="24252" y="68551"/>
                  </a:lnTo>
                  <a:lnTo>
                    <a:pt x="16870" y="64861"/>
                  </a:lnTo>
                  <a:lnTo>
                    <a:pt x="16870" y="61170"/>
                  </a:lnTo>
                  <a:lnTo>
                    <a:pt x="9498" y="61170"/>
                  </a:lnTo>
                  <a:lnTo>
                    <a:pt x="5812" y="68551"/>
                  </a:lnTo>
                  <a:lnTo>
                    <a:pt x="9498" y="68551"/>
                  </a:lnTo>
                  <a:lnTo>
                    <a:pt x="13184" y="72242"/>
                  </a:lnTo>
                  <a:lnTo>
                    <a:pt x="16870" y="72242"/>
                  </a:lnTo>
                  <a:lnTo>
                    <a:pt x="16870" y="75933"/>
                  </a:lnTo>
                  <a:lnTo>
                    <a:pt x="13184" y="79623"/>
                  </a:lnTo>
                  <a:lnTo>
                    <a:pt x="9498" y="75933"/>
                  </a:lnTo>
                  <a:lnTo>
                    <a:pt x="9498" y="79623"/>
                  </a:lnTo>
                  <a:lnTo>
                    <a:pt x="13184" y="83314"/>
                  </a:lnTo>
                  <a:lnTo>
                    <a:pt x="16870" y="83314"/>
                  </a:lnTo>
                  <a:lnTo>
                    <a:pt x="20566" y="83314"/>
                  </a:lnTo>
                  <a:lnTo>
                    <a:pt x="24252" y="83314"/>
                  </a:lnTo>
                  <a:lnTo>
                    <a:pt x="27938" y="83314"/>
                  </a:lnTo>
                  <a:lnTo>
                    <a:pt x="31634" y="83314"/>
                  </a:lnTo>
                  <a:lnTo>
                    <a:pt x="31634" y="87005"/>
                  </a:lnTo>
                  <a:lnTo>
                    <a:pt x="24252" y="87005"/>
                  </a:lnTo>
                  <a:lnTo>
                    <a:pt x="20566" y="87005"/>
                  </a:lnTo>
                  <a:lnTo>
                    <a:pt x="20566" y="90695"/>
                  </a:lnTo>
                  <a:lnTo>
                    <a:pt x="24252" y="90695"/>
                  </a:lnTo>
                  <a:lnTo>
                    <a:pt x="27938" y="90695"/>
                  </a:lnTo>
                  <a:lnTo>
                    <a:pt x="31634" y="90695"/>
                  </a:lnTo>
                  <a:lnTo>
                    <a:pt x="35320" y="87005"/>
                  </a:lnTo>
                  <a:lnTo>
                    <a:pt x="35320" y="90695"/>
                  </a:lnTo>
                  <a:lnTo>
                    <a:pt x="35320" y="94385"/>
                  </a:lnTo>
                  <a:lnTo>
                    <a:pt x="31634" y="94385"/>
                  </a:lnTo>
                  <a:lnTo>
                    <a:pt x="35320" y="98075"/>
                  </a:lnTo>
                  <a:lnTo>
                    <a:pt x="39006" y="94385"/>
                  </a:lnTo>
                  <a:lnTo>
                    <a:pt x="42702" y="94385"/>
                  </a:lnTo>
                  <a:lnTo>
                    <a:pt x="42702" y="98075"/>
                  </a:lnTo>
                  <a:lnTo>
                    <a:pt x="39006" y="101766"/>
                  </a:lnTo>
                  <a:lnTo>
                    <a:pt x="31634" y="101766"/>
                  </a:lnTo>
                  <a:lnTo>
                    <a:pt x="31634" y="105457"/>
                  </a:lnTo>
                  <a:lnTo>
                    <a:pt x="35320" y="109147"/>
                  </a:lnTo>
                  <a:lnTo>
                    <a:pt x="39006" y="105457"/>
                  </a:lnTo>
                  <a:lnTo>
                    <a:pt x="42702" y="105457"/>
                  </a:lnTo>
                  <a:lnTo>
                    <a:pt x="46388" y="105457"/>
                  </a:lnTo>
                  <a:lnTo>
                    <a:pt x="50074" y="105457"/>
                  </a:lnTo>
                  <a:lnTo>
                    <a:pt x="53770" y="109147"/>
                  </a:lnTo>
                  <a:lnTo>
                    <a:pt x="57456" y="109147"/>
                  </a:lnTo>
                  <a:lnTo>
                    <a:pt x="57456" y="131291"/>
                  </a:lnTo>
                  <a:lnTo>
                    <a:pt x="57456" y="134981"/>
                  </a:lnTo>
                  <a:lnTo>
                    <a:pt x="61142" y="134981"/>
                  </a:lnTo>
                  <a:lnTo>
                    <a:pt x="61142" y="138672"/>
                  </a:lnTo>
                  <a:lnTo>
                    <a:pt x="57456" y="138672"/>
                  </a:lnTo>
                  <a:lnTo>
                    <a:pt x="53770" y="142363"/>
                  </a:lnTo>
                  <a:lnTo>
                    <a:pt x="53770" y="146053"/>
                  </a:lnTo>
                  <a:lnTo>
                    <a:pt x="50074" y="149744"/>
                  </a:lnTo>
                  <a:lnTo>
                    <a:pt x="46388" y="149744"/>
                  </a:lnTo>
                  <a:lnTo>
                    <a:pt x="42702" y="153435"/>
                  </a:lnTo>
                  <a:lnTo>
                    <a:pt x="42702" y="157125"/>
                  </a:lnTo>
                  <a:lnTo>
                    <a:pt x="42702" y="160816"/>
                  </a:lnTo>
                  <a:lnTo>
                    <a:pt x="42702" y="164506"/>
                  </a:lnTo>
                  <a:lnTo>
                    <a:pt x="46388" y="164506"/>
                  </a:lnTo>
                  <a:lnTo>
                    <a:pt x="42702" y="168197"/>
                  </a:lnTo>
                  <a:lnTo>
                    <a:pt x="39006" y="168197"/>
                  </a:lnTo>
                  <a:lnTo>
                    <a:pt x="39006" y="171888"/>
                  </a:lnTo>
                  <a:lnTo>
                    <a:pt x="35320" y="175578"/>
                  </a:lnTo>
                  <a:lnTo>
                    <a:pt x="35320" y="179268"/>
                  </a:lnTo>
                  <a:lnTo>
                    <a:pt x="35320" y="182958"/>
                  </a:lnTo>
                  <a:lnTo>
                    <a:pt x="31634" y="186649"/>
                  </a:lnTo>
                  <a:lnTo>
                    <a:pt x="27938" y="190340"/>
                  </a:lnTo>
                  <a:lnTo>
                    <a:pt x="24252" y="194030"/>
                  </a:lnTo>
                  <a:lnTo>
                    <a:pt x="24252" y="197721"/>
                  </a:lnTo>
                  <a:lnTo>
                    <a:pt x="27938" y="197721"/>
                  </a:lnTo>
                  <a:lnTo>
                    <a:pt x="31634" y="197721"/>
                  </a:lnTo>
                  <a:lnTo>
                    <a:pt x="31634" y="205102"/>
                  </a:lnTo>
                  <a:lnTo>
                    <a:pt x="31634" y="208793"/>
                  </a:lnTo>
                  <a:lnTo>
                    <a:pt x="31634" y="212483"/>
                  </a:lnTo>
                  <a:lnTo>
                    <a:pt x="27938" y="219865"/>
                  </a:lnTo>
                  <a:lnTo>
                    <a:pt x="24252" y="223555"/>
                  </a:lnTo>
                  <a:lnTo>
                    <a:pt x="20566" y="223555"/>
                  </a:lnTo>
                  <a:lnTo>
                    <a:pt x="16870" y="227246"/>
                  </a:lnTo>
                  <a:lnTo>
                    <a:pt x="16870" y="230936"/>
                  </a:lnTo>
                  <a:lnTo>
                    <a:pt x="13184" y="238318"/>
                  </a:lnTo>
                  <a:lnTo>
                    <a:pt x="9498" y="242008"/>
                  </a:lnTo>
                  <a:lnTo>
                    <a:pt x="9498" y="249389"/>
                  </a:lnTo>
                  <a:lnTo>
                    <a:pt x="9498" y="256771"/>
                  </a:lnTo>
                  <a:lnTo>
                    <a:pt x="9498" y="260461"/>
                  </a:lnTo>
                  <a:lnTo>
                    <a:pt x="9498" y="275223"/>
                  </a:lnTo>
                  <a:lnTo>
                    <a:pt x="13184" y="278913"/>
                  </a:lnTo>
                  <a:lnTo>
                    <a:pt x="16870" y="282604"/>
                  </a:lnTo>
                  <a:lnTo>
                    <a:pt x="20566" y="289985"/>
                  </a:lnTo>
                  <a:lnTo>
                    <a:pt x="24252" y="289985"/>
                  </a:lnTo>
                  <a:lnTo>
                    <a:pt x="31634" y="289985"/>
                  </a:lnTo>
                  <a:lnTo>
                    <a:pt x="39006" y="289985"/>
                  </a:lnTo>
                  <a:lnTo>
                    <a:pt x="46388" y="289985"/>
                  </a:lnTo>
                  <a:lnTo>
                    <a:pt x="50074" y="289985"/>
                  </a:lnTo>
                  <a:lnTo>
                    <a:pt x="53770" y="293676"/>
                  </a:lnTo>
                  <a:lnTo>
                    <a:pt x="61142" y="297366"/>
                  </a:lnTo>
                  <a:lnTo>
                    <a:pt x="64838" y="301057"/>
                  </a:lnTo>
                  <a:lnTo>
                    <a:pt x="64838" y="304748"/>
                  </a:lnTo>
                  <a:lnTo>
                    <a:pt x="75906" y="308438"/>
                  </a:lnTo>
                  <a:lnTo>
                    <a:pt x="86974" y="312129"/>
                  </a:lnTo>
                  <a:lnTo>
                    <a:pt x="90660" y="312129"/>
                  </a:lnTo>
                  <a:lnTo>
                    <a:pt x="94346" y="297366"/>
                  </a:lnTo>
                  <a:lnTo>
                    <a:pt x="98033" y="297366"/>
                  </a:lnTo>
                  <a:lnTo>
                    <a:pt x="98033" y="286295"/>
                  </a:lnTo>
                  <a:lnTo>
                    <a:pt x="98033" y="282604"/>
                  </a:lnTo>
                  <a:lnTo>
                    <a:pt x="105414" y="264151"/>
                  </a:lnTo>
                  <a:lnTo>
                    <a:pt x="105414" y="260461"/>
                  </a:lnTo>
                  <a:lnTo>
                    <a:pt x="109101" y="256771"/>
                  </a:lnTo>
                  <a:lnTo>
                    <a:pt x="112796" y="249389"/>
                  </a:lnTo>
                  <a:lnTo>
                    <a:pt x="116483" y="245699"/>
                  </a:lnTo>
                  <a:lnTo>
                    <a:pt x="116483" y="242008"/>
                  </a:lnTo>
                  <a:lnTo>
                    <a:pt x="120169" y="238318"/>
                  </a:lnTo>
                  <a:lnTo>
                    <a:pt x="127551" y="234627"/>
                  </a:lnTo>
                  <a:lnTo>
                    <a:pt x="134932" y="230936"/>
                  </a:lnTo>
                  <a:lnTo>
                    <a:pt x="134932" y="227246"/>
                  </a:lnTo>
                  <a:lnTo>
                    <a:pt x="138619" y="223555"/>
                  </a:lnTo>
                  <a:lnTo>
                    <a:pt x="146001" y="219865"/>
                  </a:lnTo>
                  <a:lnTo>
                    <a:pt x="153373" y="219865"/>
                  </a:lnTo>
                  <a:lnTo>
                    <a:pt x="157069" y="219865"/>
                  </a:lnTo>
                  <a:lnTo>
                    <a:pt x="160755" y="223555"/>
                  </a:lnTo>
                  <a:lnTo>
                    <a:pt x="164441" y="219865"/>
                  </a:lnTo>
                  <a:lnTo>
                    <a:pt x="168127" y="223555"/>
                  </a:lnTo>
                  <a:lnTo>
                    <a:pt x="175509" y="223555"/>
                  </a:lnTo>
                  <a:lnTo>
                    <a:pt x="179195" y="234627"/>
                  </a:lnTo>
                  <a:lnTo>
                    <a:pt x="182891" y="238318"/>
                  </a:lnTo>
                  <a:lnTo>
                    <a:pt x="186577" y="234627"/>
                  </a:lnTo>
                  <a:lnTo>
                    <a:pt x="190263" y="245699"/>
                  </a:lnTo>
                  <a:lnTo>
                    <a:pt x="190263" y="249389"/>
                  </a:lnTo>
                  <a:lnTo>
                    <a:pt x="193959" y="253080"/>
                  </a:lnTo>
                  <a:lnTo>
                    <a:pt x="201331" y="249389"/>
                  </a:lnTo>
                  <a:lnTo>
                    <a:pt x="201331" y="253080"/>
                  </a:lnTo>
                  <a:lnTo>
                    <a:pt x="201331" y="256771"/>
                  </a:lnTo>
                  <a:lnTo>
                    <a:pt x="205027" y="260461"/>
                  </a:lnTo>
                  <a:lnTo>
                    <a:pt x="205027" y="264151"/>
                  </a:lnTo>
                  <a:lnTo>
                    <a:pt x="212399" y="264151"/>
                  </a:lnTo>
                  <a:lnTo>
                    <a:pt x="212399" y="267842"/>
                  </a:lnTo>
                  <a:lnTo>
                    <a:pt x="216095" y="271532"/>
                  </a:lnTo>
                  <a:lnTo>
                    <a:pt x="219781" y="275223"/>
                  </a:lnTo>
                  <a:lnTo>
                    <a:pt x="223467" y="278913"/>
                  </a:lnTo>
                  <a:lnTo>
                    <a:pt x="223467" y="282604"/>
                  </a:lnTo>
                  <a:lnTo>
                    <a:pt x="227163" y="282604"/>
                  </a:lnTo>
                  <a:lnTo>
                    <a:pt x="223467" y="286295"/>
                  </a:lnTo>
                  <a:lnTo>
                    <a:pt x="227163" y="289985"/>
                  </a:lnTo>
                  <a:lnTo>
                    <a:pt x="227163" y="293676"/>
                  </a:lnTo>
                  <a:lnTo>
                    <a:pt x="245603" y="286295"/>
                  </a:lnTo>
                  <a:lnTo>
                    <a:pt x="249290" y="286295"/>
                  </a:lnTo>
                  <a:lnTo>
                    <a:pt x="256672" y="282604"/>
                  </a:lnTo>
                  <a:lnTo>
                    <a:pt x="267740" y="282604"/>
                  </a:lnTo>
                  <a:lnTo>
                    <a:pt x="271426" y="282604"/>
                  </a:lnTo>
                  <a:lnTo>
                    <a:pt x="275121" y="282604"/>
                  </a:lnTo>
                  <a:lnTo>
                    <a:pt x="278808" y="286295"/>
                  </a:lnTo>
                  <a:lnTo>
                    <a:pt x="282494" y="286295"/>
                  </a:lnTo>
                  <a:lnTo>
                    <a:pt x="282494" y="289985"/>
                  </a:lnTo>
                  <a:lnTo>
                    <a:pt x="297258" y="301057"/>
                  </a:lnTo>
                  <a:lnTo>
                    <a:pt x="300944" y="308438"/>
                  </a:lnTo>
                  <a:lnTo>
                    <a:pt x="315698" y="319510"/>
                  </a:lnTo>
                  <a:lnTo>
                    <a:pt x="315698" y="323201"/>
                  </a:lnTo>
                  <a:lnTo>
                    <a:pt x="326766" y="334273"/>
                  </a:lnTo>
                  <a:lnTo>
                    <a:pt x="337834" y="345344"/>
                  </a:lnTo>
                  <a:lnTo>
                    <a:pt x="356284" y="363796"/>
                  </a:lnTo>
                  <a:lnTo>
                    <a:pt x="359970" y="367487"/>
                  </a:lnTo>
                  <a:lnTo>
                    <a:pt x="367352" y="374868"/>
                  </a:lnTo>
                  <a:lnTo>
                    <a:pt x="374724" y="382249"/>
                  </a:lnTo>
                  <a:lnTo>
                    <a:pt x="378410" y="385940"/>
                  </a:lnTo>
                  <a:lnTo>
                    <a:pt x="378410" y="389631"/>
                  </a:lnTo>
                  <a:lnTo>
                    <a:pt x="382106" y="393321"/>
                  </a:lnTo>
                  <a:lnTo>
                    <a:pt x="385792" y="397012"/>
                  </a:lnTo>
                  <a:lnTo>
                    <a:pt x="389479" y="404393"/>
                  </a:lnTo>
                  <a:lnTo>
                    <a:pt x="393174" y="411774"/>
                  </a:lnTo>
                  <a:lnTo>
                    <a:pt x="396861" y="411774"/>
                  </a:lnTo>
                  <a:lnTo>
                    <a:pt x="396861" y="415465"/>
                  </a:lnTo>
                  <a:lnTo>
                    <a:pt x="400547" y="415465"/>
                  </a:lnTo>
                  <a:lnTo>
                    <a:pt x="407928" y="426537"/>
                  </a:lnTo>
                  <a:lnTo>
                    <a:pt x="411615" y="433917"/>
                  </a:lnTo>
                  <a:lnTo>
                    <a:pt x="415310" y="437608"/>
                  </a:lnTo>
                  <a:lnTo>
                    <a:pt x="418997" y="441298"/>
                  </a:lnTo>
                  <a:lnTo>
                    <a:pt x="426378" y="441298"/>
                  </a:lnTo>
                  <a:lnTo>
                    <a:pt x="426378" y="448680"/>
                  </a:lnTo>
                  <a:lnTo>
                    <a:pt x="422683" y="452370"/>
                  </a:lnTo>
                  <a:lnTo>
                    <a:pt x="415310" y="474514"/>
                  </a:lnTo>
                  <a:lnTo>
                    <a:pt x="415310" y="478204"/>
                  </a:lnTo>
                  <a:lnTo>
                    <a:pt x="426378" y="478204"/>
                  </a:lnTo>
                  <a:lnTo>
                    <a:pt x="426378" y="481895"/>
                  </a:lnTo>
                  <a:lnTo>
                    <a:pt x="430065" y="481895"/>
                  </a:lnTo>
                  <a:lnTo>
                    <a:pt x="437447" y="492967"/>
                  </a:lnTo>
                  <a:lnTo>
                    <a:pt x="441133" y="496657"/>
                  </a:lnTo>
                  <a:lnTo>
                    <a:pt x="444819" y="492967"/>
                  </a:lnTo>
                  <a:lnTo>
                    <a:pt x="444819" y="496657"/>
                  </a:lnTo>
                  <a:lnTo>
                    <a:pt x="441133" y="496657"/>
                  </a:lnTo>
                  <a:lnTo>
                    <a:pt x="441133" y="504039"/>
                  </a:lnTo>
                  <a:lnTo>
                    <a:pt x="452201" y="504039"/>
                  </a:lnTo>
                  <a:lnTo>
                    <a:pt x="448505" y="496657"/>
                  </a:lnTo>
                  <a:lnTo>
                    <a:pt x="448505" y="492967"/>
                  </a:lnTo>
                  <a:lnTo>
                    <a:pt x="455887" y="481895"/>
                  </a:lnTo>
                  <a:lnTo>
                    <a:pt x="478023" y="444989"/>
                  </a:lnTo>
                  <a:lnTo>
                    <a:pt x="492777" y="419156"/>
                  </a:lnTo>
                  <a:lnTo>
                    <a:pt x="500159" y="389631"/>
                  </a:lnTo>
                  <a:lnTo>
                    <a:pt x="503845" y="371178"/>
                  </a:lnTo>
                  <a:lnTo>
                    <a:pt x="507541" y="367487"/>
                  </a:lnTo>
                  <a:lnTo>
                    <a:pt x="507541" y="363796"/>
                  </a:lnTo>
                  <a:lnTo>
                    <a:pt x="500159" y="330582"/>
                  </a:lnTo>
                  <a:lnTo>
                    <a:pt x="500159" y="312129"/>
                  </a:lnTo>
                  <a:lnTo>
                    <a:pt x="500159" y="308438"/>
                  </a:lnTo>
                  <a:lnTo>
                    <a:pt x="500159" y="282604"/>
                  </a:lnTo>
                  <a:lnTo>
                    <a:pt x="489091" y="275223"/>
                  </a:lnTo>
                  <a:lnTo>
                    <a:pt x="489091" y="267842"/>
                  </a:lnTo>
                  <a:lnTo>
                    <a:pt x="489091" y="264151"/>
                  </a:lnTo>
                  <a:lnTo>
                    <a:pt x="489091" y="260461"/>
                  </a:lnTo>
                  <a:lnTo>
                    <a:pt x="492777" y="256771"/>
                  </a:lnTo>
                  <a:lnTo>
                    <a:pt x="492777" y="249389"/>
                  </a:lnTo>
                  <a:lnTo>
                    <a:pt x="492777" y="245699"/>
                  </a:lnTo>
                  <a:lnTo>
                    <a:pt x="496473" y="234627"/>
                  </a:lnTo>
                  <a:lnTo>
                    <a:pt x="500159" y="234627"/>
                  </a:lnTo>
                  <a:lnTo>
                    <a:pt x="503845" y="230936"/>
                  </a:lnTo>
                  <a:lnTo>
                    <a:pt x="511227" y="230936"/>
                  </a:lnTo>
                  <a:lnTo>
                    <a:pt x="503845" y="227246"/>
                  </a:lnTo>
                  <a:lnTo>
                    <a:pt x="500159" y="223555"/>
                  </a:lnTo>
                  <a:lnTo>
                    <a:pt x="503845" y="219865"/>
                  </a:lnTo>
                  <a:lnTo>
                    <a:pt x="503845" y="216174"/>
                  </a:lnTo>
                  <a:lnTo>
                    <a:pt x="503845" y="201412"/>
                  </a:lnTo>
                  <a:lnTo>
                    <a:pt x="500159" y="190340"/>
                  </a:lnTo>
                  <a:lnTo>
                    <a:pt x="500159" y="186649"/>
                  </a:lnTo>
                  <a:lnTo>
                    <a:pt x="496473" y="186649"/>
                  </a:lnTo>
                  <a:lnTo>
                    <a:pt x="485405" y="182958"/>
                  </a:lnTo>
                  <a:lnTo>
                    <a:pt x="481709" y="182958"/>
                  </a:lnTo>
                  <a:lnTo>
                    <a:pt x="481709" y="179268"/>
                  </a:lnTo>
                  <a:lnTo>
                    <a:pt x="478023" y="179268"/>
                  </a:lnTo>
                  <a:lnTo>
                    <a:pt x="474337" y="179268"/>
                  </a:lnTo>
                  <a:lnTo>
                    <a:pt x="470641" y="179268"/>
                  </a:lnTo>
                  <a:lnTo>
                    <a:pt x="466955" y="179268"/>
                  </a:lnTo>
                  <a:lnTo>
                    <a:pt x="466955" y="175578"/>
                  </a:lnTo>
                  <a:lnTo>
                    <a:pt x="463269" y="175578"/>
                  </a:lnTo>
                  <a:lnTo>
                    <a:pt x="459573" y="175578"/>
                  </a:lnTo>
                  <a:lnTo>
                    <a:pt x="452201" y="175578"/>
                  </a:lnTo>
                  <a:lnTo>
                    <a:pt x="448505" y="171888"/>
                  </a:lnTo>
                  <a:lnTo>
                    <a:pt x="444819" y="171888"/>
                  </a:lnTo>
                  <a:lnTo>
                    <a:pt x="441133" y="168197"/>
                  </a:lnTo>
                  <a:lnTo>
                    <a:pt x="437447" y="164506"/>
                  </a:lnTo>
                  <a:lnTo>
                    <a:pt x="437447" y="160816"/>
                  </a:lnTo>
                  <a:lnTo>
                    <a:pt x="437447" y="153435"/>
                  </a:lnTo>
                  <a:lnTo>
                    <a:pt x="441133" y="149744"/>
                  </a:lnTo>
                  <a:lnTo>
                    <a:pt x="437447" y="142363"/>
                  </a:lnTo>
                  <a:lnTo>
                    <a:pt x="437447" y="138672"/>
                  </a:lnTo>
                  <a:lnTo>
                    <a:pt x="441133" y="138672"/>
                  </a:lnTo>
                  <a:lnTo>
                    <a:pt x="444819" y="131291"/>
                  </a:lnTo>
                  <a:lnTo>
                    <a:pt x="444819" y="127600"/>
                  </a:lnTo>
                  <a:lnTo>
                    <a:pt x="437447" y="131291"/>
                  </a:lnTo>
                  <a:lnTo>
                    <a:pt x="433751" y="134981"/>
                  </a:lnTo>
                  <a:lnTo>
                    <a:pt x="422683" y="134981"/>
                  </a:lnTo>
                  <a:lnTo>
                    <a:pt x="418997" y="134981"/>
                  </a:lnTo>
                  <a:lnTo>
                    <a:pt x="415310" y="134981"/>
                  </a:lnTo>
                  <a:lnTo>
                    <a:pt x="411615" y="134981"/>
                  </a:lnTo>
                  <a:lnTo>
                    <a:pt x="404242" y="131291"/>
                  </a:lnTo>
                  <a:lnTo>
                    <a:pt x="404242" y="127600"/>
                  </a:lnTo>
                  <a:lnTo>
                    <a:pt x="400547" y="127600"/>
                  </a:lnTo>
                  <a:lnTo>
                    <a:pt x="396861" y="127600"/>
                  </a:lnTo>
                  <a:lnTo>
                    <a:pt x="389479" y="123910"/>
                  </a:lnTo>
                  <a:lnTo>
                    <a:pt x="382106" y="120219"/>
                  </a:lnTo>
                  <a:lnTo>
                    <a:pt x="382106" y="123910"/>
                  </a:lnTo>
                  <a:lnTo>
                    <a:pt x="374724" y="120219"/>
                  </a:lnTo>
                  <a:lnTo>
                    <a:pt x="367352" y="116528"/>
                  </a:lnTo>
                  <a:lnTo>
                    <a:pt x="363656" y="116528"/>
                  </a:lnTo>
                  <a:lnTo>
                    <a:pt x="363656" y="112838"/>
                  </a:lnTo>
                  <a:lnTo>
                    <a:pt x="367352" y="112838"/>
                  </a:lnTo>
                  <a:lnTo>
                    <a:pt x="363656" y="109147"/>
                  </a:lnTo>
                  <a:lnTo>
                    <a:pt x="356284" y="101766"/>
                  </a:lnTo>
                  <a:lnTo>
                    <a:pt x="352588" y="101766"/>
                  </a:lnTo>
                  <a:lnTo>
                    <a:pt x="348902" y="98075"/>
                  </a:lnTo>
                  <a:lnTo>
                    <a:pt x="348902" y="94385"/>
                  </a:lnTo>
                  <a:lnTo>
                    <a:pt x="348902" y="87005"/>
                  </a:lnTo>
                  <a:lnTo>
                    <a:pt x="348902" y="79623"/>
                  </a:lnTo>
                  <a:lnTo>
                    <a:pt x="345216" y="75933"/>
                  </a:lnTo>
                  <a:lnTo>
                    <a:pt x="345216" y="72242"/>
                  </a:lnTo>
                  <a:lnTo>
                    <a:pt x="345216" y="68551"/>
                  </a:lnTo>
                  <a:lnTo>
                    <a:pt x="345216" y="61170"/>
                  </a:lnTo>
                  <a:lnTo>
                    <a:pt x="341520" y="53789"/>
                  </a:lnTo>
                  <a:lnTo>
                    <a:pt x="337834" y="53789"/>
                  </a:lnTo>
                  <a:lnTo>
                    <a:pt x="337834" y="42717"/>
                  </a:lnTo>
                  <a:lnTo>
                    <a:pt x="341520" y="31645"/>
                  </a:lnTo>
                  <a:lnTo>
                    <a:pt x="341520" y="27955"/>
                  </a:lnTo>
                  <a:lnTo>
                    <a:pt x="330452" y="16883"/>
                  </a:lnTo>
                  <a:lnTo>
                    <a:pt x="323080" y="13193"/>
                  </a:lnTo>
                  <a:lnTo>
                    <a:pt x="319384" y="20574"/>
                  </a:lnTo>
                  <a:lnTo>
                    <a:pt x="323080" y="24264"/>
                  </a:lnTo>
                  <a:lnTo>
                    <a:pt x="319384" y="24264"/>
                  </a:lnTo>
                  <a:lnTo>
                    <a:pt x="315698" y="24264"/>
                  </a:lnTo>
                  <a:lnTo>
                    <a:pt x="312012" y="24264"/>
                  </a:lnTo>
                  <a:lnTo>
                    <a:pt x="312012" y="20574"/>
                  </a:lnTo>
                  <a:lnTo>
                    <a:pt x="315698" y="24264"/>
                  </a:lnTo>
                  <a:lnTo>
                    <a:pt x="315698" y="20574"/>
                  </a:lnTo>
                  <a:lnTo>
                    <a:pt x="319384" y="13193"/>
                  </a:lnTo>
                  <a:lnTo>
                    <a:pt x="315698" y="13193"/>
                  </a:lnTo>
                  <a:lnTo>
                    <a:pt x="308316" y="9502"/>
                  </a:lnTo>
                  <a:lnTo>
                    <a:pt x="300944" y="16883"/>
                  </a:lnTo>
                  <a:lnTo>
                    <a:pt x="297258" y="13193"/>
                  </a:lnTo>
                  <a:lnTo>
                    <a:pt x="289876" y="9502"/>
                  </a:lnTo>
                  <a:lnTo>
                    <a:pt x="278808" y="9502"/>
                  </a:lnTo>
                  <a:lnTo>
                    <a:pt x="275121" y="5812"/>
                  </a:lnTo>
                  <a:close/>
                  <a:moveTo>
                    <a:pt x="367352" y="112838"/>
                  </a:moveTo>
                  <a:lnTo>
                    <a:pt x="371038" y="116528"/>
                  </a:lnTo>
                  <a:lnTo>
                    <a:pt x="371038" y="112838"/>
                  </a:lnTo>
                  <a:lnTo>
                    <a:pt x="367352" y="112838"/>
                  </a:lnTo>
                  <a:close/>
                  <a:moveTo>
                    <a:pt x="500159" y="186649"/>
                  </a:moveTo>
                  <a:lnTo>
                    <a:pt x="500159" y="179268"/>
                  </a:lnTo>
                  <a:lnTo>
                    <a:pt x="496473" y="182958"/>
                  </a:lnTo>
                  <a:lnTo>
                    <a:pt x="500159" y="186649"/>
                  </a:lnTo>
                  <a:close/>
                </a:path>
              </a:pathLst>
            </a:custGeom>
            <a:solidFill>
              <a:srgbClr val="408E94"/>
            </a:solidFill>
            <a:ln w="12821" cap="flat">
              <a:solidFill>
                <a:schemeClr val="bg1"/>
              </a:solidFill>
              <a:prstDash val="solid"/>
              <a:round/>
            </a:ln>
          </p:spPr>
          <p:txBody>
            <a:bodyPr rot="0" spcFirstLastPara="0" vertOverflow="overflow" horzOverflow="overflow" vert="horz" wrap="square" lIns="91440" tIns="72000" rIns="91440" bIns="36000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83</a:t>
              </a:r>
            </a:p>
          </p:txBody>
        </p:sp>
        <p:sp>
          <p:nvSpPr>
            <p:cNvPr id="87" name="Freeform: Shape 86">
              <a:extLst>
                <a:ext uri="{FF2B5EF4-FFF2-40B4-BE49-F238E27FC236}">
                  <a16:creationId xmlns:a16="http://schemas.microsoft.com/office/drawing/2014/main" id="{9DE72FD4-04F7-48C7-AF80-1F8388EF4060}"/>
                </a:ext>
              </a:extLst>
            </p:cNvPr>
            <p:cNvSpPr/>
            <p:nvPr/>
          </p:nvSpPr>
          <p:spPr>
            <a:xfrm>
              <a:off x="1071452" y="4712448"/>
              <a:ext cx="399691" cy="199845"/>
            </a:xfrm>
            <a:custGeom>
              <a:avLst/>
              <a:gdLst>
                <a:gd name="connsiteX0" fmla="*/ 131243 w 247650"/>
                <a:gd name="connsiteY0" fmla="*/ 105462 h 123825"/>
                <a:gd name="connsiteX1" fmla="*/ 127554 w 247650"/>
                <a:gd name="connsiteY1" fmla="*/ 109148 h 123825"/>
                <a:gd name="connsiteX2" fmla="*/ 123865 w 247650"/>
                <a:gd name="connsiteY2" fmla="*/ 109148 h 123825"/>
                <a:gd name="connsiteX3" fmla="*/ 123865 w 247650"/>
                <a:gd name="connsiteY3" fmla="*/ 109148 h 123825"/>
                <a:gd name="connsiteX4" fmla="*/ 120176 w 247650"/>
                <a:gd name="connsiteY4" fmla="*/ 109148 h 123825"/>
                <a:gd name="connsiteX5" fmla="*/ 120176 w 247650"/>
                <a:gd name="connsiteY5" fmla="*/ 109148 h 123825"/>
                <a:gd name="connsiteX6" fmla="*/ 112798 w 247650"/>
                <a:gd name="connsiteY6" fmla="*/ 105462 h 123825"/>
                <a:gd name="connsiteX7" fmla="*/ 109108 w 247650"/>
                <a:gd name="connsiteY7" fmla="*/ 105462 h 123825"/>
                <a:gd name="connsiteX8" fmla="*/ 109108 w 247650"/>
                <a:gd name="connsiteY8" fmla="*/ 105462 h 123825"/>
                <a:gd name="connsiteX9" fmla="*/ 116487 w 247650"/>
                <a:gd name="connsiteY9" fmla="*/ 101766 h 123825"/>
                <a:gd name="connsiteX10" fmla="*/ 116487 w 247650"/>
                <a:gd name="connsiteY10" fmla="*/ 98080 h 123825"/>
                <a:gd name="connsiteX11" fmla="*/ 116487 w 247650"/>
                <a:gd name="connsiteY11" fmla="*/ 101766 h 123825"/>
                <a:gd name="connsiteX12" fmla="*/ 109108 w 247650"/>
                <a:gd name="connsiteY12" fmla="*/ 105462 h 123825"/>
                <a:gd name="connsiteX13" fmla="*/ 105419 w 247650"/>
                <a:gd name="connsiteY13" fmla="*/ 105462 h 123825"/>
                <a:gd name="connsiteX14" fmla="*/ 109108 w 247650"/>
                <a:gd name="connsiteY14" fmla="*/ 98080 h 123825"/>
                <a:gd name="connsiteX15" fmla="*/ 105419 w 247650"/>
                <a:gd name="connsiteY15" fmla="*/ 94385 h 123825"/>
                <a:gd name="connsiteX16" fmla="*/ 105419 w 247650"/>
                <a:gd name="connsiteY16" fmla="*/ 87003 h 123825"/>
                <a:gd name="connsiteX17" fmla="*/ 101730 w 247650"/>
                <a:gd name="connsiteY17" fmla="*/ 87003 h 123825"/>
                <a:gd name="connsiteX18" fmla="*/ 101730 w 247650"/>
                <a:gd name="connsiteY18" fmla="*/ 83317 h 123825"/>
                <a:gd name="connsiteX19" fmla="*/ 101730 w 247650"/>
                <a:gd name="connsiteY19" fmla="*/ 79621 h 123825"/>
                <a:gd name="connsiteX20" fmla="*/ 98041 w 247650"/>
                <a:gd name="connsiteY20" fmla="*/ 72248 h 123825"/>
                <a:gd name="connsiteX21" fmla="*/ 90663 w 247650"/>
                <a:gd name="connsiteY21" fmla="*/ 68553 h 123825"/>
                <a:gd name="connsiteX22" fmla="*/ 86973 w 247650"/>
                <a:gd name="connsiteY22" fmla="*/ 72248 h 123825"/>
                <a:gd name="connsiteX23" fmla="*/ 86973 w 247650"/>
                <a:gd name="connsiteY23" fmla="*/ 68553 h 123825"/>
                <a:gd name="connsiteX24" fmla="*/ 75906 w 247650"/>
                <a:gd name="connsiteY24" fmla="*/ 64867 h 123825"/>
                <a:gd name="connsiteX25" fmla="*/ 75906 w 247650"/>
                <a:gd name="connsiteY25" fmla="*/ 64867 h 123825"/>
                <a:gd name="connsiteX26" fmla="*/ 75906 w 247650"/>
                <a:gd name="connsiteY26" fmla="*/ 64867 h 123825"/>
                <a:gd name="connsiteX27" fmla="*/ 75906 w 247650"/>
                <a:gd name="connsiteY27" fmla="*/ 61171 h 123825"/>
                <a:gd name="connsiteX28" fmla="*/ 75906 w 247650"/>
                <a:gd name="connsiteY28" fmla="*/ 61171 h 123825"/>
                <a:gd name="connsiteX29" fmla="*/ 75906 w 247650"/>
                <a:gd name="connsiteY29" fmla="*/ 57485 h 123825"/>
                <a:gd name="connsiteX30" fmla="*/ 72217 w 247650"/>
                <a:gd name="connsiteY30" fmla="*/ 53789 h 123825"/>
                <a:gd name="connsiteX31" fmla="*/ 64838 w 247650"/>
                <a:gd name="connsiteY31" fmla="*/ 53789 h 123825"/>
                <a:gd name="connsiteX32" fmla="*/ 61149 w 247650"/>
                <a:gd name="connsiteY32" fmla="*/ 53789 h 123825"/>
                <a:gd name="connsiteX33" fmla="*/ 57460 w 247650"/>
                <a:gd name="connsiteY33" fmla="*/ 57485 h 123825"/>
                <a:gd name="connsiteX34" fmla="*/ 57460 w 247650"/>
                <a:gd name="connsiteY34" fmla="*/ 61171 h 123825"/>
                <a:gd name="connsiteX35" fmla="*/ 61149 w 247650"/>
                <a:gd name="connsiteY35" fmla="*/ 61171 h 123825"/>
                <a:gd name="connsiteX36" fmla="*/ 64838 w 247650"/>
                <a:gd name="connsiteY36" fmla="*/ 57485 h 123825"/>
                <a:gd name="connsiteX37" fmla="*/ 68528 w 247650"/>
                <a:gd name="connsiteY37" fmla="*/ 61171 h 123825"/>
                <a:gd name="connsiteX38" fmla="*/ 64838 w 247650"/>
                <a:gd name="connsiteY38" fmla="*/ 57485 h 123825"/>
                <a:gd name="connsiteX39" fmla="*/ 61149 w 247650"/>
                <a:gd name="connsiteY39" fmla="*/ 61171 h 123825"/>
                <a:gd name="connsiteX40" fmla="*/ 53771 w 247650"/>
                <a:gd name="connsiteY40" fmla="*/ 61171 h 123825"/>
                <a:gd name="connsiteX41" fmla="*/ 50082 w 247650"/>
                <a:gd name="connsiteY41" fmla="*/ 68553 h 123825"/>
                <a:gd name="connsiteX42" fmla="*/ 42704 w 247650"/>
                <a:gd name="connsiteY42" fmla="*/ 72248 h 123825"/>
                <a:gd name="connsiteX43" fmla="*/ 42704 w 247650"/>
                <a:gd name="connsiteY43" fmla="*/ 72248 h 123825"/>
                <a:gd name="connsiteX44" fmla="*/ 42704 w 247650"/>
                <a:gd name="connsiteY44" fmla="*/ 72248 h 123825"/>
                <a:gd name="connsiteX45" fmla="*/ 42704 w 247650"/>
                <a:gd name="connsiteY45" fmla="*/ 72248 h 123825"/>
                <a:gd name="connsiteX46" fmla="*/ 39014 w 247650"/>
                <a:gd name="connsiteY46" fmla="*/ 72248 h 123825"/>
                <a:gd name="connsiteX47" fmla="*/ 35325 w 247650"/>
                <a:gd name="connsiteY47" fmla="*/ 72248 h 123825"/>
                <a:gd name="connsiteX48" fmla="*/ 27947 w 247650"/>
                <a:gd name="connsiteY48" fmla="*/ 75935 h 123825"/>
                <a:gd name="connsiteX49" fmla="*/ 24258 w 247650"/>
                <a:gd name="connsiteY49" fmla="*/ 79621 h 123825"/>
                <a:gd name="connsiteX50" fmla="*/ 24258 w 247650"/>
                <a:gd name="connsiteY50" fmla="*/ 87003 h 123825"/>
                <a:gd name="connsiteX51" fmla="*/ 24258 w 247650"/>
                <a:gd name="connsiteY51" fmla="*/ 87003 h 123825"/>
                <a:gd name="connsiteX52" fmla="*/ 27947 w 247650"/>
                <a:gd name="connsiteY52" fmla="*/ 87003 h 123825"/>
                <a:gd name="connsiteX53" fmla="*/ 27947 w 247650"/>
                <a:gd name="connsiteY53" fmla="*/ 90698 h 123825"/>
                <a:gd name="connsiteX54" fmla="*/ 24258 w 247650"/>
                <a:gd name="connsiteY54" fmla="*/ 90698 h 123825"/>
                <a:gd name="connsiteX55" fmla="*/ 24258 w 247650"/>
                <a:gd name="connsiteY55" fmla="*/ 90698 h 123825"/>
                <a:gd name="connsiteX56" fmla="*/ 24258 w 247650"/>
                <a:gd name="connsiteY56" fmla="*/ 90698 h 123825"/>
                <a:gd name="connsiteX57" fmla="*/ 20569 w 247650"/>
                <a:gd name="connsiteY57" fmla="*/ 87003 h 123825"/>
                <a:gd name="connsiteX58" fmla="*/ 20569 w 247650"/>
                <a:gd name="connsiteY58" fmla="*/ 87003 h 123825"/>
                <a:gd name="connsiteX59" fmla="*/ 20569 w 247650"/>
                <a:gd name="connsiteY59" fmla="*/ 87003 h 123825"/>
                <a:gd name="connsiteX60" fmla="*/ 24258 w 247650"/>
                <a:gd name="connsiteY60" fmla="*/ 87003 h 123825"/>
                <a:gd name="connsiteX61" fmla="*/ 24258 w 247650"/>
                <a:gd name="connsiteY61" fmla="*/ 87003 h 123825"/>
                <a:gd name="connsiteX62" fmla="*/ 24258 w 247650"/>
                <a:gd name="connsiteY62" fmla="*/ 79621 h 123825"/>
                <a:gd name="connsiteX63" fmla="*/ 24258 w 247650"/>
                <a:gd name="connsiteY63" fmla="*/ 79621 h 123825"/>
                <a:gd name="connsiteX64" fmla="*/ 20569 w 247650"/>
                <a:gd name="connsiteY64" fmla="*/ 75935 h 123825"/>
                <a:gd name="connsiteX65" fmla="*/ 16879 w 247650"/>
                <a:gd name="connsiteY65" fmla="*/ 75935 h 123825"/>
                <a:gd name="connsiteX66" fmla="*/ 13190 w 247650"/>
                <a:gd name="connsiteY66" fmla="*/ 75935 h 123825"/>
                <a:gd name="connsiteX67" fmla="*/ 13190 w 247650"/>
                <a:gd name="connsiteY67" fmla="*/ 72248 h 123825"/>
                <a:gd name="connsiteX68" fmla="*/ 9501 w 247650"/>
                <a:gd name="connsiteY68" fmla="*/ 68553 h 123825"/>
                <a:gd name="connsiteX69" fmla="*/ 5812 w 247650"/>
                <a:gd name="connsiteY69" fmla="*/ 61171 h 123825"/>
                <a:gd name="connsiteX70" fmla="*/ 5812 w 247650"/>
                <a:gd name="connsiteY70" fmla="*/ 53789 h 123825"/>
                <a:gd name="connsiteX71" fmla="*/ 5812 w 247650"/>
                <a:gd name="connsiteY71" fmla="*/ 46407 h 123825"/>
                <a:gd name="connsiteX72" fmla="*/ 5812 w 247650"/>
                <a:gd name="connsiteY72" fmla="*/ 42721 h 123825"/>
                <a:gd name="connsiteX73" fmla="*/ 9501 w 247650"/>
                <a:gd name="connsiteY73" fmla="*/ 35339 h 123825"/>
                <a:gd name="connsiteX74" fmla="*/ 16879 w 247650"/>
                <a:gd name="connsiteY74" fmla="*/ 27957 h 123825"/>
                <a:gd name="connsiteX75" fmla="*/ 24258 w 247650"/>
                <a:gd name="connsiteY75" fmla="*/ 24271 h 123825"/>
                <a:gd name="connsiteX76" fmla="*/ 27947 w 247650"/>
                <a:gd name="connsiteY76" fmla="*/ 24271 h 123825"/>
                <a:gd name="connsiteX77" fmla="*/ 31636 w 247650"/>
                <a:gd name="connsiteY77" fmla="*/ 24271 h 123825"/>
                <a:gd name="connsiteX78" fmla="*/ 46393 w 247650"/>
                <a:gd name="connsiteY78" fmla="*/ 20575 h 123825"/>
                <a:gd name="connsiteX79" fmla="*/ 50082 w 247650"/>
                <a:gd name="connsiteY79" fmla="*/ 16889 h 123825"/>
                <a:gd name="connsiteX80" fmla="*/ 57460 w 247650"/>
                <a:gd name="connsiteY80" fmla="*/ 16889 h 123825"/>
                <a:gd name="connsiteX81" fmla="*/ 64838 w 247650"/>
                <a:gd name="connsiteY81" fmla="*/ 16889 h 123825"/>
                <a:gd name="connsiteX82" fmla="*/ 75906 w 247650"/>
                <a:gd name="connsiteY82" fmla="*/ 20575 h 123825"/>
                <a:gd name="connsiteX83" fmla="*/ 75906 w 247650"/>
                <a:gd name="connsiteY83" fmla="*/ 16889 h 123825"/>
                <a:gd name="connsiteX84" fmla="*/ 75906 w 247650"/>
                <a:gd name="connsiteY84" fmla="*/ 16889 h 123825"/>
                <a:gd name="connsiteX85" fmla="*/ 75906 w 247650"/>
                <a:gd name="connsiteY85" fmla="*/ 13194 h 123825"/>
                <a:gd name="connsiteX86" fmla="*/ 79595 w 247650"/>
                <a:gd name="connsiteY86" fmla="*/ 9507 h 123825"/>
                <a:gd name="connsiteX87" fmla="*/ 79595 w 247650"/>
                <a:gd name="connsiteY87" fmla="*/ 5812 h 123825"/>
                <a:gd name="connsiteX88" fmla="*/ 83284 w 247650"/>
                <a:gd name="connsiteY88" fmla="*/ 5812 h 123825"/>
                <a:gd name="connsiteX89" fmla="*/ 86973 w 247650"/>
                <a:gd name="connsiteY89" fmla="*/ 5812 h 123825"/>
                <a:gd name="connsiteX90" fmla="*/ 83284 w 247650"/>
                <a:gd name="connsiteY90" fmla="*/ 9507 h 123825"/>
                <a:gd name="connsiteX91" fmla="*/ 86973 w 247650"/>
                <a:gd name="connsiteY91" fmla="*/ 9507 h 123825"/>
                <a:gd name="connsiteX92" fmla="*/ 83284 w 247650"/>
                <a:gd name="connsiteY92" fmla="*/ 13194 h 123825"/>
                <a:gd name="connsiteX93" fmla="*/ 83284 w 247650"/>
                <a:gd name="connsiteY93" fmla="*/ 13194 h 123825"/>
                <a:gd name="connsiteX94" fmla="*/ 83284 w 247650"/>
                <a:gd name="connsiteY94" fmla="*/ 13194 h 123825"/>
                <a:gd name="connsiteX95" fmla="*/ 83284 w 247650"/>
                <a:gd name="connsiteY95" fmla="*/ 13194 h 123825"/>
                <a:gd name="connsiteX96" fmla="*/ 83284 w 247650"/>
                <a:gd name="connsiteY96" fmla="*/ 9507 h 123825"/>
                <a:gd name="connsiteX97" fmla="*/ 83284 w 247650"/>
                <a:gd name="connsiteY97" fmla="*/ 9507 h 123825"/>
                <a:gd name="connsiteX98" fmla="*/ 79595 w 247650"/>
                <a:gd name="connsiteY98" fmla="*/ 9507 h 123825"/>
                <a:gd name="connsiteX99" fmla="*/ 79595 w 247650"/>
                <a:gd name="connsiteY99" fmla="*/ 13194 h 123825"/>
                <a:gd name="connsiteX100" fmla="*/ 75906 w 247650"/>
                <a:gd name="connsiteY100" fmla="*/ 20575 h 123825"/>
                <a:gd name="connsiteX101" fmla="*/ 79595 w 247650"/>
                <a:gd name="connsiteY101" fmla="*/ 20575 h 123825"/>
                <a:gd name="connsiteX102" fmla="*/ 83284 w 247650"/>
                <a:gd name="connsiteY102" fmla="*/ 20575 h 123825"/>
                <a:gd name="connsiteX103" fmla="*/ 86973 w 247650"/>
                <a:gd name="connsiteY103" fmla="*/ 20575 h 123825"/>
                <a:gd name="connsiteX104" fmla="*/ 90663 w 247650"/>
                <a:gd name="connsiteY104" fmla="*/ 20575 h 123825"/>
                <a:gd name="connsiteX105" fmla="*/ 90663 w 247650"/>
                <a:gd name="connsiteY105" fmla="*/ 20575 h 123825"/>
                <a:gd name="connsiteX106" fmla="*/ 90663 w 247650"/>
                <a:gd name="connsiteY106" fmla="*/ 20575 h 123825"/>
                <a:gd name="connsiteX107" fmla="*/ 101730 w 247650"/>
                <a:gd name="connsiteY107" fmla="*/ 20575 h 123825"/>
                <a:gd name="connsiteX108" fmla="*/ 109108 w 247650"/>
                <a:gd name="connsiteY108" fmla="*/ 16889 h 123825"/>
                <a:gd name="connsiteX109" fmla="*/ 109108 w 247650"/>
                <a:gd name="connsiteY109" fmla="*/ 16889 h 123825"/>
                <a:gd name="connsiteX110" fmla="*/ 112798 w 247650"/>
                <a:gd name="connsiteY110" fmla="*/ 20575 h 123825"/>
                <a:gd name="connsiteX111" fmla="*/ 112798 w 247650"/>
                <a:gd name="connsiteY111" fmla="*/ 20575 h 123825"/>
                <a:gd name="connsiteX112" fmla="*/ 116487 w 247650"/>
                <a:gd name="connsiteY112" fmla="*/ 24271 h 123825"/>
                <a:gd name="connsiteX113" fmla="*/ 116487 w 247650"/>
                <a:gd name="connsiteY113" fmla="*/ 27957 h 123825"/>
                <a:gd name="connsiteX114" fmla="*/ 120176 w 247650"/>
                <a:gd name="connsiteY114" fmla="*/ 27957 h 123825"/>
                <a:gd name="connsiteX115" fmla="*/ 120176 w 247650"/>
                <a:gd name="connsiteY115" fmla="*/ 27957 h 123825"/>
                <a:gd name="connsiteX116" fmla="*/ 123865 w 247650"/>
                <a:gd name="connsiteY116" fmla="*/ 27957 h 123825"/>
                <a:gd name="connsiteX117" fmla="*/ 127554 w 247650"/>
                <a:gd name="connsiteY117" fmla="*/ 27957 h 123825"/>
                <a:gd name="connsiteX118" fmla="*/ 134932 w 247650"/>
                <a:gd name="connsiteY118" fmla="*/ 24271 h 123825"/>
                <a:gd name="connsiteX119" fmla="*/ 138622 w 247650"/>
                <a:gd name="connsiteY119" fmla="*/ 27957 h 123825"/>
                <a:gd name="connsiteX120" fmla="*/ 149690 w 247650"/>
                <a:gd name="connsiteY120" fmla="*/ 27957 h 123825"/>
                <a:gd name="connsiteX121" fmla="*/ 149690 w 247650"/>
                <a:gd name="connsiteY121" fmla="*/ 27957 h 123825"/>
                <a:gd name="connsiteX122" fmla="*/ 149690 w 247650"/>
                <a:gd name="connsiteY122" fmla="*/ 31643 h 123825"/>
                <a:gd name="connsiteX123" fmla="*/ 149690 w 247650"/>
                <a:gd name="connsiteY123" fmla="*/ 31643 h 123825"/>
                <a:gd name="connsiteX124" fmla="*/ 149690 w 247650"/>
                <a:gd name="connsiteY124" fmla="*/ 27957 h 123825"/>
                <a:gd name="connsiteX125" fmla="*/ 153379 w 247650"/>
                <a:gd name="connsiteY125" fmla="*/ 31643 h 123825"/>
                <a:gd name="connsiteX126" fmla="*/ 153379 w 247650"/>
                <a:gd name="connsiteY126" fmla="*/ 39025 h 123825"/>
                <a:gd name="connsiteX127" fmla="*/ 153379 w 247650"/>
                <a:gd name="connsiteY127" fmla="*/ 39025 h 123825"/>
                <a:gd name="connsiteX128" fmla="*/ 157068 w 247650"/>
                <a:gd name="connsiteY128" fmla="*/ 42721 h 123825"/>
                <a:gd name="connsiteX129" fmla="*/ 164447 w 247650"/>
                <a:gd name="connsiteY129" fmla="*/ 50103 h 123825"/>
                <a:gd name="connsiteX130" fmla="*/ 168136 w 247650"/>
                <a:gd name="connsiteY130" fmla="*/ 57485 h 123825"/>
                <a:gd name="connsiteX131" fmla="*/ 168136 w 247650"/>
                <a:gd name="connsiteY131" fmla="*/ 64867 h 123825"/>
                <a:gd name="connsiteX132" fmla="*/ 171825 w 247650"/>
                <a:gd name="connsiteY132" fmla="*/ 64867 h 123825"/>
                <a:gd name="connsiteX133" fmla="*/ 179203 w 247650"/>
                <a:gd name="connsiteY133" fmla="*/ 64867 h 123825"/>
                <a:gd name="connsiteX134" fmla="*/ 182893 w 247650"/>
                <a:gd name="connsiteY134" fmla="*/ 64867 h 123825"/>
                <a:gd name="connsiteX135" fmla="*/ 190271 w 247650"/>
                <a:gd name="connsiteY135" fmla="*/ 68553 h 123825"/>
                <a:gd name="connsiteX136" fmla="*/ 190271 w 247650"/>
                <a:gd name="connsiteY136" fmla="*/ 68553 h 123825"/>
                <a:gd name="connsiteX137" fmla="*/ 201338 w 247650"/>
                <a:gd name="connsiteY137" fmla="*/ 75935 h 123825"/>
                <a:gd name="connsiteX138" fmla="*/ 205028 w 247650"/>
                <a:gd name="connsiteY138" fmla="*/ 75935 h 123825"/>
                <a:gd name="connsiteX139" fmla="*/ 205028 w 247650"/>
                <a:gd name="connsiteY139" fmla="*/ 75935 h 123825"/>
                <a:gd name="connsiteX140" fmla="*/ 205028 w 247650"/>
                <a:gd name="connsiteY140" fmla="*/ 79621 h 123825"/>
                <a:gd name="connsiteX141" fmla="*/ 208717 w 247650"/>
                <a:gd name="connsiteY141" fmla="*/ 79621 h 123825"/>
                <a:gd name="connsiteX142" fmla="*/ 216095 w 247650"/>
                <a:gd name="connsiteY142" fmla="*/ 72248 h 123825"/>
                <a:gd name="connsiteX143" fmla="*/ 219784 w 247650"/>
                <a:gd name="connsiteY143" fmla="*/ 72248 h 123825"/>
                <a:gd name="connsiteX144" fmla="*/ 223473 w 247650"/>
                <a:gd name="connsiteY144" fmla="*/ 72248 h 123825"/>
                <a:gd name="connsiteX145" fmla="*/ 223473 w 247650"/>
                <a:gd name="connsiteY145" fmla="*/ 72248 h 123825"/>
                <a:gd name="connsiteX146" fmla="*/ 234541 w 247650"/>
                <a:gd name="connsiteY146" fmla="*/ 72248 h 123825"/>
                <a:gd name="connsiteX147" fmla="*/ 234541 w 247650"/>
                <a:gd name="connsiteY147" fmla="*/ 72248 h 123825"/>
                <a:gd name="connsiteX148" fmla="*/ 238230 w 247650"/>
                <a:gd name="connsiteY148" fmla="*/ 68553 h 123825"/>
                <a:gd name="connsiteX149" fmla="*/ 241919 w 247650"/>
                <a:gd name="connsiteY149" fmla="*/ 68553 h 123825"/>
                <a:gd name="connsiteX150" fmla="*/ 241919 w 247650"/>
                <a:gd name="connsiteY150" fmla="*/ 75935 h 123825"/>
                <a:gd name="connsiteX151" fmla="*/ 241919 w 247650"/>
                <a:gd name="connsiteY151" fmla="*/ 79621 h 123825"/>
                <a:gd name="connsiteX152" fmla="*/ 245608 w 247650"/>
                <a:gd name="connsiteY152" fmla="*/ 79621 h 123825"/>
                <a:gd name="connsiteX153" fmla="*/ 245608 w 247650"/>
                <a:gd name="connsiteY153" fmla="*/ 79621 h 123825"/>
                <a:gd name="connsiteX154" fmla="*/ 241919 w 247650"/>
                <a:gd name="connsiteY154" fmla="*/ 83317 h 123825"/>
                <a:gd name="connsiteX155" fmla="*/ 241919 w 247650"/>
                <a:gd name="connsiteY155" fmla="*/ 83317 h 123825"/>
                <a:gd name="connsiteX156" fmla="*/ 238230 w 247650"/>
                <a:gd name="connsiteY156" fmla="*/ 83317 h 123825"/>
                <a:gd name="connsiteX157" fmla="*/ 241919 w 247650"/>
                <a:gd name="connsiteY157" fmla="*/ 79621 h 123825"/>
                <a:gd name="connsiteX158" fmla="*/ 241919 w 247650"/>
                <a:gd name="connsiteY158" fmla="*/ 79621 h 123825"/>
                <a:gd name="connsiteX159" fmla="*/ 238230 w 247650"/>
                <a:gd name="connsiteY159" fmla="*/ 75935 h 123825"/>
                <a:gd name="connsiteX160" fmla="*/ 238230 w 247650"/>
                <a:gd name="connsiteY160" fmla="*/ 72248 h 123825"/>
                <a:gd name="connsiteX161" fmla="*/ 234541 w 247650"/>
                <a:gd name="connsiteY161" fmla="*/ 72248 h 123825"/>
                <a:gd name="connsiteX162" fmla="*/ 234541 w 247650"/>
                <a:gd name="connsiteY162" fmla="*/ 75935 h 123825"/>
                <a:gd name="connsiteX163" fmla="*/ 230852 w 247650"/>
                <a:gd name="connsiteY163" fmla="*/ 72248 h 123825"/>
                <a:gd name="connsiteX164" fmla="*/ 219784 w 247650"/>
                <a:gd name="connsiteY164" fmla="*/ 75935 h 123825"/>
                <a:gd name="connsiteX165" fmla="*/ 216095 w 247650"/>
                <a:gd name="connsiteY165" fmla="*/ 75935 h 123825"/>
                <a:gd name="connsiteX166" fmla="*/ 212406 w 247650"/>
                <a:gd name="connsiteY166" fmla="*/ 79621 h 123825"/>
                <a:gd name="connsiteX167" fmla="*/ 208717 w 247650"/>
                <a:gd name="connsiteY167" fmla="*/ 79621 h 123825"/>
                <a:gd name="connsiteX168" fmla="*/ 208717 w 247650"/>
                <a:gd name="connsiteY168" fmla="*/ 83317 h 123825"/>
                <a:gd name="connsiteX169" fmla="*/ 212406 w 247650"/>
                <a:gd name="connsiteY169" fmla="*/ 87003 h 123825"/>
                <a:gd name="connsiteX170" fmla="*/ 212406 w 247650"/>
                <a:gd name="connsiteY170" fmla="*/ 87003 h 123825"/>
                <a:gd name="connsiteX171" fmla="*/ 212406 w 247650"/>
                <a:gd name="connsiteY171" fmla="*/ 90698 h 123825"/>
                <a:gd name="connsiteX172" fmla="*/ 212406 w 247650"/>
                <a:gd name="connsiteY172" fmla="*/ 90698 h 123825"/>
                <a:gd name="connsiteX173" fmla="*/ 212406 w 247650"/>
                <a:gd name="connsiteY173" fmla="*/ 90698 h 123825"/>
                <a:gd name="connsiteX174" fmla="*/ 212406 w 247650"/>
                <a:gd name="connsiteY174" fmla="*/ 90698 h 123825"/>
                <a:gd name="connsiteX175" fmla="*/ 208717 w 247650"/>
                <a:gd name="connsiteY175" fmla="*/ 94385 h 123825"/>
                <a:gd name="connsiteX176" fmla="*/ 212406 w 247650"/>
                <a:gd name="connsiteY176" fmla="*/ 94385 h 123825"/>
                <a:gd name="connsiteX177" fmla="*/ 212406 w 247650"/>
                <a:gd name="connsiteY177" fmla="*/ 90698 h 123825"/>
                <a:gd name="connsiteX178" fmla="*/ 208717 w 247650"/>
                <a:gd name="connsiteY178" fmla="*/ 94385 h 123825"/>
                <a:gd name="connsiteX179" fmla="*/ 208717 w 247650"/>
                <a:gd name="connsiteY179" fmla="*/ 98080 h 123825"/>
                <a:gd name="connsiteX180" fmla="*/ 205028 w 247650"/>
                <a:gd name="connsiteY180" fmla="*/ 98080 h 123825"/>
                <a:gd name="connsiteX181" fmla="*/ 201338 w 247650"/>
                <a:gd name="connsiteY181" fmla="*/ 101766 h 123825"/>
                <a:gd name="connsiteX182" fmla="*/ 197649 w 247650"/>
                <a:gd name="connsiteY182" fmla="*/ 109148 h 123825"/>
                <a:gd name="connsiteX183" fmla="*/ 193960 w 247650"/>
                <a:gd name="connsiteY183" fmla="*/ 109148 h 123825"/>
                <a:gd name="connsiteX184" fmla="*/ 190271 w 247650"/>
                <a:gd name="connsiteY184" fmla="*/ 112844 h 123825"/>
                <a:gd name="connsiteX185" fmla="*/ 186582 w 247650"/>
                <a:gd name="connsiteY185" fmla="*/ 109148 h 123825"/>
                <a:gd name="connsiteX186" fmla="*/ 179203 w 247650"/>
                <a:gd name="connsiteY186" fmla="*/ 112844 h 123825"/>
                <a:gd name="connsiteX187" fmla="*/ 175514 w 247650"/>
                <a:gd name="connsiteY187" fmla="*/ 116530 h 123825"/>
                <a:gd name="connsiteX188" fmla="*/ 168136 w 247650"/>
                <a:gd name="connsiteY188" fmla="*/ 116530 h 123825"/>
                <a:gd name="connsiteX189" fmla="*/ 168136 w 247650"/>
                <a:gd name="connsiteY189" fmla="*/ 120226 h 123825"/>
                <a:gd name="connsiteX190" fmla="*/ 157068 w 247650"/>
                <a:gd name="connsiteY190" fmla="*/ 120226 h 123825"/>
                <a:gd name="connsiteX191" fmla="*/ 153379 w 247650"/>
                <a:gd name="connsiteY191" fmla="*/ 120226 h 123825"/>
                <a:gd name="connsiteX192" fmla="*/ 146000 w 247650"/>
                <a:gd name="connsiteY192" fmla="*/ 120226 h 123825"/>
                <a:gd name="connsiteX193" fmla="*/ 142311 w 247650"/>
                <a:gd name="connsiteY193" fmla="*/ 120226 h 123825"/>
                <a:gd name="connsiteX194" fmla="*/ 142311 w 247650"/>
                <a:gd name="connsiteY194" fmla="*/ 120226 h 123825"/>
                <a:gd name="connsiteX195" fmla="*/ 134932 w 247650"/>
                <a:gd name="connsiteY195" fmla="*/ 112844 h 123825"/>
                <a:gd name="connsiteX196" fmla="*/ 134932 w 247650"/>
                <a:gd name="connsiteY196" fmla="*/ 112844 h 123825"/>
                <a:gd name="connsiteX197" fmla="*/ 134932 w 247650"/>
                <a:gd name="connsiteY197" fmla="*/ 112844 h 123825"/>
                <a:gd name="connsiteX198" fmla="*/ 131243 w 247650"/>
                <a:gd name="connsiteY198" fmla="*/ 105462 h 123825"/>
                <a:gd name="connsiteX199" fmla="*/ 131243 w 247650"/>
                <a:gd name="connsiteY199" fmla="*/ 105462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247650" h="123825">
                  <a:moveTo>
                    <a:pt x="131243" y="105462"/>
                  </a:moveTo>
                  <a:lnTo>
                    <a:pt x="127554" y="109148"/>
                  </a:lnTo>
                  <a:lnTo>
                    <a:pt x="123865" y="109148"/>
                  </a:lnTo>
                  <a:lnTo>
                    <a:pt x="123865" y="109148"/>
                  </a:lnTo>
                  <a:lnTo>
                    <a:pt x="120176" y="109148"/>
                  </a:lnTo>
                  <a:lnTo>
                    <a:pt x="120176" y="109148"/>
                  </a:lnTo>
                  <a:lnTo>
                    <a:pt x="112798" y="105462"/>
                  </a:lnTo>
                  <a:lnTo>
                    <a:pt x="109108" y="105462"/>
                  </a:lnTo>
                  <a:lnTo>
                    <a:pt x="109108" y="105462"/>
                  </a:lnTo>
                  <a:lnTo>
                    <a:pt x="116487" y="101766"/>
                  </a:lnTo>
                  <a:lnTo>
                    <a:pt x="116487" y="98080"/>
                  </a:lnTo>
                  <a:lnTo>
                    <a:pt x="116487" y="101766"/>
                  </a:lnTo>
                  <a:lnTo>
                    <a:pt x="109108" y="105462"/>
                  </a:lnTo>
                  <a:lnTo>
                    <a:pt x="105419" y="105462"/>
                  </a:lnTo>
                  <a:lnTo>
                    <a:pt x="109108" y="98080"/>
                  </a:lnTo>
                  <a:lnTo>
                    <a:pt x="105419" y="94385"/>
                  </a:lnTo>
                  <a:lnTo>
                    <a:pt x="105419" y="87003"/>
                  </a:lnTo>
                  <a:lnTo>
                    <a:pt x="101730" y="87003"/>
                  </a:lnTo>
                  <a:lnTo>
                    <a:pt x="101730" y="83317"/>
                  </a:lnTo>
                  <a:lnTo>
                    <a:pt x="101730" y="79621"/>
                  </a:lnTo>
                  <a:lnTo>
                    <a:pt x="98041" y="72248"/>
                  </a:lnTo>
                  <a:lnTo>
                    <a:pt x="90663" y="68553"/>
                  </a:lnTo>
                  <a:lnTo>
                    <a:pt x="86973" y="72248"/>
                  </a:lnTo>
                  <a:lnTo>
                    <a:pt x="86973" y="68553"/>
                  </a:lnTo>
                  <a:lnTo>
                    <a:pt x="75906" y="64867"/>
                  </a:lnTo>
                  <a:lnTo>
                    <a:pt x="75906" y="64867"/>
                  </a:lnTo>
                  <a:lnTo>
                    <a:pt x="75906" y="64867"/>
                  </a:lnTo>
                  <a:lnTo>
                    <a:pt x="75906" y="61171"/>
                  </a:lnTo>
                  <a:lnTo>
                    <a:pt x="75906" y="61171"/>
                  </a:lnTo>
                  <a:lnTo>
                    <a:pt x="75906" y="57485"/>
                  </a:lnTo>
                  <a:lnTo>
                    <a:pt x="72217" y="53789"/>
                  </a:lnTo>
                  <a:lnTo>
                    <a:pt x="64838" y="53789"/>
                  </a:lnTo>
                  <a:lnTo>
                    <a:pt x="61149" y="53789"/>
                  </a:lnTo>
                  <a:lnTo>
                    <a:pt x="57460" y="57485"/>
                  </a:lnTo>
                  <a:lnTo>
                    <a:pt x="57460" y="61171"/>
                  </a:lnTo>
                  <a:lnTo>
                    <a:pt x="61149" y="61171"/>
                  </a:lnTo>
                  <a:lnTo>
                    <a:pt x="64838" y="57485"/>
                  </a:lnTo>
                  <a:lnTo>
                    <a:pt x="68528" y="61171"/>
                  </a:lnTo>
                  <a:lnTo>
                    <a:pt x="64838" y="57485"/>
                  </a:lnTo>
                  <a:lnTo>
                    <a:pt x="61149" y="61171"/>
                  </a:lnTo>
                  <a:lnTo>
                    <a:pt x="53771" y="61171"/>
                  </a:lnTo>
                  <a:lnTo>
                    <a:pt x="50082" y="68553"/>
                  </a:lnTo>
                  <a:lnTo>
                    <a:pt x="42704" y="72248"/>
                  </a:lnTo>
                  <a:lnTo>
                    <a:pt x="42704" y="72248"/>
                  </a:lnTo>
                  <a:lnTo>
                    <a:pt x="42704" y="72248"/>
                  </a:lnTo>
                  <a:lnTo>
                    <a:pt x="42704" y="72248"/>
                  </a:lnTo>
                  <a:lnTo>
                    <a:pt x="39014" y="72248"/>
                  </a:lnTo>
                  <a:lnTo>
                    <a:pt x="35325" y="72248"/>
                  </a:lnTo>
                  <a:lnTo>
                    <a:pt x="27947" y="75935"/>
                  </a:lnTo>
                  <a:lnTo>
                    <a:pt x="24258" y="79621"/>
                  </a:lnTo>
                  <a:lnTo>
                    <a:pt x="24258" y="87003"/>
                  </a:lnTo>
                  <a:lnTo>
                    <a:pt x="24258" y="87003"/>
                  </a:lnTo>
                  <a:lnTo>
                    <a:pt x="27947" y="87003"/>
                  </a:lnTo>
                  <a:lnTo>
                    <a:pt x="27947" y="90698"/>
                  </a:lnTo>
                  <a:lnTo>
                    <a:pt x="24258" y="90698"/>
                  </a:lnTo>
                  <a:lnTo>
                    <a:pt x="24258" y="90698"/>
                  </a:lnTo>
                  <a:lnTo>
                    <a:pt x="24258" y="90698"/>
                  </a:lnTo>
                  <a:lnTo>
                    <a:pt x="20569" y="87003"/>
                  </a:lnTo>
                  <a:lnTo>
                    <a:pt x="20569" y="87003"/>
                  </a:lnTo>
                  <a:lnTo>
                    <a:pt x="20569" y="87003"/>
                  </a:lnTo>
                  <a:lnTo>
                    <a:pt x="24258" y="87003"/>
                  </a:lnTo>
                  <a:lnTo>
                    <a:pt x="24258" y="87003"/>
                  </a:lnTo>
                  <a:lnTo>
                    <a:pt x="24258" y="79621"/>
                  </a:lnTo>
                  <a:lnTo>
                    <a:pt x="24258" y="79621"/>
                  </a:lnTo>
                  <a:lnTo>
                    <a:pt x="20569" y="75935"/>
                  </a:lnTo>
                  <a:lnTo>
                    <a:pt x="16879" y="75935"/>
                  </a:lnTo>
                  <a:lnTo>
                    <a:pt x="13190" y="75935"/>
                  </a:lnTo>
                  <a:lnTo>
                    <a:pt x="13190" y="72248"/>
                  </a:lnTo>
                  <a:lnTo>
                    <a:pt x="9501" y="68553"/>
                  </a:lnTo>
                  <a:lnTo>
                    <a:pt x="5812" y="61171"/>
                  </a:lnTo>
                  <a:lnTo>
                    <a:pt x="5812" y="53789"/>
                  </a:lnTo>
                  <a:lnTo>
                    <a:pt x="5812" y="46407"/>
                  </a:lnTo>
                  <a:lnTo>
                    <a:pt x="5812" y="42721"/>
                  </a:lnTo>
                  <a:lnTo>
                    <a:pt x="9501" y="35339"/>
                  </a:lnTo>
                  <a:lnTo>
                    <a:pt x="16879" y="27957"/>
                  </a:lnTo>
                  <a:lnTo>
                    <a:pt x="24258" y="24271"/>
                  </a:lnTo>
                  <a:lnTo>
                    <a:pt x="27947" y="24271"/>
                  </a:lnTo>
                  <a:lnTo>
                    <a:pt x="31636" y="24271"/>
                  </a:lnTo>
                  <a:lnTo>
                    <a:pt x="46393" y="20575"/>
                  </a:lnTo>
                  <a:lnTo>
                    <a:pt x="50082" y="16889"/>
                  </a:lnTo>
                  <a:lnTo>
                    <a:pt x="57460" y="16889"/>
                  </a:lnTo>
                  <a:lnTo>
                    <a:pt x="64838" y="16889"/>
                  </a:lnTo>
                  <a:lnTo>
                    <a:pt x="75906" y="20575"/>
                  </a:lnTo>
                  <a:lnTo>
                    <a:pt x="75906" y="16889"/>
                  </a:lnTo>
                  <a:lnTo>
                    <a:pt x="75906" y="16889"/>
                  </a:lnTo>
                  <a:lnTo>
                    <a:pt x="75906" y="13194"/>
                  </a:lnTo>
                  <a:lnTo>
                    <a:pt x="79595" y="9507"/>
                  </a:lnTo>
                  <a:lnTo>
                    <a:pt x="79595" y="5812"/>
                  </a:lnTo>
                  <a:lnTo>
                    <a:pt x="83284" y="5812"/>
                  </a:lnTo>
                  <a:lnTo>
                    <a:pt x="86973" y="5812"/>
                  </a:lnTo>
                  <a:lnTo>
                    <a:pt x="83284" y="9507"/>
                  </a:lnTo>
                  <a:lnTo>
                    <a:pt x="86973" y="9507"/>
                  </a:lnTo>
                  <a:lnTo>
                    <a:pt x="83284" y="13194"/>
                  </a:lnTo>
                  <a:lnTo>
                    <a:pt x="83284" y="13194"/>
                  </a:lnTo>
                  <a:lnTo>
                    <a:pt x="83284" y="13194"/>
                  </a:lnTo>
                  <a:lnTo>
                    <a:pt x="83284" y="13194"/>
                  </a:lnTo>
                  <a:lnTo>
                    <a:pt x="83284" y="9507"/>
                  </a:lnTo>
                  <a:lnTo>
                    <a:pt x="83284" y="9507"/>
                  </a:lnTo>
                  <a:lnTo>
                    <a:pt x="79595" y="9507"/>
                  </a:lnTo>
                  <a:lnTo>
                    <a:pt x="79595" y="13194"/>
                  </a:lnTo>
                  <a:lnTo>
                    <a:pt x="75906" y="20575"/>
                  </a:lnTo>
                  <a:lnTo>
                    <a:pt x="79595" y="20575"/>
                  </a:lnTo>
                  <a:lnTo>
                    <a:pt x="83284" y="20575"/>
                  </a:lnTo>
                  <a:lnTo>
                    <a:pt x="86973" y="20575"/>
                  </a:lnTo>
                  <a:lnTo>
                    <a:pt x="90663" y="20575"/>
                  </a:lnTo>
                  <a:lnTo>
                    <a:pt x="90663" y="20575"/>
                  </a:lnTo>
                  <a:lnTo>
                    <a:pt x="90663" y="20575"/>
                  </a:lnTo>
                  <a:lnTo>
                    <a:pt x="101730" y="20575"/>
                  </a:lnTo>
                  <a:lnTo>
                    <a:pt x="109108" y="16889"/>
                  </a:lnTo>
                  <a:lnTo>
                    <a:pt x="109108" y="16889"/>
                  </a:lnTo>
                  <a:lnTo>
                    <a:pt x="112798" y="20575"/>
                  </a:lnTo>
                  <a:lnTo>
                    <a:pt x="112798" y="20575"/>
                  </a:lnTo>
                  <a:lnTo>
                    <a:pt x="116487" y="24271"/>
                  </a:lnTo>
                  <a:lnTo>
                    <a:pt x="116487" y="27957"/>
                  </a:lnTo>
                  <a:lnTo>
                    <a:pt x="120176" y="27957"/>
                  </a:lnTo>
                  <a:lnTo>
                    <a:pt x="120176" y="27957"/>
                  </a:lnTo>
                  <a:lnTo>
                    <a:pt x="123865" y="27957"/>
                  </a:lnTo>
                  <a:lnTo>
                    <a:pt x="127554" y="27957"/>
                  </a:lnTo>
                  <a:lnTo>
                    <a:pt x="134932" y="24271"/>
                  </a:lnTo>
                  <a:lnTo>
                    <a:pt x="138622" y="27957"/>
                  </a:lnTo>
                  <a:lnTo>
                    <a:pt x="149690" y="27957"/>
                  </a:lnTo>
                  <a:lnTo>
                    <a:pt x="149690" y="27957"/>
                  </a:lnTo>
                  <a:lnTo>
                    <a:pt x="149690" y="31643"/>
                  </a:lnTo>
                  <a:lnTo>
                    <a:pt x="149690" y="31643"/>
                  </a:lnTo>
                  <a:lnTo>
                    <a:pt x="149690" y="27957"/>
                  </a:lnTo>
                  <a:lnTo>
                    <a:pt x="153379" y="31643"/>
                  </a:lnTo>
                  <a:lnTo>
                    <a:pt x="153379" y="39025"/>
                  </a:lnTo>
                  <a:lnTo>
                    <a:pt x="153379" y="39025"/>
                  </a:lnTo>
                  <a:lnTo>
                    <a:pt x="157068" y="42721"/>
                  </a:lnTo>
                  <a:lnTo>
                    <a:pt x="164447" y="50103"/>
                  </a:lnTo>
                  <a:lnTo>
                    <a:pt x="168136" y="57485"/>
                  </a:lnTo>
                  <a:lnTo>
                    <a:pt x="168136" y="64867"/>
                  </a:lnTo>
                  <a:lnTo>
                    <a:pt x="171825" y="64867"/>
                  </a:lnTo>
                  <a:lnTo>
                    <a:pt x="179203" y="64867"/>
                  </a:lnTo>
                  <a:lnTo>
                    <a:pt x="182893" y="64867"/>
                  </a:lnTo>
                  <a:lnTo>
                    <a:pt x="190271" y="68553"/>
                  </a:lnTo>
                  <a:lnTo>
                    <a:pt x="190271" y="68553"/>
                  </a:lnTo>
                  <a:lnTo>
                    <a:pt x="201338" y="75935"/>
                  </a:lnTo>
                  <a:lnTo>
                    <a:pt x="205028" y="75935"/>
                  </a:lnTo>
                  <a:lnTo>
                    <a:pt x="205028" y="75935"/>
                  </a:lnTo>
                  <a:lnTo>
                    <a:pt x="205028" y="79621"/>
                  </a:lnTo>
                  <a:lnTo>
                    <a:pt x="208717" y="79621"/>
                  </a:lnTo>
                  <a:lnTo>
                    <a:pt x="216095" y="72248"/>
                  </a:lnTo>
                  <a:lnTo>
                    <a:pt x="219784" y="72248"/>
                  </a:lnTo>
                  <a:lnTo>
                    <a:pt x="223473" y="72248"/>
                  </a:lnTo>
                  <a:lnTo>
                    <a:pt x="223473" y="72248"/>
                  </a:lnTo>
                  <a:lnTo>
                    <a:pt x="234541" y="72248"/>
                  </a:lnTo>
                  <a:lnTo>
                    <a:pt x="234541" y="72248"/>
                  </a:lnTo>
                  <a:lnTo>
                    <a:pt x="238230" y="68553"/>
                  </a:lnTo>
                  <a:lnTo>
                    <a:pt x="241919" y="68553"/>
                  </a:lnTo>
                  <a:lnTo>
                    <a:pt x="241919" y="75935"/>
                  </a:lnTo>
                  <a:lnTo>
                    <a:pt x="241919" y="79621"/>
                  </a:lnTo>
                  <a:lnTo>
                    <a:pt x="245608" y="79621"/>
                  </a:lnTo>
                  <a:lnTo>
                    <a:pt x="245608" y="79621"/>
                  </a:lnTo>
                  <a:lnTo>
                    <a:pt x="241919" y="83317"/>
                  </a:lnTo>
                  <a:lnTo>
                    <a:pt x="241919" y="83317"/>
                  </a:lnTo>
                  <a:lnTo>
                    <a:pt x="238230" y="83317"/>
                  </a:lnTo>
                  <a:lnTo>
                    <a:pt x="241919" y="79621"/>
                  </a:lnTo>
                  <a:lnTo>
                    <a:pt x="241919" y="79621"/>
                  </a:lnTo>
                  <a:lnTo>
                    <a:pt x="238230" y="75935"/>
                  </a:lnTo>
                  <a:lnTo>
                    <a:pt x="238230" y="72248"/>
                  </a:lnTo>
                  <a:lnTo>
                    <a:pt x="234541" y="72248"/>
                  </a:lnTo>
                  <a:lnTo>
                    <a:pt x="234541" y="75935"/>
                  </a:lnTo>
                  <a:lnTo>
                    <a:pt x="230852" y="72248"/>
                  </a:lnTo>
                  <a:lnTo>
                    <a:pt x="219784" y="75935"/>
                  </a:lnTo>
                  <a:lnTo>
                    <a:pt x="216095" y="75935"/>
                  </a:lnTo>
                  <a:lnTo>
                    <a:pt x="212406" y="79621"/>
                  </a:lnTo>
                  <a:lnTo>
                    <a:pt x="208717" y="79621"/>
                  </a:lnTo>
                  <a:lnTo>
                    <a:pt x="208717" y="83317"/>
                  </a:lnTo>
                  <a:lnTo>
                    <a:pt x="212406" y="87003"/>
                  </a:lnTo>
                  <a:lnTo>
                    <a:pt x="212406" y="87003"/>
                  </a:lnTo>
                  <a:lnTo>
                    <a:pt x="212406" y="90698"/>
                  </a:lnTo>
                  <a:lnTo>
                    <a:pt x="212406" y="90698"/>
                  </a:lnTo>
                  <a:lnTo>
                    <a:pt x="212406" y="90698"/>
                  </a:lnTo>
                  <a:lnTo>
                    <a:pt x="212406" y="90698"/>
                  </a:lnTo>
                  <a:lnTo>
                    <a:pt x="208717" y="94385"/>
                  </a:lnTo>
                  <a:lnTo>
                    <a:pt x="212406" y="94385"/>
                  </a:lnTo>
                  <a:lnTo>
                    <a:pt x="212406" y="90698"/>
                  </a:lnTo>
                  <a:lnTo>
                    <a:pt x="208717" y="94385"/>
                  </a:lnTo>
                  <a:lnTo>
                    <a:pt x="208717" y="98080"/>
                  </a:lnTo>
                  <a:lnTo>
                    <a:pt x="205028" y="98080"/>
                  </a:lnTo>
                  <a:lnTo>
                    <a:pt x="201338" y="101766"/>
                  </a:lnTo>
                  <a:lnTo>
                    <a:pt x="197649" y="109148"/>
                  </a:lnTo>
                  <a:lnTo>
                    <a:pt x="193960" y="109148"/>
                  </a:lnTo>
                  <a:lnTo>
                    <a:pt x="190271" y="112844"/>
                  </a:lnTo>
                  <a:lnTo>
                    <a:pt x="186582" y="109148"/>
                  </a:lnTo>
                  <a:lnTo>
                    <a:pt x="179203" y="112844"/>
                  </a:lnTo>
                  <a:lnTo>
                    <a:pt x="175514" y="116530"/>
                  </a:lnTo>
                  <a:lnTo>
                    <a:pt x="168136" y="116530"/>
                  </a:lnTo>
                  <a:lnTo>
                    <a:pt x="168136" y="120226"/>
                  </a:lnTo>
                  <a:lnTo>
                    <a:pt x="157068" y="120226"/>
                  </a:lnTo>
                  <a:lnTo>
                    <a:pt x="153379" y="120226"/>
                  </a:lnTo>
                  <a:lnTo>
                    <a:pt x="146000" y="120226"/>
                  </a:lnTo>
                  <a:lnTo>
                    <a:pt x="142311" y="120226"/>
                  </a:lnTo>
                  <a:lnTo>
                    <a:pt x="142311" y="120226"/>
                  </a:lnTo>
                  <a:lnTo>
                    <a:pt x="134932" y="112844"/>
                  </a:lnTo>
                  <a:lnTo>
                    <a:pt x="134932" y="112844"/>
                  </a:lnTo>
                  <a:lnTo>
                    <a:pt x="134932" y="112844"/>
                  </a:lnTo>
                  <a:lnTo>
                    <a:pt x="131243" y="105462"/>
                  </a:lnTo>
                  <a:lnTo>
                    <a:pt x="131243" y="105462"/>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103" name="Freeform: Shape 102">
              <a:extLst>
                <a:ext uri="{FF2B5EF4-FFF2-40B4-BE49-F238E27FC236}">
                  <a16:creationId xmlns:a16="http://schemas.microsoft.com/office/drawing/2014/main" id="{D14A3A3B-C3FF-4A14-BDA7-D9E0E31C568E}"/>
                </a:ext>
              </a:extLst>
            </p:cNvPr>
            <p:cNvSpPr/>
            <p:nvPr/>
          </p:nvSpPr>
          <p:spPr>
            <a:xfrm>
              <a:off x="1315571" y="3991730"/>
              <a:ext cx="937734" cy="814751"/>
            </a:xfrm>
            <a:custGeom>
              <a:avLst/>
              <a:gdLst>
                <a:gd name="connsiteX0" fmla="*/ 260365 w 581025"/>
                <a:gd name="connsiteY0" fmla="*/ 5812 h 504825"/>
                <a:gd name="connsiteX1" fmla="*/ 238230 w 581025"/>
                <a:gd name="connsiteY1" fmla="*/ 53789 h 504825"/>
                <a:gd name="connsiteX2" fmla="*/ 230852 w 581025"/>
                <a:gd name="connsiteY2" fmla="*/ 64867 h 504825"/>
                <a:gd name="connsiteX3" fmla="*/ 227163 w 581025"/>
                <a:gd name="connsiteY3" fmla="*/ 72248 h 504825"/>
                <a:gd name="connsiteX4" fmla="*/ 216096 w 581025"/>
                <a:gd name="connsiteY4" fmla="*/ 90698 h 504825"/>
                <a:gd name="connsiteX5" fmla="*/ 212406 w 581025"/>
                <a:gd name="connsiteY5" fmla="*/ 94385 h 504825"/>
                <a:gd name="connsiteX6" fmla="*/ 212406 w 581025"/>
                <a:gd name="connsiteY6" fmla="*/ 98080 h 504825"/>
                <a:gd name="connsiteX7" fmla="*/ 205028 w 581025"/>
                <a:gd name="connsiteY7" fmla="*/ 109148 h 504825"/>
                <a:gd name="connsiteX8" fmla="*/ 201339 w 581025"/>
                <a:gd name="connsiteY8" fmla="*/ 116530 h 504825"/>
                <a:gd name="connsiteX9" fmla="*/ 190271 w 581025"/>
                <a:gd name="connsiteY9" fmla="*/ 131294 h 504825"/>
                <a:gd name="connsiteX10" fmla="*/ 168136 w 581025"/>
                <a:gd name="connsiteY10" fmla="*/ 160821 h 504825"/>
                <a:gd name="connsiteX11" fmla="*/ 157069 w 581025"/>
                <a:gd name="connsiteY11" fmla="*/ 168203 h 504825"/>
                <a:gd name="connsiteX12" fmla="*/ 157069 w 581025"/>
                <a:gd name="connsiteY12" fmla="*/ 171889 h 504825"/>
                <a:gd name="connsiteX13" fmla="*/ 149690 w 581025"/>
                <a:gd name="connsiteY13" fmla="*/ 179271 h 504825"/>
                <a:gd name="connsiteX14" fmla="*/ 146001 w 581025"/>
                <a:gd name="connsiteY14" fmla="*/ 179271 h 504825"/>
                <a:gd name="connsiteX15" fmla="*/ 146001 w 581025"/>
                <a:gd name="connsiteY15" fmla="*/ 182967 h 504825"/>
                <a:gd name="connsiteX16" fmla="*/ 146001 w 581025"/>
                <a:gd name="connsiteY16" fmla="*/ 186653 h 504825"/>
                <a:gd name="connsiteX17" fmla="*/ 149690 w 581025"/>
                <a:gd name="connsiteY17" fmla="*/ 186653 h 504825"/>
                <a:gd name="connsiteX18" fmla="*/ 146001 w 581025"/>
                <a:gd name="connsiteY18" fmla="*/ 190339 h 504825"/>
                <a:gd name="connsiteX19" fmla="*/ 146001 w 581025"/>
                <a:gd name="connsiteY19" fmla="*/ 186653 h 504825"/>
                <a:gd name="connsiteX20" fmla="*/ 142311 w 581025"/>
                <a:gd name="connsiteY20" fmla="*/ 186653 h 504825"/>
                <a:gd name="connsiteX21" fmla="*/ 138622 w 581025"/>
                <a:gd name="connsiteY21" fmla="*/ 190339 h 504825"/>
                <a:gd name="connsiteX22" fmla="*/ 134933 w 581025"/>
                <a:gd name="connsiteY22" fmla="*/ 197721 h 504825"/>
                <a:gd name="connsiteX23" fmla="*/ 131244 w 581025"/>
                <a:gd name="connsiteY23" fmla="*/ 201417 h 504825"/>
                <a:gd name="connsiteX24" fmla="*/ 120176 w 581025"/>
                <a:gd name="connsiteY24" fmla="*/ 212485 h 504825"/>
                <a:gd name="connsiteX25" fmla="*/ 112798 w 581025"/>
                <a:gd name="connsiteY25" fmla="*/ 219867 h 504825"/>
                <a:gd name="connsiteX26" fmla="*/ 101731 w 581025"/>
                <a:gd name="connsiteY26" fmla="*/ 234631 h 504825"/>
                <a:gd name="connsiteX27" fmla="*/ 98041 w 581025"/>
                <a:gd name="connsiteY27" fmla="*/ 238317 h 504825"/>
                <a:gd name="connsiteX28" fmla="*/ 90663 w 581025"/>
                <a:gd name="connsiteY28" fmla="*/ 245699 h 504825"/>
                <a:gd name="connsiteX29" fmla="*/ 86974 w 581025"/>
                <a:gd name="connsiteY29" fmla="*/ 249394 h 504825"/>
                <a:gd name="connsiteX30" fmla="*/ 86974 w 581025"/>
                <a:gd name="connsiteY30" fmla="*/ 253081 h 504825"/>
                <a:gd name="connsiteX31" fmla="*/ 79596 w 581025"/>
                <a:gd name="connsiteY31" fmla="*/ 264158 h 504825"/>
                <a:gd name="connsiteX32" fmla="*/ 72217 w 581025"/>
                <a:gd name="connsiteY32" fmla="*/ 267844 h 504825"/>
                <a:gd name="connsiteX33" fmla="*/ 64839 w 581025"/>
                <a:gd name="connsiteY33" fmla="*/ 275226 h 504825"/>
                <a:gd name="connsiteX34" fmla="*/ 61150 w 581025"/>
                <a:gd name="connsiteY34" fmla="*/ 275226 h 504825"/>
                <a:gd name="connsiteX35" fmla="*/ 57461 w 581025"/>
                <a:gd name="connsiteY35" fmla="*/ 271540 h 504825"/>
                <a:gd name="connsiteX36" fmla="*/ 39015 w 581025"/>
                <a:gd name="connsiteY36" fmla="*/ 267844 h 504825"/>
                <a:gd name="connsiteX37" fmla="*/ 35326 w 581025"/>
                <a:gd name="connsiteY37" fmla="*/ 271540 h 504825"/>
                <a:gd name="connsiteX38" fmla="*/ 31637 w 581025"/>
                <a:gd name="connsiteY38" fmla="*/ 271540 h 504825"/>
                <a:gd name="connsiteX39" fmla="*/ 27947 w 581025"/>
                <a:gd name="connsiteY39" fmla="*/ 271540 h 504825"/>
                <a:gd name="connsiteX40" fmla="*/ 24258 w 581025"/>
                <a:gd name="connsiteY40" fmla="*/ 275226 h 504825"/>
                <a:gd name="connsiteX41" fmla="*/ 24258 w 581025"/>
                <a:gd name="connsiteY41" fmla="*/ 278922 h 504825"/>
                <a:gd name="connsiteX42" fmla="*/ 20569 w 581025"/>
                <a:gd name="connsiteY42" fmla="*/ 282608 h 504825"/>
                <a:gd name="connsiteX43" fmla="*/ 16880 w 581025"/>
                <a:gd name="connsiteY43" fmla="*/ 289990 h 504825"/>
                <a:gd name="connsiteX44" fmla="*/ 20569 w 581025"/>
                <a:gd name="connsiteY44" fmla="*/ 293676 h 504825"/>
                <a:gd name="connsiteX45" fmla="*/ 24258 w 581025"/>
                <a:gd name="connsiteY45" fmla="*/ 297372 h 504825"/>
                <a:gd name="connsiteX46" fmla="*/ 24258 w 581025"/>
                <a:gd name="connsiteY46" fmla="*/ 301058 h 504825"/>
                <a:gd name="connsiteX47" fmla="*/ 16880 w 581025"/>
                <a:gd name="connsiteY47" fmla="*/ 308440 h 504825"/>
                <a:gd name="connsiteX48" fmla="*/ 13191 w 581025"/>
                <a:gd name="connsiteY48" fmla="*/ 315822 h 504825"/>
                <a:gd name="connsiteX49" fmla="*/ 5812 w 581025"/>
                <a:gd name="connsiteY49" fmla="*/ 326899 h 504825"/>
                <a:gd name="connsiteX50" fmla="*/ 9502 w 581025"/>
                <a:gd name="connsiteY50" fmla="*/ 326899 h 504825"/>
                <a:gd name="connsiteX51" fmla="*/ 13191 w 581025"/>
                <a:gd name="connsiteY51" fmla="*/ 326899 h 504825"/>
                <a:gd name="connsiteX52" fmla="*/ 16880 w 581025"/>
                <a:gd name="connsiteY52" fmla="*/ 330585 h 504825"/>
                <a:gd name="connsiteX53" fmla="*/ 20569 w 581025"/>
                <a:gd name="connsiteY53" fmla="*/ 326899 h 504825"/>
                <a:gd name="connsiteX54" fmla="*/ 35326 w 581025"/>
                <a:gd name="connsiteY54" fmla="*/ 323204 h 504825"/>
                <a:gd name="connsiteX55" fmla="*/ 39015 w 581025"/>
                <a:gd name="connsiteY55" fmla="*/ 323204 h 504825"/>
                <a:gd name="connsiteX56" fmla="*/ 42704 w 581025"/>
                <a:gd name="connsiteY56" fmla="*/ 330585 h 504825"/>
                <a:gd name="connsiteX57" fmla="*/ 39015 w 581025"/>
                <a:gd name="connsiteY57" fmla="*/ 330585 h 504825"/>
                <a:gd name="connsiteX58" fmla="*/ 39015 w 581025"/>
                <a:gd name="connsiteY58" fmla="*/ 334272 h 504825"/>
                <a:gd name="connsiteX59" fmla="*/ 31637 w 581025"/>
                <a:gd name="connsiteY59" fmla="*/ 341654 h 504825"/>
                <a:gd name="connsiteX60" fmla="*/ 31637 w 581025"/>
                <a:gd name="connsiteY60" fmla="*/ 345349 h 504825"/>
                <a:gd name="connsiteX61" fmla="*/ 27947 w 581025"/>
                <a:gd name="connsiteY61" fmla="*/ 349035 h 504825"/>
                <a:gd name="connsiteX62" fmla="*/ 27947 w 581025"/>
                <a:gd name="connsiteY62" fmla="*/ 352731 h 504825"/>
                <a:gd name="connsiteX63" fmla="*/ 31637 w 581025"/>
                <a:gd name="connsiteY63" fmla="*/ 356417 h 504825"/>
                <a:gd name="connsiteX64" fmla="*/ 46393 w 581025"/>
                <a:gd name="connsiteY64" fmla="*/ 378563 h 504825"/>
                <a:gd name="connsiteX65" fmla="*/ 46393 w 581025"/>
                <a:gd name="connsiteY65" fmla="*/ 382249 h 504825"/>
                <a:gd name="connsiteX66" fmla="*/ 46393 w 581025"/>
                <a:gd name="connsiteY66" fmla="*/ 385945 h 504825"/>
                <a:gd name="connsiteX67" fmla="*/ 42704 w 581025"/>
                <a:gd name="connsiteY67" fmla="*/ 389631 h 504825"/>
                <a:gd name="connsiteX68" fmla="*/ 50082 w 581025"/>
                <a:gd name="connsiteY68" fmla="*/ 385945 h 504825"/>
                <a:gd name="connsiteX69" fmla="*/ 53772 w 581025"/>
                <a:gd name="connsiteY69" fmla="*/ 389631 h 504825"/>
                <a:gd name="connsiteX70" fmla="*/ 57461 w 581025"/>
                <a:gd name="connsiteY70" fmla="*/ 393327 h 504825"/>
                <a:gd name="connsiteX71" fmla="*/ 61150 w 581025"/>
                <a:gd name="connsiteY71" fmla="*/ 397013 h 504825"/>
                <a:gd name="connsiteX72" fmla="*/ 61150 w 581025"/>
                <a:gd name="connsiteY72" fmla="*/ 400709 h 504825"/>
                <a:gd name="connsiteX73" fmla="*/ 64839 w 581025"/>
                <a:gd name="connsiteY73" fmla="*/ 400709 h 504825"/>
                <a:gd name="connsiteX74" fmla="*/ 68528 w 581025"/>
                <a:gd name="connsiteY74" fmla="*/ 400709 h 504825"/>
                <a:gd name="connsiteX75" fmla="*/ 72217 w 581025"/>
                <a:gd name="connsiteY75" fmla="*/ 400709 h 504825"/>
                <a:gd name="connsiteX76" fmla="*/ 75906 w 581025"/>
                <a:gd name="connsiteY76" fmla="*/ 400709 h 504825"/>
                <a:gd name="connsiteX77" fmla="*/ 72217 w 581025"/>
                <a:gd name="connsiteY77" fmla="*/ 404395 h 504825"/>
                <a:gd name="connsiteX78" fmla="*/ 75906 w 581025"/>
                <a:gd name="connsiteY78" fmla="*/ 408090 h 504825"/>
                <a:gd name="connsiteX79" fmla="*/ 79596 w 581025"/>
                <a:gd name="connsiteY79" fmla="*/ 408090 h 504825"/>
                <a:gd name="connsiteX80" fmla="*/ 79596 w 581025"/>
                <a:gd name="connsiteY80" fmla="*/ 404395 h 504825"/>
                <a:gd name="connsiteX81" fmla="*/ 83285 w 581025"/>
                <a:gd name="connsiteY81" fmla="*/ 404395 h 504825"/>
                <a:gd name="connsiteX82" fmla="*/ 86974 w 581025"/>
                <a:gd name="connsiteY82" fmla="*/ 404395 h 504825"/>
                <a:gd name="connsiteX83" fmla="*/ 90663 w 581025"/>
                <a:gd name="connsiteY83" fmla="*/ 404395 h 504825"/>
                <a:gd name="connsiteX84" fmla="*/ 94352 w 581025"/>
                <a:gd name="connsiteY84" fmla="*/ 408090 h 504825"/>
                <a:gd name="connsiteX85" fmla="*/ 101731 w 581025"/>
                <a:gd name="connsiteY85" fmla="*/ 419158 h 504825"/>
                <a:gd name="connsiteX86" fmla="*/ 105420 w 581025"/>
                <a:gd name="connsiteY86" fmla="*/ 419158 h 504825"/>
                <a:gd name="connsiteX87" fmla="*/ 109109 w 581025"/>
                <a:gd name="connsiteY87" fmla="*/ 419158 h 504825"/>
                <a:gd name="connsiteX88" fmla="*/ 112798 w 581025"/>
                <a:gd name="connsiteY88" fmla="*/ 419158 h 504825"/>
                <a:gd name="connsiteX89" fmla="*/ 112798 w 581025"/>
                <a:gd name="connsiteY89" fmla="*/ 422854 h 504825"/>
                <a:gd name="connsiteX90" fmla="*/ 120176 w 581025"/>
                <a:gd name="connsiteY90" fmla="*/ 422854 h 504825"/>
                <a:gd name="connsiteX91" fmla="*/ 123866 w 581025"/>
                <a:gd name="connsiteY91" fmla="*/ 430227 h 504825"/>
                <a:gd name="connsiteX92" fmla="*/ 127555 w 581025"/>
                <a:gd name="connsiteY92" fmla="*/ 433922 h 504825"/>
                <a:gd name="connsiteX93" fmla="*/ 131244 w 581025"/>
                <a:gd name="connsiteY93" fmla="*/ 433922 h 504825"/>
                <a:gd name="connsiteX94" fmla="*/ 134933 w 581025"/>
                <a:gd name="connsiteY94" fmla="*/ 433922 h 504825"/>
                <a:gd name="connsiteX95" fmla="*/ 131244 w 581025"/>
                <a:gd name="connsiteY95" fmla="*/ 437608 h 504825"/>
                <a:gd name="connsiteX96" fmla="*/ 127555 w 581025"/>
                <a:gd name="connsiteY96" fmla="*/ 437608 h 504825"/>
                <a:gd name="connsiteX97" fmla="*/ 131244 w 581025"/>
                <a:gd name="connsiteY97" fmla="*/ 444990 h 504825"/>
                <a:gd name="connsiteX98" fmla="*/ 134933 w 581025"/>
                <a:gd name="connsiteY98" fmla="*/ 448686 h 504825"/>
                <a:gd name="connsiteX99" fmla="*/ 146001 w 581025"/>
                <a:gd name="connsiteY99" fmla="*/ 452372 h 504825"/>
                <a:gd name="connsiteX100" fmla="*/ 146001 w 581025"/>
                <a:gd name="connsiteY100" fmla="*/ 456068 h 504825"/>
                <a:gd name="connsiteX101" fmla="*/ 153380 w 581025"/>
                <a:gd name="connsiteY101" fmla="*/ 456068 h 504825"/>
                <a:gd name="connsiteX102" fmla="*/ 160758 w 581025"/>
                <a:gd name="connsiteY102" fmla="*/ 459754 h 504825"/>
                <a:gd name="connsiteX103" fmla="*/ 168136 w 581025"/>
                <a:gd name="connsiteY103" fmla="*/ 459754 h 504825"/>
                <a:gd name="connsiteX104" fmla="*/ 168136 w 581025"/>
                <a:gd name="connsiteY104" fmla="*/ 463450 h 504825"/>
                <a:gd name="connsiteX105" fmla="*/ 182893 w 581025"/>
                <a:gd name="connsiteY105" fmla="*/ 467136 h 504825"/>
                <a:gd name="connsiteX106" fmla="*/ 190271 w 581025"/>
                <a:gd name="connsiteY106" fmla="*/ 474518 h 504825"/>
                <a:gd name="connsiteX107" fmla="*/ 193961 w 581025"/>
                <a:gd name="connsiteY107" fmla="*/ 474518 h 504825"/>
                <a:gd name="connsiteX108" fmla="*/ 201339 w 581025"/>
                <a:gd name="connsiteY108" fmla="*/ 478204 h 504825"/>
                <a:gd name="connsiteX109" fmla="*/ 212406 w 581025"/>
                <a:gd name="connsiteY109" fmla="*/ 485586 h 504825"/>
                <a:gd name="connsiteX110" fmla="*/ 216096 w 581025"/>
                <a:gd name="connsiteY110" fmla="*/ 485586 h 504825"/>
                <a:gd name="connsiteX111" fmla="*/ 219785 w 581025"/>
                <a:gd name="connsiteY111" fmla="*/ 489281 h 504825"/>
                <a:gd name="connsiteX112" fmla="*/ 227163 w 581025"/>
                <a:gd name="connsiteY112" fmla="*/ 489281 h 504825"/>
                <a:gd name="connsiteX113" fmla="*/ 227163 w 581025"/>
                <a:gd name="connsiteY113" fmla="*/ 492968 h 504825"/>
                <a:gd name="connsiteX114" fmla="*/ 241920 w 581025"/>
                <a:gd name="connsiteY114" fmla="*/ 492968 h 504825"/>
                <a:gd name="connsiteX115" fmla="*/ 245609 w 581025"/>
                <a:gd name="connsiteY115" fmla="*/ 492968 h 504825"/>
                <a:gd name="connsiteX116" fmla="*/ 252987 w 581025"/>
                <a:gd name="connsiteY116" fmla="*/ 496663 h 504825"/>
                <a:gd name="connsiteX117" fmla="*/ 256676 w 581025"/>
                <a:gd name="connsiteY117" fmla="*/ 496663 h 504825"/>
                <a:gd name="connsiteX118" fmla="*/ 260365 w 581025"/>
                <a:gd name="connsiteY118" fmla="*/ 496663 h 504825"/>
                <a:gd name="connsiteX119" fmla="*/ 264055 w 581025"/>
                <a:gd name="connsiteY119" fmla="*/ 500350 h 504825"/>
                <a:gd name="connsiteX120" fmla="*/ 267744 w 581025"/>
                <a:gd name="connsiteY120" fmla="*/ 500350 h 504825"/>
                <a:gd name="connsiteX121" fmla="*/ 271433 w 581025"/>
                <a:gd name="connsiteY121" fmla="*/ 504045 h 504825"/>
                <a:gd name="connsiteX122" fmla="*/ 275122 w 581025"/>
                <a:gd name="connsiteY122" fmla="*/ 504045 h 504825"/>
                <a:gd name="connsiteX123" fmla="*/ 282500 w 581025"/>
                <a:gd name="connsiteY123" fmla="*/ 500350 h 504825"/>
                <a:gd name="connsiteX124" fmla="*/ 286190 w 581025"/>
                <a:gd name="connsiteY124" fmla="*/ 500350 h 504825"/>
                <a:gd name="connsiteX125" fmla="*/ 297258 w 581025"/>
                <a:gd name="connsiteY125" fmla="*/ 496663 h 504825"/>
                <a:gd name="connsiteX126" fmla="*/ 300947 w 581025"/>
                <a:gd name="connsiteY126" fmla="*/ 496663 h 504825"/>
                <a:gd name="connsiteX127" fmla="*/ 304636 w 581025"/>
                <a:gd name="connsiteY127" fmla="*/ 492968 h 504825"/>
                <a:gd name="connsiteX128" fmla="*/ 312015 w 581025"/>
                <a:gd name="connsiteY128" fmla="*/ 492968 h 504825"/>
                <a:gd name="connsiteX129" fmla="*/ 315704 w 581025"/>
                <a:gd name="connsiteY129" fmla="*/ 485586 h 504825"/>
                <a:gd name="connsiteX130" fmla="*/ 319393 w 581025"/>
                <a:gd name="connsiteY130" fmla="*/ 489281 h 504825"/>
                <a:gd name="connsiteX131" fmla="*/ 323082 w 581025"/>
                <a:gd name="connsiteY131" fmla="*/ 489281 h 504825"/>
                <a:gd name="connsiteX132" fmla="*/ 330460 w 581025"/>
                <a:gd name="connsiteY132" fmla="*/ 485586 h 504825"/>
                <a:gd name="connsiteX133" fmla="*/ 330460 w 581025"/>
                <a:gd name="connsiteY133" fmla="*/ 489281 h 504825"/>
                <a:gd name="connsiteX134" fmla="*/ 345217 w 581025"/>
                <a:gd name="connsiteY134" fmla="*/ 485586 h 504825"/>
                <a:gd name="connsiteX135" fmla="*/ 348906 w 581025"/>
                <a:gd name="connsiteY135" fmla="*/ 481900 h 504825"/>
                <a:gd name="connsiteX136" fmla="*/ 352595 w 581025"/>
                <a:gd name="connsiteY136" fmla="*/ 478204 h 504825"/>
                <a:gd name="connsiteX137" fmla="*/ 359974 w 581025"/>
                <a:gd name="connsiteY137" fmla="*/ 474518 h 504825"/>
                <a:gd name="connsiteX138" fmla="*/ 371041 w 581025"/>
                <a:gd name="connsiteY138" fmla="*/ 467136 h 504825"/>
                <a:gd name="connsiteX139" fmla="*/ 374730 w 581025"/>
                <a:gd name="connsiteY139" fmla="*/ 459754 h 504825"/>
                <a:gd name="connsiteX140" fmla="*/ 378420 w 581025"/>
                <a:gd name="connsiteY140" fmla="*/ 456068 h 504825"/>
                <a:gd name="connsiteX141" fmla="*/ 382109 w 581025"/>
                <a:gd name="connsiteY141" fmla="*/ 444990 h 504825"/>
                <a:gd name="connsiteX142" fmla="*/ 385798 w 581025"/>
                <a:gd name="connsiteY142" fmla="*/ 441304 h 504825"/>
                <a:gd name="connsiteX143" fmla="*/ 389487 w 581025"/>
                <a:gd name="connsiteY143" fmla="*/ 437608 h 504825"/>
                <a:gd name="connsiteX144" fmla="*/ 389487 w 581025"/>
                <a:gd name="connsiteY144" fmla="*/ 433922 h 504825"/>
                <a:gd name="connsiteX145" fmla="*/ 393176 w 581025"/>
                <a:gd name="connsiteY145" fmla="*/ 430227 h 504825"/>
                <a:gd name="connsiteX146" fmla="*/ 396865 w 581025"/>
                <a:gd name="connsiteY146" fmla="*/ 430227 h 504825"/>
                <a:gd name="connsiteX147" fmla="*/ 404244 w 581025"/>
                <a:gd name="connsiteY147" fmla="*/ 426540 h 504825"/>
                <a:gd name="connsiteX148" fmla="*/ 411622 w 581025"/>
                <a:gd name="connsiteY148" fmla="*/ 426540 h 504825"/>
                <a:gd name="connsiteX149" fmla="*/ 419000 w 581025"/>
                <a:gd name="connsiteY149" fmla="*/ 426540 h 504825"/>
                <a:gd name="connsiteX150" fmla="*/ 426379 w 581025"/>
                <a:gd name="connsiteY150" fmla="*/ 426540 h 504825"/>
                <a:gd name="connsiteX151" fmla="*/ 430068 w 581025"/>
                <a:gd name="connsiteY151" fmla="*/ 426540 h 504825"/>
                <a:gd name="connsiteX152" fmla="*/ 437446 w 581025"/>
                <a:gd name="connsiteY152" fmla="*/ 422854 h 504825"/>
                <a:gd name="connsiteX153" fmla="*/ 441136 w 581025"/>
                <a:gd name="connsiteY153" fmla="*/ 422854 h 504825"/>
                <a:gd name="connsiteX154" fmla="*/ 448515 w 581025"/>
                <a:gd name="connsiteY154" fmla="*/ 411777 h 504825"/>
                <a:gd name="connsiteX155" fmla="*/ 452204 w 581025"/>
                <a:gd name="connsiteY155" fmla="*/ 411777 h 504825"/>
                <a:gd name="connsiteX156" fmla="*/ 459582 w 581025"/>
                <a:gd name="connsiteY156" fmla="*/ 408090 h 504825"/>
                <a:gd name="connsiteX157" fmla="*/ 463271 w 581025"/>
                <a:gd name="connsiteY157" fmla="*/ 404395 h 504825"/>
                <a:gd name="connsiteX158" fmla="*/ 470650 w 581025"/>
                <a:gd name="connsiteY158" fmla="*/ 404395 h 504825"/>
                <a:gd name="connsiteX159" fmla="*/ 474339 w 581025"/>
                <a:gd name="connsiteY159" fmla="*/ 404395 h 504825"/>
                <a:gd name="connsiteX160" fmla="*/ 478028 w 581025"/>
                <a:gd name="connsiteY160" fmla="*/ 404395 h 504825"/>
                <a:gd name="connsiteX161" fmla="*/ 485406 w 581025"/>
                <a:gd name="connsiteY161" fmla="*/ 408090 h 504825"/>
                <a:gd name="connsiteX162" fmla="*/ 492784 w 581025"/>
                <a:gd name="connsiteY162" fmla="*/ 408090 h 504825"/>
                <a:gd name="connsiteX163" fmla="*/ 496474 w 581025"/>
                <a:gd name="connsiteY163" fmla="*/ 408090 h 504825"/>
                <a:gd name="connsiteX164" fmla="*/ 500163 w 581025"/>
                <a:gd name="connsiteY164" fmla="*/ 411777 h 504825"/>
                <a:gd name="connsiteX165" fmla="*/ 507541 w 581025"/>
                <a:gd name="connsiteY165" fmla="*/ 411777 h 504825"/>
                <a:gd name="connsiteX166" fmla="*/ 511230 w 581025"/>
                <a:gd name="connsiteY166" fmla="*/ 411777 h 504825"/>
                <a:gd name="connsiteX167" fmla="*/ 518609 w 581025"/>
                <a:gd name="connsiteY167" fmla="*/ 411777 h 504825"/>
                <a:gd name="connsiteX168" fmla="*/ 518609 w 581025"/>
                <a:gd name="connsiteY168" fmla="*/ 408090 h 504825"/>
                <a:gd name="connsiteX169" fmla="*/ 522298 w 581025"/>
                <a:gd name="connsiteY169" fmla="*/ 393327 h 504825"/>
                <a:gd name="connsiteX170" fmla="*/ 514919 w 581025"/>
                <a:gd name="connsiteY170" fmla="*/ 393327 h 504825"/>
                <a:gd name="connsiteX171" fmla="*/ 511230 w 581025"/>
                <a:gd name="connsiteY171" fmla="*/ 393327 h 504825"/>
                <a:gd name="connsiteX172" fmla="*/ 507541 w 581025"/>
                <a:gd name="connsiteY172" fmla="*/ 393327 h 504825"/>
                <a:gd name="connsiteX173" fmla="*/ 503852 w 581025"/>
                <a:gd name="connsiteY173" fmla="*/ 389631 h 504825"/>
                <a:gd name="connsiteX174" fmla="*/ 507541 w 581025"/>
                <a:gd name="connsiteY174" fmla="*/ 389631 h 504825"/>
                <a:gd name="connsiteX175" fmla="*/ 503852 w 581025"/>
                <a:gd name="connsiteY175" fmla="*/ 385945 h 504825"/>
                <a:gd name="connsiteX176" fmla="*/ 503852 w 581025"/>
                <a:gd name="connsiteY176" fmla="*/ 382249 h 504825"/>
                <a:gd name="connsiteX177" fmla="*/ 503852 w 581025"/>
                <a:gd name="connsiteY177" fmla="*/ 378563 h 504825"/>
                <a:gd name="connsiteX178" fmla="*/ 507541 w 581025"/>
                <a:gd name="connsiteY178" fmla="*/ 382249 h 504825"/>
                <a:gd name="connsiteX179" fmla="*/ 514919 w 581025"/>
                <a:gd name="connsiteY179" fmla="*/ 378563 h 504825"/>
                <a:gd name="connsiteX180" fmla="*/ 518609 w 581025"/>
                <a:gd name="connsiteY180" fmla="*/ 382249 h 504825"/>
                <a:gd name="connsiteX181" fmla="*/ 529676 w 581025"/>
                <a:gd name="connsiteY181" fmla="*/ 378563 h 504825"/>
                <a:gd name="connsiteX182" fmla="*/ 533365 w 581025"/>
                <a:gd name="connsiteY182" fmla="*/ 382249 h 504825"/>
                <a:gd name="connsiteX183" fmla="*/ 537054 w 581025"/>
                <a:gd name="connsiteY183" fmla="*/ 382249 h 504825"/>
                <a:gd name="connsiteX184" fmla="*/ 537054 w 581025"/>
                <a:gd name="connsiteY184" fmla="*/ 378563 h 504825"/>
                <a:gd name="connsiteX185" fmla="*/ 533365 w 581025"/>
                <a:gd name="connsiteY185" fmla="*/ 374877 h 504825"/>
                <a:gd name="connsiteX186" fmla="*/ 533365 w 581025"/>
                <a:gd name="connsiteY186" fmla="*/ 371181 h 504825"/>
                <a:gd name="connsiteX187" fmla="*/ 533365 w 581025"/>
                <a:gd name="connsiteY187" fmla="*/ 367495 h 504825"/>
                <a:gd name="connsiteX188" fmla="*/ 537054 w 581025"/>
                <a:gd name="connsiteY188" fmla="*/ 367495 h 504825"/>
                <a:gd name="connsiteX189" fmla="*/ 540744 w 581025"/>
                <a:gd name="connsiteY189" fmla="*/ 367495 h 504825"/>
                <a:gd name="connsiteX190" fmla="*/ 544433 w 581025"/>
                <a:gd name="connsiteY190" fmla="*/ 367495 h 504825"/>
                <a:gd name="connsiteX191" fmla="*/ 548122 w 581025"/>
                <a:gd name="connsiteY191" fmla="*/ 363799 h 504825"/>
                <a:gd name="connsiteX192" fmla="*/ 548122 w 581025"/>
                <a:gd name="connsiteY192" fmla="*/ 356417 h 504825"/>
                <a:gd name="connsiteX193" fmla="*/ 551811 w 581025"/>
                <a:gd name="connsiteY193" fmla="*/ 356417 h 504825"/>
                <a:gd name="connsiteX194" fmla="*/ 559189 w 581025"/>
                <a:gd name="connsiteY194" fmla="*/ 356417 h 504825"/>
                <a:gd name="connsiteX195" fmla="*/ 562879 w 581025"/>
                <a:gd name="connsiteY195" fmla="*/ 356417 h 504825"/>
                <a:gd name="connsiteX196" fmla="*/ 562879 w 581025"/>
                <a:gd name="connsiteY196" fmla="*/ 352731 h 504825"/>
                <a:gd name="connsiteX197" fmla="*/ 566568 w 581025"/>
                <a:gd name="connsiteY197" fmla="*/ 349035 h 504825"/>
                <a:gd name="connsiteX198" fmla="*/ 570257 w 581025"/>
                <a:gd name="connsiteY198" fmla="*/ 337967 h 504825"/>
                <a:gd name="connsiteX199" fmla="*/ 570257 w 581025"/>
                <a:gd name="connsiteY199" fmla="*/ 334272 h 504825"/>
                <a:gd name="connsiteX200" fmla="*/ 573946 w 581025"/>
                <a:gd name="connsiteY200" fmla="*/ 334272 h 504825"/>
                <a:gd name="connsiteX201" fmla="*/ 577635 w 581025"/>
                <a:gd name="connsiteY201" fmla="*/ 326899 h 504825"/>
                <a:gd name="connsiteX202" fmla="*/ 581324 w 581025"/>
                <a:gd name="connsiteY202" fmla="*/ 323204 h 504825"/>
                <a:gd name="connsiteX203" fmla="*/ 577635 w 581025"/>
                <a:gd name="connsiteY203" fmla="*/ 323204 h 504825"/>
                <a:gd name="connsiteX204" fmla="*/ 581324 w 581025"/>
                <a:gd name="connsiteY204" fmla="*/ 319517 h 504825"/>
                <a:gd name="connsiteX205" fmla="*/ 577635 w 581025"/>
                <a:gd name="connsiteY205" fmla="*/ 319517 h 504825"/>
                <a:gd name="connsiteX206" fmla="*/ 573946 w 581025"/>
                <a:gd name="connsiteY206" fmla="*/ 319517 h 504825"/>
                <a:gd name="connsiteX207" fmla="*/ 570257 w 581025"/>
                <a:gd name="connsiteY207" fmla="*/ 319517 h 504825"/>
                <a:gd name="connsiteX208" fmla="*/ 555500 w 581025"/>
                <a:gd name="connsiteY208" fmla="*/ 312136 h 504825"/>
                <a:gd name="connsiteX209" fmla="*/ 548122 w 581025"/>
                <a:gd name="connsiteY209" fmla="*/ 308440 h 504825"/>
                <a:gd name="connsiteX210" fmla="*/ 533365 w 581025"/>
                <a:gd name="connsiteY210" fmla="*/ 304754 h 504825"/>
                <a:gd name="connsiteX211" fmla="*/ 537054 w 581025"/>
                <a:gd name="connsiteY211" fmla="*/ 297372 h 504825"/>
                <a:gd name="connsiteX212" fmla="*/ 533365 w 581025"/>
                <a:gd name="connsiteY212" fmla="*/ 286294 h 504825"/>
                <a:gd name="connsiteX213" fmla="*/ 529676 w 581025"/>
                <a:gd name="connsiteY213" fmla="*/ 286294 h 504825"/>
                <a:gd name="connsiteX214" fmla="*/ 525987 w 581025"/>
                <a:gd name="connsiteY214" fmla="*/ 286294 h 504825"/>
                <a:gd name="connsiteX215" fmla="*/ 525987 w 581025"/>
                <a:gd name="connsiteY215" fmla="*/ 289990 h 504825"/>
                <a:gd name="connsiteX216" fmla="*/ 522298 w 581025"/>
                <a:gd name="connsiteY216" fmla="*/ 293676 h 504825"/>
                <a:gd name="connsiteX217" fmla="*/ 518609 w 581025"/>
                <a:gd name="connsiteY217" fmla="*/ 293676 h 504825"/>
                <a:gd name="connsiteX218" fmla="*/ 511230 w 581025"/>
                <a:gd name="connsiteY218" fmla="*/ 286294 h 504825"/>
                <a:gd name="connsiteX219" fmla="*/ 507541 w 581025"/>
                <a:gd name="connsiteY219" fmla="*/ 286294 h 504825"/>
                <a:gd name="connsiteX220" fmla="*/ 503852 w 581025"/>
                <a:gd name="connsiteY220" fmla="*/ 286294 h 504825"/>
                <a:gd name="connsiteX221" fmla="*/ 500163 w 581025"/>
                <a:gd name="connsiteY221" fmla="*/ 289990 h 504825"/>
                <a:gd name="connsiteX222" fmla="*/ 496474 w 581025"/>
                <a:gd name="connsiteY222" fmla="*/ 293676 h 504825"/>
                <a:gd name="connsiteX223" fmla="*/ 496474 w 581025"/>
                <a:gd name="connsiteY223" fmla="*/ 297372 h 504825"/>
                <a:gd name="connsiteX224" fmla="*/ 492784 w 581025"/>
                <a:gd name="connsiteY224" fmla="*/ 301058 h 504825"/>
                <a:gd name="connsiteX225" fmla="*/ 489095 w 581025"/>
                <a:gd name="connsiteY225" fmla="*/ 301058 h 504825"/>
                <a:gd name="connsiteX226" fmla="*/ 485406 w 581025"/>
                <a:gd name="connsiteY226" fmla="*/ 297372 h 504825"/>
                <a:gd name="connsiteX227" fmla="*/ 481717 w 581025"/>
                <a:gd name="connsiteY227" fmla="*/ 297372 h 504825"/>
                <a:gd name="connsiteX228" fmla="*/ 478028 w 581025"/>
                <a:gd name="connsiteY228" fmla="*/ 297372 h 504825"/>
                <a:gd name="connsiteX229" fmla="*/ 474339 w 581025"/>
                <a:gd name="connsiteY229" fmla="*/ 301058 h 504825"/>
                <a:gd name="connsiteX230" fmla="*/ 470650 w 581025"/>
                <a:gd name="connsiteY230" fmla="*/ 308440 h 504825"/>
                <a:gd name="connsiteX231" fmla="*/ 466960 w 581025"/>
                <a:gd name="connsiteY231" fmla="*/ 308440 h 504825"/>
                <a:gd name="connsiteX232" fmla="*/ 466960 w 581025"/>
                <a:gd name="connsiteY232" fmla="*/ 312136 h 504825"/>
                <a:gd name="connsiteX233" fmla="*/ 463271 w 581025"/>
                <a:gd name="connsiteY233" fmla="*/ 312136 h 504825"/>
                <a:gd name="connsiteX234" fmla="*/ 459582 w 581025"/>
                <a:gd name="connsiteY234" fmla="*/ 315822 h 504825"/>
                <a:gd name="connsiteX235" fmla="*/ 455893 w 581025"/>
                <a:gd name="connsiteY235" fmla="*/ 315822 h 504825"/>
                <a:gd name="connsiteX236" fmla="*/ 448515 w 581025"/>
                <a:gd name="connsiteY236" fmla="*/ 315822 h 504825"/>
                <a:gd name="connsiteX237" fmla="*/ 444825 w 581025"/>
                <a:gd name="connsiteY237" fmla="*/ 315822 h 504825"/>
                <a:gd name="connsiteX238" fmla="*/ 444825 w 581025"/>
                <a:gd name="connsiteY238" fmla="*/ 312136 h 504825"/>
                <a:gd name="connsiteX239" fmla="*/ 444825 w 581025"/>
                <a:gd name="connsiteY239" fmla="*/ 304754 h 504825"/>
                <a:gd name="connsiteX240" fmla="*/ 441136 w 581025"/>
                <a:gd name="connsiteY240" fmla="*/ 301058 h 504825"/>
                <a:gd name="connsiteX241" fmla="*/ 441136 w 581025"/>
                <a:gd name="connsiteY241" fmla="*/ 297372 h 504825"/>
                <a:gd name="connsiteX242" fmla="*/ 437446 w 581025"/>
                <a:gd name="connsiteY242" fmla="*/ 293676 h 504825"/>
                <a:gd name="connsiteX243" fmla="*/ 433757 w 581025"/>
                <a:gd name="connsiteY243" fmla="*/ 289990 h 504825"/>
                <a:gd name="connsiteX244" fmla="*/ 430068 w 581025"/>
                <a:gd name="connsiteY244" fmla="*/ 286294 h 504825"/>
                <a:gd name="connsiteX245" fmla="*/ 426379 w 581025"/>
                <a:gd name="connsiteY245" fmla="*/ 278922 h 504825"/>
                <a:gd name="connsiteX246" fmla="*/ 422689 w 581025"/>
                <a:gd name="connsiteY246" fmla="*/ 271540 h 504825"/>
                <a:gd name="connsiteX247" fmla="*/ 419000 w 581025"/>
                <a:gd name="connsiteY247" fmla="*/ 267844 h 504825"/>
                <a:gd name="connsiteX248" fmla="*/ 433757 w 581025"/>
                <a:gd name="connsiteY248" fmla="*/ 264158 h 504825"/>
                <a:gd name="connsiteX249" fmla="*/ 437446 w 581025"/>
                <a:gd name="connsiteY249" fmla="*/ 264158 h 504825"/>
                <a:gd name="connsiteX250" fmla="*/ 433757 w 581025"/>
                <a:gd name="connsiteY250" fmla="*/ 253081 h 504825"/>
                <a:gd name="connsiteX251" fmla="*/ 430068 w 581025"/>
                <a:gd name="connsiteY251" fmla="*/ 253081 h 504825"/>
                <a:gd name="connsiteX252" fmla="*/ 426379 w 581025"/>
                <a:gd name="connsiteY252" fmla="*/ 253081 h 504825"/>
                <a:gd name="connsiteX253" fmla="*/ 422689 w 581025"/>
                <a:gd name="connsiteY253" fmla="*/ 253081 h 504825"/>
                <a:gd name="connsiteX254" fmla="*/ 419000 w 581025"/>
                <a:gd name="connsiteY254" fmla="*/ 253081 h 504825"/>
                <a:gd name="connsiteX255" fmla="*/ 415311 w 581025"/>
                <a:gd name="connsiteY255" fmla="*/ 256776 h 504825"/>
                <a:gd name="connsiteX256" fmla="*/ 411622 w 581025"/>
                <a:gd name="connsiteY256" fmla="*/ 256776 h 504825"/>
                <a:gd name="connsiteX257" fmla="*/ 407933 w 581025"/>
                <a:gd name="connsiteY257" fmla="*/ 249394 h 504825"/>
                <a:gd name="connsiteX258" fmla="*/ 411622 w 581025"/>
                <a:gd name="connsiteY258" fmla="*/ 245699 h 504825"/>
                <a:gd name="connsiteX259" fmla="*/ 411622 w 581025"/>
                <a:gd name="connsiteY259" fmla="*/ 242013 h 504825"/>
                <a:gd name="connsiteX260" fmla="*/ 415311 w 581025"/>
                <a:gd name="connsiteY260" fmla="*/ 242013 h 504825"/>
                <a:gd name="connsiteX261" fmla="*/ 419000 w 581025"/>
                <a:gd name="connsiteY261" fmla="*/ 238317 h 504825"/>
                <a:gd name="connsiteX262" fmla="*/ 422689 w 581025"/>
                <a:gd name="connsiteY262" fmla="*/ 227249 h 504825"/>
                <a:gd name="connsiteX263" fmla="*/ 433757 w 581025"/>
                <a:gd name="connsiteY263" fmla="*/ 219867 h 504825"/>
                <a:gd name="connsiteX264" fmla="*/ 437446 w 581025"/>
                <a:gd name="connsiteY264" fmla="*/ 219867 h 504825"/>
                <a:gd name="connsiteX265" fmla="*/ 441136 w 581025"/>
                <a:gd name="connsiteY265" fmla="*/ 216181 h 504825"/>
                <a:gd name="connsiteX266" fmla="*/ 444825 w 581025"/>
                <a:gd name="connsiteY266" fmla="*/ 212485 h 504825"/>
                <a:gd name="connsiteX267" fmla="*/ 430068 w 581025"/>
                <a:gd name="connsiteY267" fmla="*/ 212485 h 504825"/>
                <a:gd name="connsiteX268" fmla="*/ 422689 w 581025"/>
                <a:gd name="connsiteY268" fmla="*/ 212485 h 504825"/>
                <a:gd name="connsiteX269" fmla="*/ 426379 w 581025"/>
                <a:gd name="connsiteY269" fmla="*/ 208799 h 504825"/>
                <a:gd name="connsiteX270" fmla="*/ 422689 w 581025"/>
                <a:gd name="connsiteY270" fmla="*/ 208799 h 504825"/>
                <a:gd name="connsiteX271" fmla="*/ 422689 w 581025"/>
                <a:gd name="connsiteY271" fmla="*/ 205103 h 504825"/>
                <a:gd name="connsiteX272" fmla="*/ 419000 w 581025"/>
                <a:gd name="connsiteY272" fmla="*/ 194035 h 504825"/>
                <a:gd name="connsiteX273" fmla="*/ 419000 w 581025"/>
                <a:gd name="connsiteY273" fmla="*/ 182967 h 504825"/>
                <a:gd name="connsiteX274" fmla="*/ 422689 w 581025"/>
                <a:gd name="connsiteY274" fmla="*/ 182967 h 504825"/>
                <a:gd name="connsiteX275" fmla="*/ 419000 w 581025"/>
                <a:gd name="connsiteY275" fmla="*/ 179271 h 504825"/>
                <a:gd name="connsiteX276" fmla="*/ 404244 w 581025"/>
                <a:gd name="connsiteY276" fmla="*/ 171889 h 504825"/>
                <a:gd name="connsiteX277" fmla="*/ 404244 w 581025"/>
                <a:gd name="connsiteY277" fmla="*/ 168203 h 504825"/>
                <a:gd name="connsiteX278" fmla="*/ 407933 w 581025"/>
                <a:gd name="connsiteY278" fmla="*/ 168203 h 504825"/>
                <a:gd name="connsiteX279" fmla="*/ 411622 w 581025"/>
                <a:gd name="connsiteY279" fmla="*/ 168203 h 504825"/>
                <a:gd name="connsiteX280" fmla="*/ 411622 w 581025"/>
                <a:gd name="connsiteY280" fmla="*/ 164508 h 504825"/>
                <a:gd name="connsiteX281" fmla="*/ 415311 w 581025"/>
                <a:gd name="connsiteY281" fmla="*/ 160821 h 504825"/>
                <a:gd name="connsiteX282" fmla="*/ 411622 w 581025"/>
                <a:gd name="connsiteY282" fmla="*/ 160821 h 504825"/>
                <a:gd name="connsiteX283" fmla="*/ 415311 w 581025"/>
                <a:gd name="connsiteY283" fmla="*/ 157126 h 504825"/>
                <a:gd name="connsiteX284" fmla="*/ 419000 w 581025"/>
                <a:gd name="connsiteY284" fmla="*/ 153440 h 504825"/>
                <a:gd name="connsiteX285" fmla="*/ 426379 w 581025"/>
                <a:gd name="connsiteY285" fmla="*/ 153440 h 504825"/>
                <a:gd name="connsiteX286" fmla="*/ 426379 w 581025"/>
                <a:gd name="connsiteY286" fmla="*/ 157126 h 504825"/>
                <a:gd name="connsiteX287" fmla="*/ 430068 w 581025"/>
                <a:gd name="connsiteY287" fmla="*/ 157126 h 504825"/>
                <a:gd name="connsiteX288" fmla="*/ 437446 w 581025"/>
                <a:gd name="connsiteY288" fmla="*/ 157126 h 504825"/>
                <a:gd name="connsiteX289" fmla="*/ 441136 w 581025"/>
                <a:gd name="connsiteY289" fmla="*/ 157126 h 504825"/>
                <a:gd name="connsiteX290" fmla="*/ 444825 w 581025"/>
                <a:gd name="connsiteY290" fmla="*/ 157126 h 504825"/>
                <a:gd name="connsiteX291" fmla="*/ 444825 w 581025"/>
                <a:gd name="connsiteY291" fmla="*/ 142362 h 504825"/>
                <a:gd name="connsiteX292" fmla="*/ 455893 w 581025"/>
                <a:gd name="connsiteY292" fmla="*/ 138676 h 504825"/>
                <a:gd name="connsiteX293" fmla="*/ 441136 w 581025"/>
                <a:gd name="connsiteY293" fmla="*/ 127608 h 504825"/>
                <a:gd name="connsiteX294" fmla="*/ 437446 w 581025"/>
                <a:gd name="connsiteY294" fmla="*/ 123912 h 504825"/>
                <a:gd name="connsiteX295" fmla="*/ 430068 w 581025"/>
                <a:gd name="connsiteY295" fmla="*/ 123912 h 504825"/>
                <a:gd name="connsiteX296" fmla="*/ 426379 w 581025"/>
                <a:gd name="connsiteY296" fmla="*/ 120226 h 504825"/>
                <a:gd name="connsiteX297" fmla="*/ 422689 w 581025"/>
                <a:gd name="connsiteY297" fmla="*/ 116530 h 504825"/>
                <a:gd name="connsiteX298" fmla="*/ 422689 w 581025"/>
                <a:gd name="connsiteY298" fmla="*/ 112844 h 504825"/>
                <a:gd name="connsiteX299" fmla="*/ 419000 w 581025"/>
                <a:gd name="connsiteY299" fmla="*/ 112844 h 504825"/>
                <a:gd name="connsiteX300" fmla="*/ 415311 w 581025"/>
                <a:gd name="connsiteY300" fmla="*/ 109148 h 504825"/>
                <a:gd name="connsiteX301" fmla="*/ 415311 w 581025"/>
                <a:gd name="connsiteY301" fmla="*/ 105462 h 504825"/>
                <a:gd name="connsiteX302" fmla="*/ 411622 w 581025"/>
                <a:gd name="connsiteY302" fmla="*/ 105462 h 504825"/>
                <a:gd name="connsiteX303" fmla="*/ 411622 w 581025"/>
                <a:gd name="connsiteY303" fmla="*/ 101766 h 504825"/>
                <a:gd name="connsiteX304" fmla="*/ 411622 w 581025"/>
                <a:gd name="connsiteY304" fmla="*/ 94385 h 504825"/>
                <a:gd name="connsiteX305" fmla="*/ 407933 w 581025"/>
                <a:gd name="connsiteY305" fmla="*/ 90698 h 504825"/>
                <a:gd name="connsiteX306" fmla="*/ 407933 w 581025"/>
                <a:gd name="connsiteY306" fmla="*/ 87012 h 504825"/>
                <a:gd name="connsiteX307" fmla="*/ 404244 w 581025"/>
                <a:gd name="connsiteY307" fmla="*/ 87012 h 504825"/>
                <a:gd name="connsiteX308" fmla="*/ 400554 w 581025"/>
                <a:gd name="connsiteY308" fmla="*/ 87012 h 504825"/>
                <a:gd name="connsiteX309" fmla="*/ 396865 w 581025"/>
                <a:gd name="connsiteY309" fmla="*/ 87012 h 504825"/>
                <a:gd name="connsiteX310" fmla="*/ 396865 w 581025"/>
                <a:gd name="connsiteY310" fmla="*/ 90698 h 504825"/>
                <a:gd name="connsiteX311" fmla="*/ 393176 w 581025"/>
                <a:gd name="connsiteY311" fmla="*/ 94385 h 504825"/>
                <a:gd name="connsiteX312" fmla="*/ 385798 w 581025"/>
                <a:gd name="connsiteY312" fmla="*/ 94385 h 504825"/>
                <a:gd name="connsiteX313" fmla="*/ 382109 w 581025"/>
                <a:gd name="connsiteY313" fmla="*/ 94385 h 504825"/>
                <a:gd name="connsiteX314" fmla="*/ 378420 w 581025"/>
                <a:gd name="connsiteY314" fmla="*/ 101766 h 504825"/>
                <a:gd name="connsiteX315" fmla="*/ 374730 w 581025"/>
                <a:gd name="connsiteY315" fmla="*/ 98080 h 504825"/>
                <a:gd name="connsiteX316" fmla="*/ 371041 w 581025"/>
                <a:gd name="connsiteY316" fmla="*/ 94385 h 504825"/>
                <a:gd name="connsiteX317" fmla="*/ 374730 w 581025"/>
                <a:gd name="connsiteY317" fmla="*/ 83316 h 504825"/>
                <a:gd name="connsiteX318" fmla="*/ 363663 w 581025"/>
                <a:gd name="connsiteY318" fmla="*/ 79630 h 504825"/>
                <a:gd name="connsiteX319" fmla="*/ 359974 w 581025"/>
                <a:gd name="connsiteY319" fmla="*/ 83316 h 504825"/>
                <a:gd name="connsiteX320" fmla="*/ 356285 w 581025"/>
                <a:gd name="connsiteY320" fmla="*/ 87012 h 504825"/>
                <a:gd name="connsiteX321" fmla="*/ 352595 w 581025"/>
                <a:gd name="connsiteY321" fmla="*/ 87012 h 504825"/>
                <a:gd name="connsiteX322" fmla="*/ 348906 w 581025"/>
                <a:gd name="connsiteY322" fmla="*/ 87012 h 504825"/>
                <a:gd name="connsiteX323" fmla="*/ 345217 w 581025"/>
                <a:gd name="connsiteY323" fmla="*/ 83316 h 504825"/>
                <a:gd name="connsiteX324" fmla="*/ 345217 w 581025"/>
                <a:gd name="connsiteY324" fmla="*/ 87012 h 504825"/>
                <a:gd name="connsiteX325" fmla="*/ 341528 w 581025"/>
                <a:gd name="connsiteY325" fmla="*/ 87012 h 504825"/>
                <a:gd name="connsiteX326" fmla="*/ 334150 w 581025"/>
                <a:gd name="connsiteY326" fmla="*/ 90698 h 504825"/>
                <a:gd name="connsiteX327" fmla="*/ 330460 w 581025"/>
                <a:gd name="connsiteY327" fmla="*/ 94385 h 504825"/>
                <a:gd name="connsiteX328" fmla="*/ 326771 w 581025"/>
                <a:gd name="connsiteY328" fmla="*/ 94385 h 504825"/>
                <a:gd name="connsiteX329" fmla="*/ 323082 w 581025"/>
                <a:gd name="connsiteY329" fmla="*/ 94385 h 504825"/>
                <a:gd name="connsiteX330" fmla="*/ 312015 w 581025"/>
                <a:gd name="connsiteY330" fmla="*/ 94385 h 504825"/>
                <a:gd name="connsiteX331" fmla="*/ 304636 w 581025"/>
                <a:gd name="connsiteY331" fmla="*/ 90698 h 504825"/>
                <a:gd name="connsiteX332" fmla="*/ 300947 w 581025"/>
                <a:gd name="connsiteY332" fmla="*/ 94385 h 504825"/>
                <a:gd name="connsiteX333" fmla="*/ 297258 w 581025"/>
                <a:gd name="connsiteY333" fmla="*/ 94385 h 504825"/>
                <a:gd name="connsiteX334" fmla="*/ 293568 w 581025"/>
                <a:gd name="connsiteY334" fmla="*/ 90698 h 504825"/>
                <a:gd name="connsiteX335" fmla="*/ 289879 w 581025"/>
                <a:gd name="connsiteY335" fmla="*/ 90698 h 504825"/>
                <a:gd name="connsiteX336" fmla="*/ 289879 w 581025"/>
                <a:gd name="connsiteY336" fmla="*/ 87012 h 504825"/>
                <a:gd name="connsiteX337" fmla="*/ 289879 w 581025"/>
                <a:gd name="connsiteY337" fmla="*/ 83316 h 504825"/>
                <a:gd name="connsiteX338" fmla="*/ 289879 w 581025"/>
                <a:gd name="connsiteY338" fmla="*/ 79630 h 504825"/>
                <a:gd name="connsiteX339" fmla="*/ 293568 w 581025"/>
                <a:gd name="connsiteY339" fmla="*/ 79630 h 504825"/>
                <a:gd name="connsiteX340" fmla="*/ 293568 w 581025"/>
                <a:gd name="connsiteY340" fmla="*/ 75935 h 504825"/>
                <a:gd name="connsiteX341" fmla="*/ 297258 w 581025"/>
                <a:gd name="connsiteY341" fmla="*/ 72248 h 504825"/>
                <a:gd name="connsiteX342" fmla="*/ 297258 w 581025"/>
                <a:gd name="connsiteY342" fmla="*/ 64867 h 504825"/>
                <a:gd name="connsiteX343" fmla="*/ 297258 w 581025"/>
                <a:gd name="connsiteY343" fmla="*/ 61171 h 504825"/>
                <a:gd name="connsiteX344" fmla="*/ 297258 w 581025"/>
                <a:gd name="connsiteY344" fmla="*/ 57485 h 504825"/>
                <a:gd name="connsiteX345" fmla="*/ 297258 w 581025"/>
                <a:gd name="connsiteY345" fmla="*/ 53789 h 504825"/>
                <a:gd name="connsiteX346" fmla="*/ 300947 w 581025"/>
                <a:gd name="connsiteY346" fmla="*/ 50103 h 504825"/>
                <a:gd name="connsiteX347" fmla="*/ 304636 w 581025"/>
                <a:gd name="connsiteY347" fmla="*/ 46407 h 504825"/>
                <a:gd name="connsiteX348" fmla="*/ 308326 w 581025"/>
                <a:gd name="connsiteY348" fmla="*/ 42721 h 504825"/>
                <a:gd name="connsiteX349" fmla="*/ 308326 w 581025"/>
                <a:gd name="connsiteY349" fmla="*/ 39035 h 504825"/>
                <a:gd name="connsiteX350" fmla="*/ 308326 w 581025"/>
                <a:gd name="connsiteY350" fmla="*/ 35339 h 504825"/>
                <a:gd name="connsiteX351" fmla="*/ 312015 w 581025"/>
                <a:gd name="connsiteY351" fmla="*/ 35339 h 504825"/>
                <a:gd name="connsiteX352" fmla="*/ 312015 w 581025"/>
                <a:gd name="connsiteY352" fmla="*/ 27957 h 504825"/>
                <a:gd name="connsiteX353" fmla="*/ 315704 w 581025"/>
                <a:gd name="connsiteY353" fmla="*/ 24271 h 504825"/>
                <a:gd name="connsiteX354" fmla="*/ 319393 w 581025"/>
                <a:gd name="connsiteY354" fmla="*/ 16889 h 504825"/>
                <a:gd name="connsiteX355" fmla="*/ 312015 w 581025"/>
                <a:gd name="connsiteY355" fmla="*/ 13193 h 504825"/>
                <a:gd name="connsiteX356" fmla="*/ 308326 w 581025"/>
                <a:gd name="connsiteY356" fmla="*/ 13193 h 504825"/>
                <a:gd name="connsiteX357" fmla="*/ 304636 w 581025"/>
                <a:gd name="connsiteY357" fmla="*/ 13193 h 504825"/>
                <a:gd name="connsiteX358" fmla="*/ 300947 w 581025"/>
                <a:gd name="connsiteY358" fmla="*/ 16889 h 504825"/>
                <a:gd name="connsiteX359" fmla="*/ 297258 w 581025"/>
                <a:gd name="connsiteY359" fmla="*/ 13193 h 504825"/>
                <a:gd name="connsiteX360" fmla="*/ 297258 w 581025"/>
                <a:gd name="connsiteY360" fmla="*/ 20575 h 504825"/>
                <a:gd name="connsiteX361" fmla="*/ 286190 w 581025"/>
                <a:gd name="connsiteY361" fmla="*/ 16889 h 504825"/>
                <a:gd name="connsiteX362" fmla="*/ 260365 w 581025"/>
                <a:gd name="connsiteY362" fmla="*/ 5812 h 504825"/>
                <a:gd name="connsiteX363" fmla="*/ 42704 w 581025"/>
                <a:gd name="connsiteY363" fmla="*/ 389631 h 504825"/>
                <a:gd name="connsiteX364" fmla="*/ 39015 w 581025"/>
                <a:gd name="connsiteY364" fmla="*/ 393327 h 504825"/>
                <a:gd name="connsiteX365" fmla="*/ 42704 w 581025"/>
                <a:gd name="connsiteY365" fmla="*/ 393327 h 504825"/>
                <a:gd name="connsiteX366" fmla="*/ 42704 w 581025"/>
                <a:gd name="connsiteY366" fmla="*/ 389631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Lst>
              <a:rect l="l" t="t" r="r" b="b"/>
              <a:pathLst>
                <a:path w="581025" h="504825">
                  <a:moveTo>
                    <a:pt x="260365" y="5812"/>
                  </a:moveTo>
                  <a:lnTo>
                    <a:pt x="238230" y="53789"/>
                  </a:lnTo>
                  <a:lnTo>
                    <a:pt x="230852" y="64867"/>
                  </a:lnTo>
                  <a:lnTo>
                    <a:pt x="227163" y="72248"/>
                  </a:lnTo>
                  <a:lnTo>
                    <a:pt x="216096" y="90698"/>
                  </a:lnTo>
                  <a:lnTo>
                    <a:pt x="212406" y="94385"/>
                  </a:lnTo>
                  <a:lnTo>
                    <a:pt x="212406" y="98080"/>
                  </a:lnTo>
                  <a:lnTo>
                    <a:pt x="205028" y="109148"/>
                  </a:lnTo>
                  <a:lnTo>
                    <a:pt x="201339" y="116530"/>
                  </a:lnTo>
                  <a:lnTo>
                    <a:pt x="190271" y="131294"/>
                  </a:lnTo>
                  <a:lnTo>
                    <a:pt x="168136" y="160821"/>
                  </a:lnTo>
                  <a:lnTo>
                    <a:pt x="157069" y="168203"/>
                  </a:lnTo>
                  <a:lnTo>
                    <a:pt x="157069" y="171889"/>
                  </a:lnTo>
                  <a:lnTo>
                    <a:pt x="149690" y="179271"/>
                  </a:lnTo>
                  <a:lnTo>
                    <a:pt x="146001" y="179271"/>
                  </a:lnTo>
                  <a:lnTo>
                    <a:pt x="146001" y="182967"/>
                  </a:lnTo>
                  <a:lnTo>
                    <a:pt x="146001" y="186653"/>
                  </a:lnTo>
                  <a:lnTo>
                    <a:pt x="149690" y="186653"/>
                  </a:lnTo>
                  <a:lnTo>
                    <a:pt x="146001" y="190339"/>
                  </a:lnTo>
                  <a:lnTo>
                    <a:pt x="146001" y="186653"/>
                  </a:lnTo>
                  <a:lnTo>
                    <a:pt x="142311" y="186653"/>
                  </a:lnTo>
                  <a:lnTo>
                    <a:pt x="138622" y="190339"/>
                  </a:lnTo>
                  <a:lnTo>
                    <a:pt x="134933" y="197721"/>
                  </a:lnTo>
                  <a:lnTo>
                    <a:pt x="131244" y="201417"/>
                  </a:lnTo>
                  <a:lnTo>
                    <a:pt x="120176" y="212485"/>
                  </a:lnTo>
                  <a:lnTo>
                    <a:pt x="112798" y="219867"/>
                  </a:lnTo>
                  <a:lnTo>
                    <a:pt x="101731" y="234631"/>
                  </a:lnTo>
                  <a:lnTo>
                    <a:pt x="98041" y="238317"/>
                  </a:lnTo>
                  <a:lnTo>
                    <a:pt x="90663" y="245699"/>
                  </a:lnTo>
                  <a:lnTo>
                    <a:pt x="86974" y="249394"/>
                  </a:lnTo>
                  <a:lnTo>
                    <a:pt x="86974" y="253081"/>
                  </a:lnTo>
                  <a:lnTo>
                    <a:pt x="79596" y="264158"/>
                  </a:lnTo>
                  <a:lnTo>
                    <a:pt x="72217" y="267844"/>
                  </a:lnTo>
                  <a:lnTo>
                    <a:pt x="64839" y="275226"/>
                  </a:lnTo>
                  <a:lnTo>
                    <a:pt x="61150" y="275226"/>
                  </a:lnTo>
                  <a:lnTo>
                    <a:pt x="57461" y="271540"/>
                  </a:lnTo>
                  <a:lnTo>
                    <a:pt x="39015" y="267844"/>
                  </a:lnTo>
                  <a:lnTo>
                    <a:pt x="35326" y="271540"/>
                  </a:lnTo>
                  <a:lnTo>
                    <a:pt x="31637" y="271540"/>
                  </a:lnTo>
                  <a:lnTo>
                    <a:pt x="27947" y="271540"/>
                  </a:lnTo>
                  <a:lnTo>
                    <a:pt x="24258" y="275226"/>
                  </a:lnTo>
                  <a:lnTo>
                    <a:pt x="24258" y="278922"/>
                  </a:lnTo>
                  <a:lnTo>
                    <a:pt x="20569" y="282608"/>
                  </a:lnTo>
                  <a:lnTo>
                    <a:pt x="16880" y="289990"/>
                  </a:lnTo>
                  <a:lnTo>
                    <a:pt x="20569" y="293676"/>
                  </a:lnTo>
                  <a:lnTo>
                    <a:pt x="24258" y="297372"/>
                  </a:lnTo>
                  <a:lnTo>
                    <a:pt x="24258" y="301058"/>
                  </a:lnTo>
                  <a:lnTo>
                    <a:pt x="16880" y="308440"/>
                  </a:lnTo>
                  <a:lnTo>
                    <a:pt x="13191" y="315822"/>
                  </a:lnTo>
                  <a:lnTo>
                    <a:pt x="5812" y="326899"/>
                  </a:lnTo>
                  <a:lnTo>
                    <a:pt x="9502" y="326899"/>
                  </a:lnTo>
                  <a:lnTo>
                    <a:pt x="13191" y="326899"/>
                  </a:lnTo>
                  <a:lnTo>
                    <a:pt x="16880" y="330585"/>
                  </a:lnTo>
                  <a:lnTo>
                    <a:pt x="20569" y="326899"/>
                  </a:lnTo>
                  <a:lnTo>
                    <a:pt x="35326" y="323204"/>
                  </a:lnTo>
                  <a:lnTo>
                    <a:pt x="39015" y="323204"/>
                  </a:lnTo>
                  <a:lnTo>
                    <a:pt x="42704" y="330585"/>
                  </a:lnTo>
                  <a:lnTo>
                    <a:pt x="39015" y="330585"/>
                  </a:lnTo>
                  <a:lnTo>
                    <a:pt x="39015" y="334272"/>
                  </a:lnTo>
                  <a:lnTo>
                    <a:pt x="31637" y="341654"/>
                  </a:lnTo>
                  <a:lnTo>
                    <a:pt x="31637" y="345349"/>
                  </a:lnTo>
                  <a:lnTo>
                    <a:pt x="27947" y="349035"/>
                  </a:lnTo>
                  <a:lnTo>
                    <a:pt x="27947" y="352731"/>
                  </a:lnTo>
                  <a:lnTo>
                    <a:pt x="31637" y="356417"/>
                  </a:lnTo>
                  <a:lnTo>
                    <a:pt x="46393" y="378563"/>
                  </a:lnTo>
                  <a:lnTo>
                    <a:pt x="46393" y="382249"/>
                  </a:lnTo>
                  <a:lnTo>
                    <a:pt x="46393" y="385945"/>
                  </a:lnTo>
                  <a:lnTo>
                    <a:pt x="42704" y="389631"/>
                  </a:lnTo>
                  <a:lnTo>
                    <a:pt x="50082" y="385945"/>
                  </a:lnTo>
                  <a:lnTo>
                    <a:pt x="53772" y="389631"/>
                  </a:lnTo>
                  <a:lnTo>
                    <a:pt x="57461" y="393327"/>
                  </a:lnTo>
                  <a:lnTo>
                    <a:pt x="61150" y="397013"/>
                  </a:lnTo>
                  <a:lnTo>
                    <a:pt x="61150" y="400709"/>
                  </a:lnTo>
                  <a:lnTo>
                    <a:pt x="64839" y="400709"/>
                  </a:lnTo>
                  <a:lnTo>
                    <a:pt x="68528" y="400709"/>
                  </a:lnTo>
                  <a:lnTo>
                    <a:pt x="72217" y="400709"/>
                  </a:lnTo>
                  <a:lnTo>
                    <a:pt x="75906" y="400709"/>
                  </a:lnTo>
                  <a:lnTo>
                    <a:pt x="72217" y="404395"/>
                  </a:lnTo>
                  <a:lnTo>
                    <a:pt x="75906" y="408090"/>
                  </a:lnTo>
                  <a:lnTo>
                    <a:pt x="79596" y="408090"/>
                  </a:lnTo>
                  <a:lnTo>
                    <a:pt x="79596" y="404395"/>
                  </a:lnTo>
                  <a:lnTo>
                    <a:pt x="83285" y="404395"/>
                  </a:lnTo>
                  <a:lnTo>
                    <a:pt x="86974" y="404395"/>
                  </a:lnTo>
                  <a:lnTo>
                    <a:pt x="90663" y="404395"/>
                  </a:lnTo>
                  <a:lnTo>
                    <a:pt x="94352" y="408090"/>
                  </a:lnTo>
                  <a:lnTo>
                    <a:pt x="101731" y="419158"/>
                  </a:lnTo>
                  <a:lnTo>
                    <a:pt x="105420" y="419158"/>
                  </a:lnTo>
                  <a:lnTo>
                    <a:pt x="109109" y="419158"/>
                  </a:lnTo>
                  <a:lnTo>
                    <a:pt x="112798" y="419158"/>
                  </a:lnTo>
                  <a:lnTo>
                    <a:pt x="112798" y="422854"/>
                  </a:lnTo>
                  <a:lnTo>
                    <a:pt x="120176" y="422854"/>
                  </a:lnTo>
                  <a:lnTo>
                    <a:pt x="123866" y="430227"/>
                  </a:lnTo>
                  <a:lnTo>
                    <a:pt x="127555" y="433922"/>
                  </a:lnTo>
                  <a:lnTo>
                    <a:pt x="131244" y="433922"/>
                  </a:lnTo>
                  <a:lnTo>
                    <a:pt x="134933" y="433922"/>
                  </a:lnTo>
                  <a:lnTo>
                    <a:pt x="131244" y="437608"/>
                  </a:lnTo>
                  <a:lnTo>
                    <a:pt x="127555" y="437608"/>
                  </a:lnTo>
                  <a:lnTo>
                    <a:pt x="131244" y="444990"/>
                  </a:lnTo>
                  <a:lnTo>
                    <a:pt x="134933" y="448686"/>
                  </a:lnTo>
                  <a:lnTo>
                    <a:pt x="146001" y="452372"/>
                  </a:lnTo>
                  <a:lnTo>
                    <a:pt x="146001" y="456068"/>
                  </a:lnTo>
                  <a:lnTo>
                    <a:pt x="153380" y="456068"/>
                  </a:lnTo>
                  <a:lnTo>
                    <a:pt x="160758" y="459754"/>
                  </a:lnTo>
                  <a:lnTo>
                    <a:pt x="168136" y="459754"/>
                  </a:lnTo>
                  <a:lnTo>
                    <a:pt x="168136" y="463450"/>
                  </a:lnTo>
                  <a:lnTo>
                    <a:pt x="182893" y="467136"/>
                  </a:lnTo>
                  <a:lnTo>
                    <a:pt x="190271" y="474518"/>
                  </a:lnTo>
                  <a:lnTo>
                    <a:pt x="193961" y="474518"/>
                  </a:lnTo>
                  <a:lnTo>
                    <a:pt x="201339" y="478204"/>
                  </a:lnTo>
                  <a:lnTo>
                    <a:pt x="212406" y="485586"/>
                  </a:lnTo>
                  <a:lnTo>
                    <a:pt x="216096" y="485586"/>
                  </a:lnTo>
                  <a:lnTo>
                    <a:pt x="219785" y="489281"/>
                  </a:lnTo>
                  <a:lnTo>
                    <a:pt x="227163" y="489281"/>
                  </a:lnTo>
                  <a:lnTo>
                    <a:pt x="227163" y="492968"/>
                  </a:lnTo>
                  <a:lnTo>
                    <a:pt x="241920" y="492968"/>
                  </a:lnTo>
                  <a:lnTo>
                    <a:pt x="245609" y="492968"/>
                  </a:lnTo>
                  <a:lnTo>
                    <a:pt x="252987" y="496663"/>
                  </a:lnTo>
                  <a:lnTo>
                    <a:pt x="256676" y="496663"/>
                  </a:lnTo>
                  <a:lnTo>
                    <a:pt x="260365" y="496663"/>
                  </a:lnTo>
                  <a:lnTo>
                    <a:pt x="264055" y="500350"/>
                  </a:lnTo>
                  <a:lnTo>
                    <a:pt x="267744" y="500350"/>
                  </a:lnTo>
                  <a:lnTo>
                    <a:pt x="271433" y="504045"/>
                  </a:lnTo>
                  <a:lnTo>
                    <a:pt x="275122" y="504045"/>
                  </a:lnTo>
                  <a:lnTo>
                    <a:pt x="282500" y="500350"/>
                  </a:lnTo>
                  <a:lnTo>
                    <a:pt x="286190" y="500350"/>
                  </a:lnTo>
                  <a:lnTo>
                    <a:pt x="297258" y="496663"/>
                  </a:lnTo>
                  <a:lnTo>
                    <a:pt x="300947" y="496663"/>
                  </a:lnTo>
                  <a:lnTo>
                    <a:pt x="304636" y="492968"/>
                  </a:lnTo>
                  <a:lnTo>
                    <a:pt x="312015" y="492968"/>
                  </a:lnTo>
                  <a:lnTo>
                    <a:pt x="315704" y="485586"/>
                  </a:lnTo>
                  <a:lnTo>
                    <a:pt x="319393" y="489281"/>
                  </a:lnTo>
                  <a:lnTo>
                    <a:pt x="323082" y="489281"/>
                  </a:lnTo>
                  <a:lnTo>
                    <a:pt x="330460" y="485586"/>
                  </a:lnTo>
                  <a:lnTo>
                    <a:pt x="330460" y="489281"/>
                  </a:lnTo>
                  <a:lnTo>
                    <a:pt x="345217" y="485586"/>
                  </a:lnTo>
                  <a:lnTo>
                    <a:pt x="348906" y="481900"/>
                  </a:lnTo>
                  <a:lnTo>
                    <a:pt x="352595" y="478204"/>
                  </a:lnTo>
                  <a:lnTo>
                    <a:pt x="359974" y="474518"/>
                  </a:lnTo>
                  <a:lnTo>
                    <a:pt x="371041" y="467136"/>
                  </a:lnTo>
                  <a:lnTo>
                    <a:pt x="374730" y="459754"/>
                  </a:lnTo>
                  <a:lnTo>
                    <a:pt x="378420" y="456068"/>
                  </a:lnTo>
                  <a:lnTo>
                    <a:pt x="382109" y="444990"/>
                  </a:lnTo>
                  <a:lnTo>
                    <a:pt x="385798" y="441304"/>
                  </a:lnTo>
                  <a:lnTo>
                    <a:pt x="389487" y="437608"/>
                  </a:lnTo>
                  <a:lnTo>
                    <a:pt x="389487" y="433922"/>
                  </a:lnTo>
                  <a:lnTo>
                    <a:pt x="393176" y="430227"/>
                  </a:lnTo>
                  <a:lnTo>
                    <a:pt x="396865" y="430227"/>
                  </a:lnTo>
                  <a:lnTo>
                    <a:pt x="404244" y="426540"/>
                  </a:lnTo>
                  <a:lnTo>
                    <a:pt x="411622" y="426540"/>
                  </a:lnTo>
                  <a:lnTo>
                    <a:pt x="419000" y="426540"/>
                  </a:lnTo>
                  <a:lnTo>
                    <a:pt x="426379" y="426540"/>
                  </a:lnTo>
                  <a:lnTo>
                    <a:pt x="430068" y="426540"/>
                  </a:lnTo>
                  <a:lnTo>
                    <a:pt x="437446" y="422854"/>
                  </a:lnTo>
                  <a:lnTo>
                    <a:pt x="441136" y="422854"/>
                  </a:lnTo>
                  <a:lnTo>
                    <a:pt x="448515" y="411777"/>
                  </a:lnTo>
                  <a:lnTo>
                    <a:pt x="452204" y="411777"/>
                  </a:lnTo>
                  <a:lnTo>
                    <a:pt x="459582" y="408090"/>
                  </a:lnTo>
                  <a:lnTo>
                    <a:pt x="463271" y="404395"/>
                  </a:lnTo>
                  <a:lnTo>
                    <a:pt x="470650" y="404395"/>
                  </a:lnTo>
                  <a:lnTo>
                    <a:pt x="474339" y="404395"/>
                  </a:lnTo>
                  <a:lnTo>
                    <a:pt x="478028" y="404395"/>
                  </a:lnTo>
                  <a:lnTo>
                    <a:pt x="485406" y="408090"/>
                  </a:lnTo>
                  <a:lnTo>
                    <a:pt x="492784" y="408090"/>
                  </a:lnTo>
                  <a:lnTo>
                    <a:pt x="496474" y="408090"/>
                  </a:lnTo>
                  <a:lnTo>
                    <a:pt x="500163" y="411777"/>
                  </a:lnTo>
                  <a:lnTo>
                    <a:pt x="507541" y="411777"/>
                  </a:lnTo>
                  <a:lnTo>
                    <a:pt x="511230" y="411777"/>
                  </a:lnTo>
                  <a:lnTo>
                    <a:pt x="518609" y="411777"/>
                  </a:lnTo>
                  <a:lnTo>
                    <a:pt x="518609" y="408090"/>
                  </a:lnTo>
                  <a:lnTo>
                    <a:pt x="522298" y="393327"/>
                  </a:lnTo>
                  <a:lnTo>
                    <a:pt x="514919" y="393327"/>
                  </a:lnTo>
                  <a:lnTo>
                    <a:pt x="511230" y="393327"/>
                  </a:lnTo>
                  <a:lnTo>
                    <a:pt x="507541" y="393327"/>
                  </a:lnTo>
                  <a:lnTo>
                    <a:pt x="503852" y="389631"/>
                  </a:lnTo>
                  <a:lnTo>
                    <a:pt x="507541" y="389631"/>
                  </a:lnTo>
                  <a:lnTo>
                    <a:pt x="503852" y="385945"/>
                  </a:lnTo>
                  <a:lnTo>
                    <a:pt x="503852" y="382249"/>
                  </a:lnTo>
                  <a:lnTo>
                    <a:pt x="503852" y="378563"/>
                  </a:lnTo>
                  <a:lnTo>
                    <a:pt x="507541" y="382249"/>
                  </a:lnTo>
                  <a:lnTo>
                    <a:pt x="514919" y="378563"/>
                  </a:lnTo>
                  <a:lnTo>
                    <a:pt x="518609" y="382249"/>
                  </a:lnTo>
                  <a:lnTo>
                    <a:pt x="529676" y="378563"/>
                  </a:lnTo>
                  <a:lnTo>
                    <a:pt x="533365" y="382249"/>
                  </a:lnTo>
                  <a:lnTo>
                    <a:pt x="537054" y="382249"/>
                  </a:lnTo>
                  <a:lnTo>
                    <a:pt x="537054" y="378563"/>
                  </a:lnTo>
                  <a:lnTo>
                    <a:pt x="533365" y="374877"/>
                  </a:lnTo>
                  <a:lnTo>
                    <a:pt x="533365" y="371181"/>
                  </a:lnTo>
                  <a:lnTo>
                    <a:pt x="533365" y="367495"/>
                  </a:lnTo>
                  <a:lnTo>
                    <a:pt x="537054" y="367495"/>
                  </a:lnTo>
                  <a:lnTo>
                    <a:pt x="540744" y="367495"/>
                  </a:lnTo>
                  <a:lnTo>
                    <a:pt x="544433" y="367495"/>
                  </a:lnTo>
                  <a:lnTo>
                    <a:pt x="548122" y="363799"/>
                  </a:lnTo>
                  <a:lnTo>
                    <a:pt x="548122" y="356417"/>
                  </a:lnTo>
                  <a:lnTo>
                    <a:pt x="551811" y="356417"/>
                  </a:lnTo>
                  <a:lnTo>
                    <a:pt x="559189" y="356417"/>
                  </a:lnTo>
                  <a:lnTo>
                    <a:pt x="562879" y="356417"/>
                  </a:lnTo>
                  <a:lnTo>
                    <a:pt x="562879" y="352731"/>
                  </a:lnTo>
                  <a:lnTo>
                    <a:pt x="566568" y="349035"/>
                  </a:lnTo>
                  <a:lnTo>
                    <a:pt x="570257" y="337967"/>
                  </a:lnTo>
                  <a:lnTo>
                    <a:pt x="570257" y="334272"/>
                  </a:lnTo>
                  <a:lnTo>
                    <a:pt x="573946" y="334272"/>
                  </a:lnTo>
                  <a:lnTo>
                    <a:pt x="577635" y="326899"/>
                  </a:lnTo>
                  <a:lnTo>
                    <a:pt x="581324" y="323204"/>
                  </a:lnTo>
                  <a:lnTo>
                    <a:pt x="577635" y="323204"/>
                  </a:lnTo>
                  <a:lnTo>
                    <a:pt x="581324" y="319517"/>
                  </a:lnTo>
                  <a:lnTo>
                    <a:pt x="577635" y="319517"/>
                  </a:lnTo>
                  <a:lnTo>
                    <a:pt x="573946" y="319517"/>
                  </a:lnTo>
                  <a:lnTo>
                    <a:pt x="570257" y="319517"/>
                  </a:lnTo>
                  <a:lnTo>
                    <a:pt x="555500" y="312136"/>
                  </a:lnTo>
                  <a:lnTo>
                    <a:pt x="548122" y="308440"/>
                  </a:lnTo>
                  <a:lnTo>
                    <a:pt x="533365" y="304754"/>
                  </a:lnTo>
                  <a:lnTo>
                    <a:pt x="537054" y="297372"/>
                  </a:lnTo>
                  <a:lnTo>
                    <a:pt x="533365" y="286294"/>
                  </a:lnTo>
                  <a:lnTo>
                    <a:pt x="529676" y="286294"/>
                  </a:lnTo>
                  <a:lnTo>
                    <a:pt x="525987" y="286294"/>
                  </a:lnTo>
                  <a:lnTo>
                    <a:pt x="525987" y="289990"/>
                  </a:lnTo>
                  <a:lnTo>
                    <a:pt x="522298" y="293676"/>
                  </a:lnTo>
                  <a:lnTo>
                    <a:pt x="518609" y="293676"/>
                  </a:lnTo>
                  <a:lnTo>
                    <a:pt x="511230" y="286294"/>
                  </a:lnTo>
                  <a:lnTo>
                    <a:pt x="507541" y="286294"/>
                  </a:lnTo>
                  <a:lnTo>
                    <a:pt x="503852" y="286294"/>
                  </a:lnTo>
                  <a:lnTo>
                    <a:pt x="500163" y="289990"/>
                  </a:lnTo>
                  <a:lnTo>
                    <a:pt x="496474" y="293676"/>
                  </a:lnTo>
                  <a:lnTo>
                    <a:pt x="496474" y="297372"/>
                  </a:lnTo>
                  <a:lnTo>
                    <a:pt x="492784" y="301058"/>
                  </a:lnTo>
                  <a:lnTo>
                    <a:pt x="489095" y="301058"/>
                  </a:lnTo>
                  <a:lnTo>
                    <a:pt x="485406" y="297372"/>
                  </a:lnTo>
                  <a:lnTo>
                    <a:pt x="481717" y="297372"/>
                  </a:lnTo>
                  <a:lnTo>
                    <a:pt x="478028" y="297372"/>
                  </a:lnTo>
                  <a:lnTo>
                    <a:pt x="474339" y="301058"/>
                  </a:lnTo>
                  <a:lnTo>
                    <a:pt x="470650" y="308440"/>
                  </a:lnTo>
                  <a:lnTo>
                    <a:pt x="466960" y="308440"/>
                  </a:lnTo>
                  <a:lnTo>
                    <a:pt x="466960" y="312136"/>
                  </a:lnTo>
                  <a:lnTo>
                    <a:pt x="463271" y="312136"/>
                  </a:lnTo>
                  <a:lnTo>
                    <a:pt x="459582" y="315822"/>
                  </a:lnTo>
                  <a:lnTo>
                    <a:pt x="455893" y="315822"/>
                  </a:lnTo>
                  <a:lnTo>
                    <a:pt x="448515" y="315822"/>
                  </a:lnTo>
                  <a:lnTo>
                    <a:pt x="444825" y="315822"/>
                  </a:lnTo>
                  <a:lnTo>
                    <a:pt x="444825" y="312136"/>
                  </a:lnTo>
                  <a:lnTo>
                    <a:pt x="444825" y="304754"/>
                  </a:lnTo>
                  <a:lnTo>
                    <a:pt x="441136" y="301058"/>
                  </a:lnTo>
                  <a:lnTo>
                    <a:pt x="441136" y="297372"/>
                  </a:lnTo>
                  <a:lnTo>
                    <a:pt x="437446" y="293676"/>
                  </a:lnTo>
                  <a:lnTo>
                    <a:pt x="433757" y="289990"/>
                  </a:lnTo>
                  <a:lnTo>
                    <a:pt x="430068" y="286294"/>
                  </a:lnTo>
                  <a:lnTo>
                    <a:pt x="426379" y="278922"/>
                  </a:lnTo>
                  <a:lnTo>
                    <a:pt x="422689" y="271540"/>
                  </a:lnTo>
                  <a:lnTo>
                    <a:pt x="419000" y="267844"/>
                  </a:lnTo>
                  <a:lnTo>
                    <a:pt x="433757" y="264158"/>
                  </a:lnTo>
                  <a:lnTo>
                    <a:pt x="437446" y="264158"/>
                  </a:lnTo>
                  <a:lnTo>
                    <a:pt x="433757" y="253081"/>
                  </a:lnTo>
                  <a:lnTo>
                    <a:pt x="430068" y="253081"/>
                  </a:lnTo>
                  <a:lnTo>
                    <a:pt x="426379" y="253081"/>
                  </a:lnTo>
                  <a:lnTo>
                    <a:pt x="422689" y="253081"/>
                  </a:lnTo>
                  <a:lnTo>
                    <a:pt x="419000" y="253081"/>
                  </a:lnTo>
                  <a:lnTo>
                    <a:pt x="415311" y="256776"/>
                  </a:lnTo>
                  <a:lnTo>
                    <a:pt x="411622" y="256776"/>
                  </a:lnTo>
                  <a:lnTo>
                    <a:pt x="407933" y="249394"/>
                  </a:lnTo>
                  <a:lnTo>
                    <a:pt x="411622" y="245699"/>
                  </a:lnTo>
                  <a:lnTo>
                    <a:pt x="411622" y="242013"/>
                  </a:lnTo>
                  <a:lnTo>
                    <a:pt x="415311" y="242013"/>
                  </a:lnTo>
                  <a:lnTo>
                    <a:pt x="419000" y="238317"/>
                  </a:lnTo>
                  <a:lnTo>
                    <a:pt x="422689" y="227249"/>
                  </a:lnTo>
                  <a:lnTo>
                    <a:pt x="433757" y="219867"/>
                  </a:lnTo>
                  <a:lnTo>
                    <a:pt x="437446" y="219867"/>
                  </a:lnTo>
                  <a:lnTo>
                    <a:pt x="441136" y="216181"/>
                  </a:lnTo>
                  <a:lnTo>
                    <a:pt x="444825" y="212485"/>
                  </a:lnTo>
                  <a:lnTo>
                    <a:pt x="430068" y="212485"/>
                  </a:lnTo>
                  <a:lnTo>
                    <a:pt x="422689" y="212485"/>
                  </a:lnTo>
                  <a:lnTo>
                    <a:pt x="426379" y="208799"/>
                  </a:lnTo>
                  <a:lnTo>
                    <a:pt x="422689" y="208799"/>
                  </a:lnTo>
                  <a:lnTo>
                    <a:pt x="422689" y="205103"/>
                  </a:lnTo>
                  <a:lnTo>
                    <a:pt x="419000" y="194035"/>
                  </a:lnTo>
                  <a:lnTo>
                    <a:pt x="419000" y="182967"/>
                  </a:lnTo>
                  <a:lnTo>
                    <a:pt x="422689" y="182967"/>
                  </a:lnTo>
                  <a:lnTo>
                    <a:pt x="419000" y="179271"/>
                  </a:lnTo>
                  <a:lnTo>
                    <a:pt x="404244" y="171889"/>
                  </a:lnTo>
                  <a:lnTo>
                    <a:pt x="404244" y="168203"/>
                  </a:lnTo>
                  <a:lnTo>
                    <a:pt x="407933" y="168203"/>
                  </a:lnTo>
                  <a:lnTo>
                    <a:pt x="411622" y="168203"/>
                  </a:lnTo>
                  <a:lnTo>
                    <a:pt x="411622" y="164508"/>
                  </a:lnTo>
                  <a:lnTo>
                    <a:pt x="415311" y="160821"/>
                  </a:lnTo>
                  <a:lnTo>
                    <a:pt x="411622" y="160821"/>
                  </a:lnTo>
                  <a:lnTo>
                    <a:pt x="415311" y="157126"/>
                  </a:lnTo>
                  <a:lnTo>
                    <a:pt x="419000" y="153440"/>
                  </a:lnTo>
                  <a:lnTo>
                    <a:pt x="426379" y="153440"/>
                  </a:lnTo>
                  <a:lnTo>
                    <a:pt x="426379" y="157126"/>
                  </a:lnTo>
                  <a:lnTo>
                    <a:pt x="430068" y="157126"/>
                  </a:lnTo>
                  <a:lnTo>
                    <a:pt x="437446" y="157126"/>
                  </a:lnTo>
                  <a:lnTo>
                    <a:pt x="441136" y="157126"/>
                  </a:lnTo>
                  <a:lnTo>
                    <a:pt x="444825" y="157126"/>
                  </a:lnTo>
                  <a:lnTo>
                    <a:pt x="444825" y="142362"/>
                  </a:lnTo>
                  <a:lnTo>
                    <a:pt x="455893" y="138676"/>
                  </a:lnTo>
                  <a:lnTo>
                    <a:pt x="441136" y="127608"/>
                  </a:lnTo>
                  <a:lnTo>
                    <a:pt x="437446" y="123912"/>
                  </a:lnTo>
                  <a:lnTo>
                    <a:pt x="430068" y="123912"/>
                  </a:lnTo>
                  <a:lnTo>
                    <a:pt x="426379" y="120226"/>
                  </a:lnTo>
                  <a:lnTo>
                    <a:pt x="422689" y="116530"/>
                  </a:lnTo>
                  <a:lnTo>
                    <a:pt x="422689" y="112844"/>
                  </a:lnTo>
                  <a:lnTo>
                    <a:pt x="419000" y="112844"/>
                  </a:lnTo>
                  <a:lnTo>
                    <a:pt x="415311" y="109148"/>
                  </a:lnTo>
                  <a:lnTo>
                    <a:pt x="415311" y="105462"/>
                  </a:lnTo>
                  <a:lnTo>
                    <a:pt x="411622" y="105462"/>
                  </a:lnTo>
                  <a:lnTo>
                    <a:pt x="411622" y="101766"/>
                  </a:lnTo>
                  <a:lnTo>
                    <a:pt x="411622" y="94385"/>
                  </a:lnTo>
                  <a:lnTo>
                    <a:pt x="407933" y="90698"/>
                  </a:lnTo>
                  <a:lnTo>
                    <a:pt x="407933" y="87012"/>
                  </a:lnTo>
                  <a:lnTo>
                    <a:pt x="404244" y="87012"/>
                  </a:lnTo>
                  <a:lnTo>
                    <a:pt x="400554" y="87012"/>
                  </a:lnTo>
                  <a:lnTo>
                    <a:pt x="396865" y="87012"/>
                  </a:lnTo>
                  <a:lnTo>
                    <a:pt x="396865" y="90698"/>
                  </a:lnTo>
                  <a:lnTo>
                    <a:pt x="393176" y="94385"/>
                  </a:lnTo>
                  <a:lnTo>
                    <a:pt x="385798" y="94385"/>
                  </a:lnTo>
                  <a:lnTo>
                    <a:pt x="382109" y="94385"/>
                  </a:lnTo>
                  <a:lnTo>
                    <a:pt x="378420" y="101766"/>
                  </a:lnTo>
                  <a:lnTo>
                    <a:pt x="374730" y="98080"/>
                  </a:lnTo>
                  <a:lnTo>
                    <a:pt x="371041" y="94385"/>
                  </a:lnTo>
                  <a:lnTo>
                    <a:pt x="374730" y="83316"/>
                  </a:lnTo>
                  <a:lnTo>
                    <a:pt x="363663" y="79630"/>
                  </a:lnTo>
                  <a:lnTo>
                    <a:pt x="359974" y="83316"/>
                  </a:lnTo>
                  <a:lnTo>
                    <a:pt x="356285" y="87012"/>
                  </a:lnTo>
                  <a:lnTo>
                    <a:pt x="352595" y="87012"/>
                  </a:lnTo>
                  <a:lnTo>
                    <a:pt x="348906" y="87012"/>
                  </a:lnTo>
                  <a:lnTo>
                    <a:pt x="345217" y="83316"/>
                  </a:lnTo>
                  <a:lnTo>
                    <a:pt x="345217" y="87012"/>
                  </a:lnTo>
                  <a:lnTo>
                    <a:pt x="341528" y="87012"/>
                  </a:lnTo>
                  <a:lnTo>
                    <a:pt x="334150" y="90698"/>
                  </a:lnTo>
                  <a:lnTo>
                    <a:pt x="330460" y="94385"/>
                  </a:lnTo>
                  <a:lnTo>
                    <a:pt x="326771" y="94385"/>
                  </a:lnTo>
                  <a:lnTo>
                    <a:pt x="323082" y="94385"/>
                  </a:lnTo>
                  <a:lnTo>
                    <a:pt x="312015" y="94385"/>
                  </a:lnTo>
                  <a:lnTo>
                    <a:pt x="304636" y="90698"/>
                  </a:lnTo>
                  <a:lnTo>
                    <a:pt x="300947" y="94385"/>
                  </a:lnTo>
                  <a:lnTo>
                    <a:pt x="297258" y="94385"/>
                  </a:lnTo>
                  <a:lnTo>
                    <a:pt x="293568" y="90698"/>
                  </a:lnTo>
                  <a:lnTo>
                    <a:pt x="289879" y="90698"/>
                  </a:lnTo>
                  <a:lnTo>
                    <a:pt x="289879" y="87012"/>
                  </a:lnTo>
                  <a:lnTo>
                    <a:pt x="289879" y="83316"/>
                  </a:lnTo>
                  <a:lnTo>
                    <a:pt x="289879" y="79630"/>
                  </a:lnTo>
                  <a:lnTo>
                    <a:pt x="293568" y="79630"/>
                  </a:lnTo>
                  <a:lnTo>
                    <a:pt x="293568" y="75935"/>
                  </a:lnTo>
                  <a:lnTo>
                    <a:pt x="297258" y="72248"/>
                  </a:lnTo>
                  <a:lnTo>
                    <a:pt x="297258" y="64867"/>
                  </a:lnTo>
                  <a:lnTo>
                    <a:pt x="297258" y="61171"/>
                  </a:lnTo>
                  <a:lnTo>
                    <a:pt x="297258" y="57485"/>
                  </a:lnTo>
                  <a:lnTo>
                    <a:pt x="297258" y="53789"/>
                  </a:lnTo>
                  <a:lnTo>
                    <a:pt x="300947" y="50103"/>
                  </a:lnTo>
                  <a:lnTo>
                    <a:pt x="304636" y="46407"/>
                  </a:lnTo>
                  <a:lnTo>
                    <a:pt x="308326" y="42721"/>
                  </a:lnTo>
                  <a:lnTo>
                    <a:pt x="308326" y="39035"/>
                  </a:lnTo>
                  <a:lnTo>
                    <a:pt x="308326" y="35339"/>
                  </a:lnTo>
                  <a:lnTo>
                    <a:pt x="312015" y="35339"/>
                  </a:lnTo>
                  <a:lnTo>
                    <a:pt x="312015" y="27957"/>
                  </a:lnTo>
                  <a:lnTo>
                    <a:pt x="315704" y="24271"/>
                  </a:lnTo>
                  <a:lnTo>
                    <a:pt x="319393" y="16889"/>
                  </a:lnTo>
                  <a:lnTo>
                    <a:pt x="312015" y="13193"/>
                  </a:lnTo>
                  <a:lnTo>
                    <a:pt x="308326" y="13193"/>
                  </a:lnTo>
                  <a:lnTo>
                    <a:pt x="304636" y="13193"/>
                  </a:lnTo>
                  <a:lnTo>
                    <a:pt x="300947" y="16889"/>
                  </a:lnTo>
                  <a:lnTo>
                    <a:pt x="297258" y="13193"/>
                  </a:lnTo>
                  <a:lnTo>
                    <a:pt x="297258" y="20575"/>
                  </a:lnTo>
                  <a:lnTo>
                    <a:pt x="286190" y="16889"/>
                  </a:lnTo>
                  <a:lnTo>
                    <a:pt x="260365" y="5812"/>
                  </a:lnTo>
                  <a:close/>
                  <a:moveTo>
                    <a:pt x="42704" y="389631"/>
                  </a:moveTo>
                  <a:lnTo>
                    <a:pt x="39015" y="393327"/>
                  </a:lnTo>
                  <a:lnTo>
                    <a:pt x="42704" y="393327"/>
                  </a:lnTo>
                  <a:lnTo>
                    <a:pt x="42704" y="389631"/>
                  </a:lnTo>
                  <a:close/>
                </a:path>
              </a:pathLst>
            </a:custGeom>
            <a:solidFill>
              <a:srgbClr val="22777B"/>
            </a:solidFill>
            <a:ln w="12821" cap="flat">
              <a:solidFill>
                <a:schemeClr val="bg1"/>
              </a:solidFill>
              <a:prstDash val="solid"/>
              <a:round/>
            </a:ln>
          </p:spPr>
          <p:txBody>
            <a:bodyPr rot="0" spcFirstLastPara="0" vertOverflow="overflow" horzOverflow="overflow" vert="horz" wrap="square" lIns="0" tIns="45720" rIns="144000" bIns="45720" numCol="1" spcCol="0" rtlCol="0" fromWordArt="0" anchor="ctr" anchorCtr="0" forceAA="0" compatLnSpc="1">
              <a:prstTxWarp prst="textNoShape">
                <a:avLst/>
              </a:prstTxWarp>
              <a:noAutofit/>
            </a:bodyPr>
            <a:lstStyle/>
            <a:p>
              <a:pPr marL="0" indent="0" algn="ctr">
                <a:buNone/>
              </a:pPr>
              <a:r>
                <a:rPr lang="nl-NL" sz="800" b="1" dirty="0">
                  <a:solidFill>
                    <a:srgbClr val="FFFFFF"/>
                  </a:solidFill>
                  <a:latin typeface="+mj-lt"/>
                  <a:cs typeface="Arial" panose="020B0604020202020204" pitchFamily="34" charset="0"/>
                </a:rPr>
                <a:t>318</a:t>
              </a:r>
            </a:p>
          </p:txBody>
        </p:sp>
        <p:sp>
          <p:nvSpPr>
            <p:cNvPr id="104" name="Freeform: Shape 103">
              <a:extLst>
                <a:ext uri="{FF2B5EF4-FFF2-40B4-BE49-F238E27FC236}">
                  <a16:creationId xmlns:a16="http://schemas.microsoft.com/office/drawing/2014/main" id="{560C68CE-12E6-4837-9ACE-80AC9AC74ADF}"/>
                </a:ext>
              </a:extLst>
            </p:cNvPr>
            <p:cNvSpPr/>
            <p:nvPr/>
          </p:nvSpPr>
          <p:spPr>
            <a:xfrm>
              <a:off x="1273890" y="4730328"/>
              <a:ext cx="30745" cy="15373"/>
            </a:xfrm>
            <a:custGeom>
              <a:avLst/>
              <a:gdLst>
                <a:gd name="connsiteX0" fmla="*/ 16880 w 19050"/>
                <a:gd name="connsiteY0" fmla="*/ 5812 h 9525"/>
                <a:gd name="connsiteX1" fmla="*/ 13191 w 19050"/>
                <a:gd name="connsiteY1" fmla="*/ 9498 h 9525"/>
                <a:gd name="connsiteX2" fmla="*/ 9501 w 19050"/>
                <a:gd name="connsiteY2" fmla="*/ 9498 h 9525"/>
                <a:gd name="connsiteX3" fmla="*/ 5812 w 19050"/>
                <a:gd name="connsiteY3" fmla="*/ 9498 h 9525"/>
                <a:gd name="connsiteX4" fmla="*/ 5812 w 19050"/>
                <a:gd name="connsiteY4" fmla="*/ 5812 h 9525"/>
                <a:gd name="connsiteX5" fmla="*/ 9501 w 19050"/>
                <a:gd name="connsiteY5" fmla="*/ 5812 h 9525"/>
                <a:gd name="connsiteX6" fmla="*/ 13191 w 19050"/>
                <a:gd name="connsiteY6" fmla="*/ 5812 h 9525"/>
                <a:gd name="connsiteX7" fmla="*/ 20569 w 19050"/>
                <a:gd name="connsiteY7" fmla="*/ 5812 h 9525"/>
                <a:gd name="connsiteX8" fmla="*/ 16880 w 19050"/>
                <a:gd name="connsiteY8"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 h="9525">
                  <a:moveTo>
                    <a:pt x="16880" y="5812"/>
                  </a:moveTo>
                  <a:lnTo>
                    <a:pt x="13191" y="9498"/>
                  </a:lnTo>
                  <a:lnTo>
                    <a:pt x="9501" y="9498"/>
                  </a:lnTo>
                  <a:lnTo>
                    <a:pt x="5812" y="9498"/>
                  </a:lnTo>
                  <a:lnTo>
                    <a:pt x="5812" y="5812"/>
                  </a:lnTo>
                  <a:lnTo>
                    <a:pt x="9501" y="5812"/>
                  </a:lnTo>
                  <a:lnTo>
                    <a:pt x="13191" y="5812"/>
                  </a:lnTo>
                  <a:lnTo>
                    <a:pt x="20569" y="5812"/>
                  </a:lnTo>
                  <a:lnTo>
                    <a:pt x="16880" y="5812"/>
                  </a:lnTo>
                  <a:close/>
                </a:path>
              </a:pathLst>
            </a:custGeom>
            <a:solidFill>
              <a:schemeClr val="accent3">
                <a:lumMod val="20000"/>
                <a:lumOff val="80000"/>
              </a:schemeClr>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105" name="Freeform: Shape 104">
              <a:extLst>
                <a:ext uri="{FF2B5EF4-FFF2-40B4-BE49-F238E27FC236}">
                  <a16:creationId xmlns:a16="http://schemas.microsoft.com/office/drawing/2014/main" id="{737986CD-B8C7-42C8-B55F-1DF661F53693}"/>
                </a:ext>
              </a:extLst>
            </p:cNvPr>
            <p:cNvSpPr/>
            <p:nvPr/>
          </p:nvSpPr>
          <p:spPr>
            <a:xfrm>
              <a:off x="1250077" y="4670757"/>
              <a:ext cx="61491" cy="46118"/>
            </a:xfrm>
            <a:custGeom>
              <a:avLst/>
              <a:gdLst>
                <a:gd name="connsiteX0" fmla="*/ 31636 w 38100"/>
                <a:gd name="connsiteY0" fmla="*/ 16880 h 28575"/>
                <a:gd name="connsiteX1" fmla="*/ 35325 w 38100"/>
                <a:gd name="connsiteY1" fmla="*/ 20575 h 28575"/>
                <a:gd name="connsiteX2" fmla="*/ 35325 w 38100"/>
                <a:gd name="connsiteY2" fmla="*/ 20575 h 28575"/>
                <a:gd name="connsiteX3" fmla="*/ 31636 w 38100"/>
                <a:gd name="connsiteY3" fmla="*/ 16880 h 28575"/>
                <a:gd name="connsiteX4" fmla="*/ 24257 w 38100"/>
                <a:gd name="connsiteY4" fmla="*/ 16880 h 28575"/>
                <a:gd name="connsiteX5" fmla="*/ 16879 w 38100"/>
                <a:gd name="connsiteY5" fmla="*/ 20575 h 28575"/>
                <a:gd name="connsiteX6" fmla="*/ 9501 w 38100"/>
                <a:gd name="connsiteY6" fmla="*/ 24261 h 28575"/>
                <a:gd name="connsiteX7" fmla="*/ 5812 w 38100"/>
                <a:gd name="connsiteY7" fmla="*/ 24261 h 28575"/>
                <a:gd name="connsiteX8" fmla="*/ 5812 w 38100"/>
                <a:gd name="connsiteY8" fmla="*/ 20575 h 28575"/>
                <a:gd name="connsiteX9" fmla="*/ 5812 w 38100"/>
                <a:gd name="connsiteY9" fmla="*/ 20575 h 28575"/>
                <a:gd name="connsiteX10" fmla="*/ 13190 w 38100"/>
                <a:gd name="connsiteY10" fmla="*/ 16880 h 28575"/>
                <a:gd name="connsiteX11" fmla="*/ 13190 w 38100"/>
                <a:gd name="connsiteY11" fmla="*/ 13193 h 28575"/>
                <a:gd name="connsiteX12" fmla="*/ 16879 w 38100"/>
                <a:gd name="connsiteY12" fmla="*/ 9498 h 28575"/>
                <a:gd name="connsiteX13" fmla="*/ 20568 w 38100"/>
                <a:gd name="connsiteY13" fmla="*/ 5812 h 28575"/>
                <a:gd name="connsiteX14" fmla="*/ 20568 w 38100"/>
                <a:gd name="connsiteY14" fmla="*/ 9498 h 28575"/>
                <a:gd name="connsiteX15" fmla="*/ 24257 w 38100"/>
                <a:gd name="connsiteY15" fmla="*/ 9498 h 28575"/>
                <a:gd name="connsiteX16" fmla="*/ 31636 w 38100"/>
                <a:gd name="connsiteY16" fmla="*/ 16880 h 28575"/>
                <a:gd name="connsiteX17" fmla="*/ 31636 w 38100"/>
                <a:gd name="connsiteY17" fmla="*/ 1688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28575">
                  <a:moveTo>
                    <a:pt x="31636" y="16880"/>
                  </a:moveTo>
                  <a:lnTo>
                    <a:pt x="35325" y="20575"/>
                  </a:lnTo>
                  <a:lnTo>
                    <a:pt x="35325" y="20575"/>
                  </a:lnTo>
                  <a:lnTo>
                    <a:pt x="31636" y="16880"/>
                  </a:lnTo>
                  <a:lnTo>
                    <a:pt x="24257" y="16880"/>
                  </a:lnTo>
                  <a:lnTo>
                    <a:pt x="16879" y="20575"/>
                  </a:lnTo>
                  <a:lnTo>
                    <a:pt x="9501" y="24261"/>
                  </a:lnTo>
                  <a:lnTo>
                    <a:pt x="5812" y="24261"/>
                  </a:lnTo>
                  <a:lnTo>
                    <a:pt x="5812" y="20575"/>
                  </a:lnTo>
                  <a:lnTo>
                    <a:pt x="5812" y="20575"/>
                  </a:lnTo>
                  <a:lnTo>
                    <a:pt x="13190" y="16880"/>
                  </a:lnTo>
                  <a:lnTo>
                    <a:pt x="13190" y="13193"/>
                  </a:lnTo>
                  <a:lnTo>
                    <a:pt x="16879" y="9498"/>
                  </a:lnTo>
                  <a:lnTo>
                    <a:pt x="20568" y="5812"/>
                  </a:lnTo>
                  <a:lnTo>
                    <a:pt x="20568" y="9498"/>
                  </a:lnTo>
                  <a:lnTo>
                    <a:pt x="24257" y="9498"/>
                  </a:lnTo>
                  <a:lnTo>
                    <a:pt x="31636" y="16880"/>
                  </a:lnTo>
                  <a:lnTo>
                    <a:pt x="31636" y="16880"/>
                  </a:lnTo>
                  <a:close/>
                </a:path>
              </a:pathLst>
            </a:custGeom>
            <a:solidFill>
              <a:srgbClr val="BBE9EB"/>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106" name="Freeform: Shape 105">
              <a:extLst>
                <a:ext uri="{FF2B5EF4-FFF2-40B4-BE49-F238E27FC236}">
                  <a16:creationId xmlns:a16="http://schemas.microsoft.com/office/drawing/2014/main" id="{EB43C06B-7394-43F0-8835-C1CD74F21C1F}"/>
                </a:ext>
              </a:extLst>
            </p:cNvPr>
            <p:cNvSpPr/>
            <p:nvPr/>
          </p:nvSpPr>
          <p:spPr>
            <a:xfrm>
              <a:off x="1196488" y="4599272"/>
              <a:ext cx="461182" cy="261336"/>
            </a:xfrm>
            <a:custGeom>
              <a:avLst/>
              <a:gdLst>
                <a:gd name="connsiteX0" fmla="*/ 90663 w 285750"/>
                <a:gd name="connsiteY0" fmla="*/ 5812 h 161925"/>
                <a:gd name="connsiteX1" fmla="*/ 83285 w 285750"/>
                <a:gd name="connsiteY1" fmla="*/ 9507 h 161925"/>
                <a:gd name="connsiteX2" fmla="*/ 90663 w 285750"/>
                <a:gd name="connsiteY2" fmla="*/ 9507 h 161925"/>
                <a:gd name="connsiteX3" fmla="*/ 90663 w 285750"/>
                <a:gd name="connsiteY3" fmla="*/ 5812 h 161925"/>
                <a:gd name="connsiteX4" fmla="*/ 90663 w 285750"/>
                <a:gd name="connsiteY4" fmla="*/ 9507 h 161925"/>
                <a:gd name="connsiteX5" fmla="*/ 79595 w 285750"/>
                <a:gd name="connsiteY5" fmla="*/ 13194 h 161925"/>
                <a:gd name="connsiteX6" fmla="*/ 75906 w 285750"/>
                <a:gd name="connsiteY6" fmla="*/ 13194 h 161925"/>
                <a:gd name="connsiteX7" fmla="*/ 72217 w 285750"/>
                <a:gd name="connsiteY7" fmla="*/ 13194 h 161925"/>
                <a:gd name="connsiteX8" fmla="*/ 79595 w 285750"/>
                <a:gd name="connsiteY8" fmla="*/ 9507 h 161925"/>
                <a:gd name="connsiteX9" fmla="*/ 68528 w 285750"/>
                <a:gd name="connsiteY9" fmla="*/ 13194 h 161925"/>
                <a:gd name="connsiteX10" fmla="*/ 46393 w 285750"/>
                <a:gd name="connsiteY10" fmla="*/ 20575 h 161925"/>
                <a:gd name="connsiteX11" fmla="*/ 39015 w 285750"/>
                <a:gd name="connsiteY11" fmla="*/ 24271 h 161925"/>
                <a:gd name="connsiteX12" fmla="*/ 35326 w 285750"/>
                <a:gd name="connsiteY12" fmla="*/ 24271 h 161925"/>
                <a:gd name="connsiteX13" fmla="*/ 24258 w 285750"/>
                <a:gd name="connsiteY13" fmla="*/ 27957 h 161925"/>
                <a:gd name="connsiteX14" fmla="*/ 20569 w 285750"/>
                <a:gd name="connsiteY14" fmla="*/ 27957 h 161925"/>
                <a:gd name="connsiteX15" fmla="*/ 16880 w 285750"/>
                <a:gd name="connsiteY15" fmla="*/ 35339 h 161925"/>
                <a:gd name="connsiteX16" fmla="*/ 16880 w 285750"/>
                <a:gd name="connsiteY16" fmla="*/ 39035 h 161925"/>
                <a:gd name="connsiteX17" fmla="*/ 16880 w 285750"/>
                <a:gd name="connsiteY17" fmla="*/ 42721 h 161925"/>
                <a:gd name="connsiteX18" fmla="*/ 20569 w 285750"/>
                <a:gd name="connsiteY18" fmla="*/ 53789 h 161925"/>
                <a:gd name="connsiteX19" fmla="*/ 20569 w 285750"/>
                <a:gd name="connsiteY19" fmla="*/ 57485 h 161925"/>
                <a:gd name="connsiteX20" fmla="*/ 24258 w 285750"/>
                <a:gd name="connsiteY20" fmla="*/ 57485 h 161925"/>
                <a:gd name="connsiteX21" fmla="*/ 24258 w 285750"/>
                <a:gd name="connsiteY21" fmla="*/ 61171 h 161925"/>
                <a:gd name="connsiteX22" fmla="*/ 27947 w 285750"/>
                <a:gd name="connsiteY22" fmla="*/ 61171 h 161925"/>
                <a:gd name="connsiteX23" fmla="*/ 35326 w 285750"/>
                <a:gd name="connsiteY23" fmla="*/ 57485 h 161925"/>
                <a:gd name="connsiteX24" fmla="*/ 35326 w 285750"/>
                <a:gd name="connsiteY24" fmla="*/ 53789 h 161925"/>
                <a:gd name="connsiteX25" fmla="*/ 31636 w 285750"/>
                <a:gd name="connsiteY25" fmla="*/ 53789 h 161925"/>
                <a:gd name="connsiteX26" fmla="*/ 31636 w 285750"/>
                <a:gd name="connsiteY26" fmla="*/ 50103 h 161925"/>
                <a:gd name="connsiteX27" fmla="*/ 35326 w 285750"/>
                <a:gd name="connsiteY27" fmla="*/ 50103 h 161925"/>
                <a:gd name="connsiteX28" fmla="*/ 39015 w 285750"/>
                <a:gd name="connsiteY28" fmla="*/ 50103 h 161925"/>
                <a:gd name="connsiteX29" fmla="*/ 42704 w 285750"/>
                <a:gd name="connsiteY29" fmla="*/ 50103 h 161925"/>
                <a:gd name="connsiteX30" fmla="*/ 46393 w 285750"/>
                <a:gd name="connsiteY30" fmla="*/ 46417 h 161925"/>
                <a:gd name="connsiteX31" fmla="*/ 50082 w 285750"/>
                <a:gd name="connsiteY31" fmla="*/ 46417 h 161925"/>
                <a:gd name="connsiteX32" fmla="*/ 53771 w 285750"/>
                <a:gd name="connsiteY32" fmla="*/ 46417 h 161925"/>
                <a:gd name="connsiteX33" fmla="*/ 57460 w 285750"/>
                <a:gd name="connsiteY33" fmla="*/ 46417 h 161925"/>
                <a:gd name="connsiteX34" fmla="*/ 61150 w 285750"/>
                <a:gd name="connsiteY34" fmla="*/ 42721 h 161925"/>
                <a:gd name="connsiteX35" fmla="*/ 64839 w 285750"/>
                <a:gd name="connsiteY35" fmla="*/ 39035 h 161925"/>
                <a:gd name="connsiteX36" fmla="*/ 72217 w 285750"/>
                <a:gd name="connsiteY36" fmla="*/ 42721 h 161925"/>
                <a:gd name="connsiteX37" fmla="*/ 79595 w 285750"/>
                <a:gd name="connsiteY37" fmla="*/ 42721 h 161925"/>
                <a:gd name="connsiteX38" fmla="*/ 86974 w 285750"/>
                <a:gd name="connsiteY38" fmla="*/ 46417 h 161925"/>
                <a:gd name="connsiteX39" fmla="*/ 86974 w 285750"/>
                <a:gd name="connsiteY39" fmla="*/ 50103 h 161925"/>
                <a:gd name="connsiteX40" fmla="*/ 90663 w 285750"/>
                <a:gd name="connsiteY40" fmla="*/ 53789 h 161925"/>
                <a:gd name="connsiteX41" fmla="*/ 94352 w 285750"/>
                <a:gd name="connsiteY41" fmla="*/ 61171 h 161925"/>
                <a:gd name="connsiteX42" fmla="*/ 98041 w 285750"/>
                <a:gd name="connsiteY42" fmla="*/ 61171 h 161925"/>
                <a:gd name="connsiteX43" fmla="*/ 98041 w 285750"/>
                <a:gd name="connsiteY43" fmla="*/ 68553 h 161925"/>
                <a:gd name="connsiteX44" fmla="*/ 98041 w 285750"/>
                <a:gd name="connsiteY44" fmla="*/ 72248 h 161925"/>
                <a:gd name="connsiteX45" fmla="*/ 94352 w 285750"/>
                <a:gd name="connsiteY45" fmla="*/ 72248 h 161925"/>
                <a:gd name="connsiteX46" fmla="*/ 94352 w 285750"/>
                <a:gd name="connsiteY46" fmla="*/ 75935 h 161925"/>
                <a:gd name="connsiteX47" fmla="*/ 98041 w 285750"/>
                <a:gd name="connsiteY47" fmla="*/ 75935 h 161925"/>
                <a:gd name="connsiteX48" fmla="*/ 94352 w 285750"/>
                <a:gd name="connsiteY48" fmla="*/ 79630 h 161925"/>
                <a:gd name="connsiteX49" fmla="*/ 94352 w 285750"/>
                <a:gd name="connsiteY49" fmla="*/ 83317 h 161925"/>
                <a:gd name="connsiteX50" fmla="*/ 98041 w 285750"/>
                <a:gd name="connsiteY50" fmla="*/ 90698 h 161925"/>
                <a:gd name="connsiteX51" fmla="*/ 101730 w 285750"/>
                <a:gd name="connsiteY51" fmla="*/ 90698 h 161925"/>
                <a:gd name="connsiteX52" fmla="*/ 101730 w 285750"/>
                <a:gd name="connsiteY52" fmla="*/ 94394 h 161925"/>
                <a:gd name="connsiteX53" fmla="*/ 105420 w 285750"/>
                <a:gd name="connsiteY53" fmla="*/ 98080 h 161925"/>
                <a:gd name="connsiteX54" fmla="*/ 105420 w 285750"/>
                <a:gd name="connsiteY54" fmla="*/ 101766 h 161925"/>
                <a:gd name="connsiteX55" fmla="*/ 109109 w 285750"/>
                <a:gd name="connsiteY55" fmla="*/ 109148 h 161925"/>
                <a:gd name="connsiteX56" fmla="*/ 109109 w 285750"/>
                <a:gd name="connsiteY56" fmla="*/ 116530 h 161925"/>
                <a:gd name="connsiteX57" fmla="*/ 112798 w 285750"/>
                <a:gd name="connsiteY57" fmla="*/ 116530 h 161925"/>
                <a:gd name="connsiteX58" fmla="*/ 116487 w 285750"/>
                <a:gd name="connsiteY58" fmla="*/ 116530 h 161925"/>
                <a:gd name="connsiteX59" fmla="*/ 120176 w 285750"/>
                <a:gd name="connsiteY59" fmla="*/ 120226 h 161925"/>
                <a:gd name="connsiteX60" fmla="*/ 123865 w 285750"/>
                <a:gd name="connsiteY60" fmla="*/ 116530 h 161925"/>
                <a:gd name="connsiteX61" fmla="*/ 123865 w 285750"/>
                <a:gd name="connsiteY61" fmla="*/ 120226 h 161925"/>
                <a:gd name="connsiteX62" fmla="*/ 131244 w 285750"/>
                <a:gd name="connsiteY62" fmla="*/ 120226 h 161925"/>
                <a:gd name="connsiteX63" fmla="*/ 138622 w 285750"/>
                <a:gd name="connsiteY63" fmla="*/ 120226 h 161925"/>
                <a:gd name="connsiteX64" fmla="*/ 142311 w 285750"/>
                <a:gd name="connsiteY64" fmla="*/ 120226 h 161925"/>
                <a:gd name="connsiteX65" fmla="*/ 146001 w 285750"/>
                <a:gd name="connsiteY65" fmla="*/ 120226 h 161925"/>
                <a:gd name="connsiteX66" fmla="*/ 149690 w 285750"/>
                <a:gd name="connsiteY66" fmla="*/ 123912 h 161925"/>
                <a:gd name="connsiteX67" fmla="*/ 160758 w 285750"/>
                <a:gd name="connsiteY67" fmla="*/ 127608 h 161925"/>
                <a:gd name="connsiteX68" fmla="*/ 164447 w 285750"/>
                <a:gd name="connsiteY68" fmla="*/ 134990 h 161925"/>
                <a:gd name="connsiteX69" fmla="*/ 168136 w 285750"/>
                <a:gd name="connsiteY69" fmla="*/ 138676 h 161925"/>
                <a:gd name="connsiteX70" fmla="*/ 175515 w 285750"/>
                <a:gd name="connsiteY70" fmla="*/ 138676 h 161925"/>
                <a:gd name="connsiteX71" fmla="*/ 179204 w 285750"/>
                <a:gd name="connsiteY71" fmla="*/ 138676 h 161925"/>
                <a:gd name="connsiteX72" fmla="*/ 179204 w 285750"/>
                <a:gd name="connsiteY72" fmla="*/ 142372 h 161925"/>
                <a:gd name="connsiteX73" fmla="*/ 186582 w 285750"/>
                <a:gd name="connsiteY73" fmla="*/ 142372 h 161925"/>
                <a:gd name="connsiteX74" fmla="*/ 190271 w 285750"/>
                <a:gd name="connsiteY74" fmla="*/ 146058 h 161925"/>
                <a:gd name="connsiteX75" fmla="*/ 193960 w 285750"/>
                <a:gd name="connsiteY75" fmla="*/ 146058 h 161925"/>
                <a:gd name="connsiteX76" fmla="*/ 193960 w 285750"/>
                <a:gd name="connsiteY76" fmla="*/ 149744 h 161925"/>
                <a:gd name="connsiteX77" fmla="*/ 193960 w 285750"/>
                <a:gd name="connsiteY77" fmla="*/ 153440 h 161925"/>
                <a:gd name="connsiteX78" fmla="*/ 201339 w 285750"/>
                <a:gd name="connsiteY78" fmla="*/ 157126 h 161925"/>
                <a:gd name="connsiteX79" fmla="*/ 205028 w 285750"/>
                <a:gd name="connsiteY79" fmla="*/ 160821 h 161925"/>
                <a:gd name="connsiteX80" fmla="*/ 216095 w 285750"/>
                <a:gd name="connsiteY80" fmla="*/ 160821 h 161925"/>
                <a:gd name="connsiteX81" fmla="*/ 219785 w 285750"/>
                <a:gd name="connsiteY81" fmla="*/ 160821 h 161925"/>
                <a:gd name="connsiteX82" fmla="*/ 223474 w 285750"/>
                <a:gd name="connsiteY82" fmla="*/ 160821 h 161925"/>
                <a:gd name="connsiteX83" fmla="*/ 230852 w 285750"/>
                <a:gd name="connsiteY83" fmla="*/ 157126 h 161925"/>
                <a:gd name="connsiteX84" fmla="*/ 238230 w 285750"/>
                <a:gd name="connsiteY84" fmla="*/ 157126 h 161925"/>
                <a:gd name="connsiteX85" fmla="*/ 241919 w 285750"/>
                <a:gd name="connsiteY85" fmla="*/ 157126 h 161925"/>
                <a:gd name="connsiteX86" fmla="*/ 252987 w 285750"/>
                <a:gd name="connsiteY86" fmla="*/ 153440 h 161925"/>
                <a:gd name="connsiteX87" fmla="*/ 260365 w 285750"/>
                <a:gd name="connsiteY87" fmla="*/ 149744 h 161925"/>
                <a:gd name="connsiteX88" fmla="*/ 264054 w 285750"/>
                <a:gd name="connsiteY88" fmla="*/ 146058 h 161925"/>
                <a:gd name="connsiteX89" fmla="*/ 267744 w 285750"/>
                <a:gd name="connsiteY89" fmla="*/ 138676 h 161925"/>
                <a:gd name="connsiteX90" fmla="*/ 267744 w 285750"/>
                <a:gd name="connsiteY90" fmla="*/ 134990 h 161925"/>
                <a:gd name="connsiteX91" fmla="*/ 264054 w 285750"/>
                <a:gd name="connsiteY91" fmla="*/ 134990 h 161925"/>
                <a:gd name="connsiteX92" fmla="*/ 264054 w 285750"/>
                <a:gd name="connsiteY92" fmla="*/ 131294 h 161925"/>
                <a:gd name="connsiteX93" fmla="*/ 267744 w 285750"/>
                <a:gd name="connsiteY93" fmla="*/ 131294 h 161925"/>
                <a:gd name="connsiteX94" fmla="*/ 271433 w 285750"/>
                <a:gd name="connsiteY94" fmla="*/ 131294 h 161925"/>
                <a:gd name="connsiteX95" fmla="*/ 275122 w 285750"/>
                <a:gd name="connsiteY95" fmla="*/ 131294 h 161925"/>
                <a:gd name="connsiteX96" fmla="*/ 278811 w 285750"/>
                <a:gd name="connsiteY96" fmla="*/ 131294 h 161925"/>
                <a:gd name="connsiteX97" fmla="*/ 286189 w 285750"/>
                <a:gd name="connsiteY97" fmla="*/ 127608 h 161925"/>
                <a:gd name="connsiteX98" fmla="*/ 282500 w 285750"/>
                <a:gd name="connsiteY98" fmla="*/ 127608 h 161925"/>
                <a:gd name="connsiteX99" fmla="*/ 282500 w 285750"/>
                <a:gd name="connsiteY99" fmla="*/ 123912 h 161925"/>
                <a:gd name="connsiteX100" fmla="*/ 282500 w 285750"/>
                <a:gd name="connsiteY100" fmla="*/ 120226 h 161925"/>
                <a:gd name="connsiteX101" fmla="*/ 278811 w 285750"/>
                <a:gd name="connsiteY101" fmla="*/ 120226 h 161925"/>
                <a:gd name="connsiteX102" fmla="*/ 275122 w 285750"/>
                <a:gd name="connsiteY102" fmla="*/ 123912 h 161925"/>
                <a:gd name="connsiteX103" fmla="*/ 267744 w 285750"/>
                <a:gd name="connsiteY103" fmla="*/ 123912 h 161925"/>
                <a:gd name="connsiteX104" fmla="*/ 260365 w 285750"/>
                <a:gd name="connsiteY104" fmla="*/ 123912 h 161925"/>
                <a:gd name="connsiteX105" fmla="*/ 252987 w 285750"/>
                <a:gd name="connsiteY105" fmla="*/ 123912 h 161925"/>
                <a:gd name="connsiteX106" fmla="*/ 249298 w 285750"/>
                <a:gd name="connsiteY106" fmla="*/ 123912 h 161925"/>
                <a:gd name="connsiteX107" fmla="*/ 241919 w 285750"/>
                <a:gd name="connsiteY107" fmla="*/ 123912 h 161925"/>
                <a:gd name="connsiteX108" fmla="*/ 234541 w 285750"/>
                <a:gd name="connsiteY108" fmla="*/ 112844 h 161925"/>
                <a:gd name="connsiteX109" fmla="*/ 227163 w 285750"/>
                <a:gd name="connsiteY109" fmla="*/ 112844 h 161925"/>
                <a:gd name="connsiteX110" fmla="*/ 223474 w 285750"/>
                <a:gd name="connsiteY110" fmla="*/ 109148 h 161925"/>
                <a:gd name="connsiteX111" fmla="*/ 219785 w 285750"/>
                <a:gd name="connsiteY111" fmla="*/ 109148 h 161925"/>
                <a:gd name="connsiteX112" fmla="*/ 216095 w 285750"/>
                <a:gd name="connsiteY112" fmla="*/ 105462 h 161925"/>
                <a:gd name="connsiteX113" fmla="*/ 216095 w 285750"/>
                <a:gd name="connsiteY113" fmla="*/ 101766 h 161925"/>
                <a:gd name="connsiteX114" fmla="*/ 208717 w 285750"/>
                <a:gd name="connsiteY114" fmla="*/ 98080 h 161925"/>
                <a:gd name="connsiteX115" fmla="*/ 208717 w 285750"/>
                <a:gd name="connsiteY115" fmla="*/ 94394 h 161925"/>
                <a:gd name="connsiteX116" fmla="*/ 208717 w 285750"/>
                <a:gd name="connsiteY116" fmla="*/ 90698 h 161925"/>
                <a:gd name="connsiteX117" fmla="*/ 205028 w 285750"/>
                <a:gd name="connsiteY117" fmla="*/ 90698 h 161925"/>
                <a:gd name="connsiteX118" fmla="*/ 193960 w 285750"/>
                <a:gd name="connsiteY118" fmla="*/ 79630 h 161925"/>
                <a:gd name="connsiteX119" fmla="*/ 182893 w 285750"/>
                <a:gd name="connsiteY119" fmla="*/ 68553 h 161925"/>
                <a:gd name="connsiteX120" fmla="*/ 179204 w 285750"/>
                <a:gd name="connsiteY120" fmla="*/ 68553 h 161925"/>
                <a:gd name="connsiteX121" fmla="*/ 179204 w 285750"/>
                <a:gd name="connsiteY121" fmla="*/ 64867 h 161925"/>
                <a:gd name="connsiteX122" fmla="*/ 171825 w 285750"/>
                <a:gd name="connsiteY122" fmla="*/ 64867 h 161925"/>
                <a:gd name="connsiteX123" fmla="*/ 168136 w 285750"/>
                <a:gd name="connsiteY123" fmla="*/ 61171 h 161925"/>
                <a:gd name="connsiteX124" fmla="*/ 164447 w 285750"/>
                <a:gd name="connsiteY124" fmla="*/ 61171 h 161925"/>
                <a:gd name="connsiteX125" fmla="*/ 157069 w 285750"/>
                <a:gd name="connsiteY125" fmla="*/ 53789 h 161925"/>
                <a:gd name="connsiteX126" fmla="*/ 149690 w 285750"/>
                <a:gd name="connsiteY126" fmla="*/ 50103 h 161925"/>
                <a:gd name="connsiteX127" fmla="*/ 146001 w 285750"/>
                <a:gd name="connsiteY127" fmla="*/ 50103 h 161925"/>
                <a:gd name="connsiteX128" fmla="*/ 131244 w 285750"/>
                <a:gd name="connsiteY128" fmla="*/ 42721 h 161925"/>
                <a:gd name="connsiteX129" fmla="*/ 127555 w 285750"/>
                <a:gd name="connsiteY129" fmla="*/ 39035 h 161925"/>
                <a:gd name="connsiteX130" fmla="*/ 116487 w 285750"/>
                <a:gd name="connsiteY130" fmla="*/ 35339 h 161925"/>
                <a:gd name="connsiteX131" fmla="*/ 116487 w 285750"/>
                <a:gd name="connsiteY131" fmla="*/ 31653 h 161925"/>
                <a:gd name="connsiteX132" fmla="*/ 112798 w 285750"/>
                <a:gd name="connsiteY132" fmla="*/ 27957 h 161925"/>
                <a:gd name="connsiteX133" fmla="*/ 109109 w 285750"/>
                <a:gd name="connsiteY133" fmla="*/ 27957 h 161925"/>
                <a:gd name="connsiteX134" fmla="*/ 109109 w 285750"/>
                <a:gd name="connsiteY134" fmla="*/ 31653 h 161925"/>
                <a:gd name="connsiteX135" fmla="*/ 105420 w 285750"/>
                <a:gd name="connsiteY135" fmla="*/ 27957 h 161925"/>
                <a:gd name="connsiteX136" fmla="*/ 109109 w 285750"/>
                <a:gd name="connsiteY136" fmla="*/ 27957 h 161925"/>
                <a:gd name="connsiteX137" fmla="*/ 109109 w 285750"/>
                <a:gd name="connsiteY137" fmla="*/ 24271 h 161925"/>
                <a:gd name="connsiteX138" fmla="*/ 109109 w 285750"/>
                <a:gd name="connsiteY138" fmla="*/ 20575 h 161925"/>
                <a:gd name="connsiteX139" fmla="*/ 105420 w 285750"/>
                <a:gd name="connsiteY139" fmla="*/ 20575 h 161925"/>
                <a:gd name="connsiteX140" fmla="*/ 105420 w 285750"/>
                <a:gd name="connsiteY140" fmla="*/ 24271 h 161925"/>
                <a:gd name="connsiteX141" fmla="*/ 101730 w 285750"/>
                <a:gd name="connsiteY141" fmla="*/ 24271 h 161925"/>
                <a:gd name="connsiteX142" fmla="*/ 101730 w 285750"/>
                <a:gd name="connsiteY142" fmla="*/ 20575 h 161925"/>
                <a:gd name="connsiteX143" fmla="*/ 94352 w 285750"/>
                <a:gd name="connsiteY143" fmla="*/ 16889 h 161925"/>
                <a:gd name="connsiteX144" fmla="*/ 94352 w 285750"/>
                <a:gd name="connsiteY144" fmla="*/ 13194 h 161925"/>
                <a:gd name="connsiteX145" fmla="*/ 90663 w 285750"/>
                <a:gd name="connsiteY145" fmla="*/ 9507 h 161925"/>
                <a:gd name="connsiteX146" fmla="*/ 20569 w 285750"/>
                <a:gd name="connsiteY146" fmla="*/ 61171 h 161925"/>
                <a:gd name="connsiteX147" fmla="*/ 16880 w 285750"/>
                <a:gd name="connsiteY147" fmla="*/ 68553 h 161925"/>
                <a:gd name="connsiteX148" fmla="*/ 13191 w 285750"/>
                <a:gd name="connsiteY148" fmla="*/ 72248 h 161925"/>
                <a:gd name="connsiteX149" fmla="*/ 5812 w 285750"/>
                <a:gd name="connsiteY149" fmla="*/ 75935 h 161925"/>
                <a:gd name="connsiteX150" fmla="*/ 9501 w 285750"/>
                <a:gd name="connsiteY150" fmla="*/ 75935 h 161925"/>
                <a:gd name="connsiteX151" fmla="*/ 16880 w 285750"/>
                <a:gd name="connsiteY151" fmla="*/ 79630 h 161925"/>
                <a:gd name="connsiteX152" fmla="*/ 20569 w 285750"/>
                <a:gd name="connsiteY152" fmla="*/ 83317 h 161925"/>
                <a:gd name="connsiteX153" fmla="*/ 24258 w 285750"/>
                <a:gd name="connsiteY153" fmla="*/ 83317 h 161925"/>
                <a:gd name="connsiteX154" fmla="*/ 24258 w 285750"/>
                <a:gd name="connsiteY154" fmla="*/ 79630 h 161925"/>
                <a:gd name="connsiteX155" fmla="*/ 20569 w 285750"/>
                <a:gd name="connsiteY155" fmla="*/ 75935 h 161925"/>
                <a:gd name="connsiteX156" fmla="*/ 16880 w 285750"/>
                <a:gd name="connsiteY156" fmla="*/ 72248 h 161925"/>
                <a:gd name="connsiteX157" fmla="*/ 20569 w 285750"/>
                <a:gd name="connsiteY157" fmla="*/ 6117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285750" h="161925">
                  <a:moveTo>
                    <a:pt x="90663" y="5812"/>
                  </a:moveTo>
                  <a:lnTo>
                    <a:pt x="83285" y="9507"/>
                  </a:lnTo>
                  <a:lnTo>
                    <a:pt x="90663" y="9507"/>
                  </a:lnTo>
                  <a:lnTo>
                    <a:pt x="90663" y="5812"/>
                  </a:lnTo>
                  <a:close/>
                  <a:moveTo>
                    <a:pt x="90663" y="9507"/>
                  </a:moveTo>
                  <a:lnTo>
                    <a:pt x="79595" y="13194"/>
                  </a:lnTo>
                  <a:lnTo>
                    <a:pt x="75906" y="13194"/>
                  </a:lnTo>
                  <a:lnTo>
                    <a:pt x="72217" y="13194"/>
                  </a:lnTo>
                  <a:lnTo>
                    <a:pt x="79595" y="9507"/>
                  </a:lnTo>
                  <a:lnTo>
                    <a:pt x="68528" y="13194"/>
                  </a:lnTo>
                  <a:lnTo>
                    <a:pt x="46393" y="20575"/>
                  </a:lnTo>
                  <a:lnTo>
                    <a:pt x="39015" y="24271"/>
                  </a:lnTo>
                  <a:lnTo>
                    <a:pt x="35326" y="24271"/>
                  </a:lnTo>
                  <a:lnTo>
                    <a:pt x="24258" y="27957"/>
                  </a:lnTo>
                  <a:lnTo>
                    <a:pt x="20569" y="27957"/>
                  </a:lnTo>
                  <a:lnTo>
                    <a:pt x="16880" y="35339"/>
                  </a:lnTo>
                  <a:lnTo>
                    <a:pt x="16880" y="39035"/>
                  </a:lnTo>
                  <a:lnTo>
                    <a:pt x="16880" y="42721"/>
                  </a:lnTo>
                  <a:lnTo>
                    <a:pt x="20569" y="53789"/>
                  </a:lnTo>
                  <a:lnTo>
                    <a:pt x="20569" y="57485"/>
                  </a:lnTo>
                  <a:lnTo>
                    <a:pt x="24258" y="57485"/>
                  </a:lnTo>
                  <a:lnTo>
                    <a:pt x="24258" y="61171"/>
                  </a:lnTo>
                  <a:lnTo>
                    <a:pt x="27947" y="61171"/>
                  </a:lnTo>
                  <a:lnTo>
                    <a:pt x="35326" y="57485"/>
                  </a:lnTo>
                  <a:lnTo>
                    <a:pt x="35326" y="53789"/>
                  </a:lnTo>
                  <a:lnTo>
                    <a:pt x="31636" y="53789"/>
                  </a:lnTo>
                  <a:lnTo>
                    <a:pt x="31636" y="50103"/>
                  </a:lnTo>
                  <a:lnTo>
                    <a:pt x="35326" y="50103"/>
                  </a:lnTo>
                  <a:lnTo>
                    <a:pt x="39015" y="50103"/>
                  </a:lnTo>
                  <a:lnTo>
                    <a:pt x="42704" y="50103"/>
                  </a:lnTo>
                  <a:lnTo>
                    <a:pt x="46393" y="46417"/>
                  </a:lnTo>
                  <a:lnTo>
                    <a:pt x="50082" y="46417"/>
                  </a:lnTo>
                  <a:lnTo>
                    <a:pt x="53771" y="46417"/>
                  </a:lnTo>
                  <a:lnTo>
                    <a:pt x="57460" y="46417"/>
                  </a:lnTo>
                  <a:lnTo>
                    <a:pt x="61150" y="42721"/>
                  </a:lnTo>
                  <a:lnTo>
                    <a:pt x="64839" y="39035"/>
                  </a:lnTo>
                  <a:lnTo>
                    <a:pt x="72217" y="42721"/>
                  </a:lnTo>
                  <a:lnTo>
                    <a:pt x="79595" y="42721"/>
                  </a:lnTo>
                  <a:lnTo>
                    <a:pt x="86974" y="46417"/>
                  </a:lnTo>
                  <a:lnTo>
                    <a:pt x="86974" y="50103"/>
                  </a:lnTo>
                  <a:lnTo>
                    <a:pt x="90663" y="53789"/>
                  </a:lnTo>
                  <a:lnTo>
                    <a:pt x="94352" y="61171"/>
                  </a:lnTo>
                  <a:lnTo>
                    <a:pt x="98041" y="61171"/>
                  </a:lnTo>
                  <a:lnTo>
                    <a:pt x="98041" y="68553"/>
                  </a:lnTo>
                  <a:lnTo>
                    <a:pt x="98041" y="72248"/>
                  </a:lnTo>
                  <a:lnTo>
                    <a:pt x="94352" y="72248"/>
                  </a:lnTo>
                  <a:lnTo>
                    <a:pt x="94352" y="75935"/>
                  </a:lnTo>
                  <a:lnTo>
                    <a:pt x="98041" y="75935"/>
                  </a:lnTo>
                  <a:lnTo>
                    <a:pt x="94352" y="79630"/>
                  </a:lnTo>
                  <a:lnTo>
                    <a:pt x="94352" y="83317"/>
                  </a:lnTo>
                  <a:lnTo>
                    <a:pt x="98041" y="90698"/>
                  </a:lnTo>
                  <a:lnTo>
                    <a:pt x="101730" y="90698"/>
                  </a:lnTo>
                  <a:lnTo>
                    <a:pt x="101730" y="94394"/>
                  </a:lnTo>
                  <a:lnTo>
                    <a:pt x="105420" y="98080"/>
                  </a:lnTo>
                  <a:lnTo>
                    <a:pt x="105420" y="101766"/>
                  </a:lnTo>
                  <a:lnTo>
                    <a:pt x="109109" y="109148"/>
                  </a:lnTo>
                  <a:lnTo>
                    <a:pt x="109109" y="116530"/>
                  </a:lnTo>
                  <a:lnTo>
                    <a:pt x="112798" y="116530"/>
                  </a:lnTo>
                  <a:lnTo>
                    <a:pt x="116487" y="116530"/>
                  </a:lnTo>
                  <a:lnTo>
                    <a:pt x="120176" y="120226"/>
                  </a:lnTo>
                  <a:lnTo>
                    <a:pt x="123865" y="116530"/>
                  </a:lnTo>
                  <a:lnTo>
                    <a:pt x="123865" y="120226"/>
                  </a:lnTo>
                  <a:lnTo>
                    <a:pt x="131244" y="120226"/>
                  </a:lnTo>
                  <a:lnTo>
                    <a:pt x="138622" y="120226"/>
                  </a:lnTo>
                  <a:lnTo>
                    <a:pt x="142311" y="120226"/>
                  </a:lnTo>
                  <a:lnTo>
                    <a:pt x="146001" y="120226"/>
                  </a:lnTo>
                  <a:lnTo>
                    <a:pt x="149690" y="123912"/>
                  </a:lnTo>
                  <a:lnTo>
                    <a:pt x="160758" y="127608"/>
                  </a:lnTo>
                  <a:lnTo>
                    <a:pt x="164447" y="134990"/>
                  </a:lnTo>
                  <a:lnTo>
                    <a:pt x="168136" y="138676"/>
                  </a:lnTo>
                  <a:lnTo>
                    <a:pt x="175515" y="138676"/>
                  </a:lnTo>
                  <a:lnTo>
                    <a:pt x="179204" y="138676"/>
                  </a:lnTo>
                  <a:lnTo>
                    <a:pt x="179204" y="142372"/>
                  </a:lnTo>
                  <a:lnTo>
                    <a:pt x="186582" y="142372"/>
                  </a:lnTo>
                  <a:lnTo>
                    <a:pt x="190271" y="146058"/>
                  </a:lnTo>
                  <a:lnTo>
                    <a:pt x="193960" y="146058"/>
                  </a:lnTo>
                  <a:lnTo>
                    <a:pt x="193960" y="149744"/>
                  </a:lnTo>
                  <a:lnTo>
                    <a:pt x="193960" y="153440"/>
                  </a:lnTo>
                  <a:lnTo>
                    <a:pt x="201339" y="157126"/>
                  </a:lnTo>
                  <a:lnTo>
                    <a:pt x="205028" y="160821"/>
                  </a:lnTo>
                  <a:lnTo>
                    <a:pt x="216095" y="160821"/>
                  </a:lnTo>
                  <a:lnTo>
                    <a:pt x="219785" y="160821"/>
                  </a:lnTo>
                  <a:lnTo>
                    <a:pt x="223474" y="160821"/>
                  </a:lnTo>
                  <a:lnTo>
                    <a:pt x="230852" y="157126"/>
                  </a:lnTo>
                  <a:lnTo>
                    <a:pt x="238230" y="157126"/>
                  </a:lnTo>
                  <a:lnTo>
                    <a:pt x="241919" y="157126"/>
                  </a:lnTo>
                  <a:lnTo>
                    <a:pt x="252987" y="153440"/>
                  </a:lnTo>
                  <a:lnTo>
                    <a:pt x="260365" y="149744"/>
                  </a:lnTo>
                  <a:lnTo>
                    <a:pt x="264054" y="146058"/>
                  </a:lnTo>
                  <a:lnTo>
                    <a:pt x="267744" y="138676"/>
                  </a:lnTo>
                  <a:lnTo>
                    <a:pt x="267744" y="134990"/>
                  </a:lnTo>
                  <a:lnTo>
                    <a:pt x="264054" y="134990"/>
                  </a:lnTo>
                  <a:lnTo>
                    <a:pt x="264054" y="131294"/>
                  </a:lnTo>
                  <a:lnTo>
                    <a:pt x="267744" y="131294"/>
                  </a:lnTo>
                  <a:lnTo>
                    <a:pt x="271433" y="131294"/>
                  </a:lnTo>
                  <a:lnTo>
                    <a:pt x="275122" y="131294"/>
                  </a:lnTo>
                  <a:lnTo>
                    <a:pt x="278811" y="131294"/>
                  </a:lnTo>
                  <a:lnTo>
                    <a:pt x="286189" y="127608"/>
                  </a:lnTo>
                  <a:lnTo>
                    <a:pt x="282500" y="127608"/>
                  </a:lnTo>
                  <a:lnTo>
                    <a:pt x="282500" y="123912"/>
                  </a:lnTo>
                  <a:lnTo>
                    <a:pt x="282500" y="120226"/>
                  </a:lnTo>
                  <a:lnTo>
                    <a:pt x="278811" y="120226"/>
                  </a:lnTo>
                  <a:lnTo>
                    <a:pt x="275122" y="123912"/>
                  </a:lnTo>
                  <a:lnTo>
                    <a:pt x="267744" y="123912"/>
                  </a:lnTo>
                  <a:lnTo>
                    <a:pt x="260365" y="123912"/>
                  </a:lnTo>
                  <a:lnTo>
                    <a:pt x="252987" y="123912"/>
                  </a:lnTo>
                  <a:lnTo>
                    <a:pt x="249298" y="123912"/>
                  </a:lnTo>
                  <a:lnTo>
                    <a:pt x="241919" y="123912"/>
                  </a:lnTo>
                  <a:lnTo>
                    <a:pt x="234541" y="112844"/>
                  </a:lnTo>
                  <a:lnTo>
                    <a:pt x="227163" y="112844"/>
                  </a:lnTo>
                  <a:lnTo>
                    <a:pt x="223474" y="109148"/>
                  </a:lnTo>
                  <a:lnTo>
                    <a:pt x="219785" y="109148"/>
                  </a:lnTo>
                  <a:lnTo>
                    <a:pt x="216095" y="105462"/>
                  </a:lnTo>
                  <a:lnTo>
                    <a:pt x="216095" y="101766"/>
                  </a:lnTo>
                  <a:lnTo>
                    <a:pt x="208717" y="98080"/>
                  </a:lnTo>
                  <a:lnTo>
                    <a:pt x="208717" y="94394"/>
                  </a:lnTo>
                  <a:lnTo>
                    <a:pt x="208717" y="90698"/>
                  </a:lnTo>
                  <a:lnTo>
                    <a:pt x="205028" y="90698"/>
                  </a:lnTo>
                  <a:lnTo>
                    <a:pt x="193960" y="79630"/>
                  </a:lnTo>
                  <a:lnTo>
                    <a:pt x="182893" y="68553"/>
                  </a:lnTo>
                  <a:lnTo>
                    <a:pt x="179204" y="68553"/>
                  </a:lnTo>
                  <a:lnTo>
                    <a:pt x="179204" y="64867"/>
                  </a:lnTo>
                  <a:lnTo>
                    <a:pt x="171825" y="64867"/>
                  </a:lnTo>
                  <a:lnTo>
                    <a:pt x="168136" y="61171"/>
                  </a:lnTo>
                  <a:lnTo>
                    <a:pt x="164447" y="61171"/>
                  </a:lnTo>
                  <a:lnTo>
                    <a:pt x="157069" y="53789"/>
                  </a:lnTo>
                  <a:lnTo>
                    <a:pt x="149690" y="50103"/>
                  </a:lnTo>
                  <a:lnTo>
                    <a:pt x="146001" y="50103"/>
                  </a:lnTo>
                  <a:lnTo>
                    <a:pt x="131244" y="42721"/>
                  </a:lnTo>
                  <a:lnTo>
                    <a:pt x="127555" y="39035"/>
                  </a:lnTo>
                  <a:lnTo>
                    <a:pt x="116487" y="35339"/>
                  </a:lnTo>
                  <a:lnTo>
                    <a:pt x="116487" y="31653"/>
                  </a:lnTo>
                  <a:lnTo>
                    <a:pt x="112798" y="27957"/>
                  </a:lnTo>
                  <a:lnTo>
                    <a:pt x="109109" y="27957"/>
                  </a:lnTo>
                  <a:lnTo>
                    <a:pt x="109109" y="31653"/>
                  </a:lnTo>
                  <a:lnTo>
                    <a:pt x="105420" y="27957"/>
                  </a:lnTo>
                  <a:lnTo>
                    <a:pt x="109109" y="27957"/>
                  </a:lnTo>
                  <a:lnTo>
                    <a:pt x="109109" y="24271"/>
                  </a:lnTo>
                  <a:lnTo>
                    <a:pt x="109109" y="20575"/>
                  </a:lnTo>
                  <a:lnTo>
                    <a:pt x="105420" y="20575"/>
                  </a:lnTo>
                  <a:lnTo>
                    <a:pt x="105420" y="24271"/>
                  </a:lnTo>
                  <a:lnTo>
                    <a:pt x="101730" y="24271"/>
                  </a:lnTo>
                  <a:lnTo>
                    <a:pt x="101730" y="20575"/>
                  </a:lnTo>
                  <a:lnTo>
                    <a:pt x="94352" y="16889"/>
                  </a:lnTo>
                  <a:lnTo>
                    <a:pt x="94352" y="13194"/>
                  </a:lnTo>
                  <a:lnTo>
                    <a:pt x="90663" y="9507"/>
                  </a:lnTo>
                  <a:close/>
                  <a:moveTo>
                    <a:pt x="20569" y="61171"/>
                  </a:moveTo>
                  <a:lnTo>
                    <a:pt x="16880" y="68553"/>
                  </a:lnTo>
                  <a:lnTo>
                    <a:pt x="13191" y="72248"/>
                  </a:lnTo>
                  <a:lnTo>
                    <a:pt x="5812" y="75935"/>
                  </a:lnTo>
                  <a:lnTo>
                    <a:pt x="9501" y="75935"/>
                  </a:lnTo>
                  <a:lnTo>
                    <a:pt x="16880" y="79630"/>
                  </a:lnTo>
                  <a:lnTo>
                    <a:pt x="20569" y="83317"/>
                  </a:lnTo>
                  <a:lnTo>
                    <a:pt x="24258" y="83317"/>
                  </a:lnTo>
                  <a:lnTo>
                    <a:pt x="24258" y="79630"/>
                  </a:lnTo>
                  <a:lnTo>
                    <a:pt x="20569" y="75935"/>
                  </a:lnTo>
                  <a:lnTo>
                    <a:pt x="16880" y="72248"/>
                  </a:lnTo>
                  <a:lnTo>
                    <a:pt x="20569" y="61171"/>
                  </a:lnTo>
                  <a:close/>
                </a:path>
              </a:pathLst>
            </a:custGeom>
            <a:solidFill>
              <a:srgbClr val="22777B"/>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107" name="Freeform: Shape 106">
              <a:extLst>
                <a:ext uri="{FF2B5EF4-FFF2-40B4-BE49-F238E27FC236}">
                  <a16:creationId xmlns:a16="http://schemas.microsoft.com/office/drawing/2014/main" id="{922479B2-FBB9-4488-AE86-5E2920BDB923}"/>
                </a:ext>
              </a:extLst>
            </p:cNvPr>
            <p:cNvSpPr/>
            <p:nvPr/>
          </p:nvSpPr>
          <p:spPr>
            <a:xfrm>
              <a:off x="1529917" y="4724359"/>
              <a:ext cx="92236" cy="46118"/>
            </a:xfrm>
            <a:custGeom>
              <a:avLst/>
              <a:gdLst>
                <a:gd name="connsiteX0" fmla="*/ 27947 w 57150"/>
                <a:gd name="connsiteY0" fmla="*/ 9507 h 28575"/>
                <a:gd name="connsiteX1" fmla="*/ 35325 w 57150"/>
                <a:gd name="connsiteY1" fmla="*/ 13193 h 28575"/>
                <a:gd name="connsiteX2" fmla="*/ 46393 w 57150"/>
                <a:gd name="connsiteY2" fmla="*/ 16889 h 28575"/>
                <a:gd name="connsiteX3" fmla="*/ 53771 w 57150"/>
                <a:gd name="connsiteY3" fmla="*/ 20575 h 28575"/>
                <a:gd name="connsiteX4" fmla="*/ 53771 w 57150"/>
                <a:gd name="connsiteY4" fmla="*/ 20575 h 28575"/>
                <a:gd name="connsiteX5" fmla="*/ 57460 w 57150"/>
                <a:gd name="connsiteY5" fmla="*/ 24261 h 28575"/>
                <a:gd name="connsiteX6" fmla="*/ 53771 w 57150"/>
                <a:gd name="connsiteY6" fmla="*/ 24261 h 28575"/>
                <a:gd name="connsiteX7" fmla="*/ 53771 w 57150"/>
                <a:gd name="connsiteY7" fmla="*/ 24261 h 28575"/>
                <a:gd name="connsiteX8" fmla="*/ 46393 w 57150"/>
                <a:gd name="connsiteY8" fmla="*/ 27957 h 28575"/>
                <a:gd name="connsiteX9" fmla="*/ 35325 w 57150"/>
                <a:gd name="connsiteY9" fmla="*/ 27957 h 28575"/>
                <a:gd name="connsiteX10" fmla="*/ 31636 w 57150"/>
                <a:gd name="connsiteY10" fmla="*/ 27957 h 28575"/>
                <a:gd name="connsiteX11" fmla="*/ 27947 w 57150"/>
                <a:gd name="connsiteY11" fmla="*/ 24261 h 28575"/>
                <a:gd name="connsiteX12" fmla="*/ 24258 w 57150"/>
                <a:gd name="connsiteY12" fmla="*/ 20575 h 28575"/>
                <a:gd name="connsiteX13" fmla="*/ 24258 w 57150"/>
                <a:gd name="connsiteY13" fmla="*/ 20575 h 28575"/>
                <a:gd name="connsiteX14" fmla="*/ 20569 w 57150"/>
                <a:gd name="connsiteY14" fmla="*/ 20575 h 28575"/>
                <a:gd name="connsiteX15" fmla="*/ 13191 w 57150"/>
                <a:gd name="connsiteY15" fmla="*/ 13193 h 28575"/>
                <a:gd name="connsiteX16" fmla="*/ 9501 w 57150"/>
                <a:gd name="connsiteY16" fmla="*/ 13193 h 28575"/>
                <a:gd name="connsiteX17" fmla="*/ 5812 w 57150"/>
                <a:gd name="connsiteY17" fmla="*/ 9507 h 28575"/>
                <a:gd name="connsiteX18" fmla="*/ 5812 w 57150"/>
                <a:gd name="connsiteY18" fmla="*/ 9507 h 28575"/>
                <a:gd name="connsiteX19" fmla="*/ 5812 w 57150"/>
                <a:gd name="connsiteY19" fmla="*/ 9507 h 28575"/>
                <a:gd name="connsiteX20" fmla="*/ 9501 w 57150"/>
                <a:gd name="connsiteY20" fmla="*/ 5812 h 28575"/>
                <a:gd name="connsiteX21" fmla="*/ 9501 w 57150"/>
                <a:gd name="connsiteY21" fmla="*/ 5812 h 28575"/>
                <a:gd name="connsiteX22" fmla="*/ 16880 w 57150"/>
                <a:gd name="connsiteY22" fmla="*/ 5812 h 28575"/>
                <a:gd name="connsiteX23" fmla="*/ 27947 w 57150"/>
                <a:gd name="connsiteY23" fmla="*/ 9507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150" h="28575">
                  <a:moveTo>
                    <a:pt x="27947" y="9507"/>
                  </a:moveTo>
                  <a:lnTo>
                    <a:pt x="35325" y="13193"/>
                  </a:lnTo>
                  <a:lnTo>
                    <a:pt x="46393" y="16889"/>
                  </a:lnTo>
                  <a:lnTo>
                    <a:pt x="53771" y="20575"/>
                  </a:lnTo>
                  <a:lnTo>
                    <a:pt x="53771" y="20575"/>
                  </a:lnTo>
                  <a:lnTo>
                    <a:pt x="57460" y="24261"/>
                  </a:lnTo>
                  <a:lnTo>
                    <a:pt x="53771" y="24261"/>
                  </a:lnTo>
                  <a:lnTo>
                    <a:pt x="53771" y="24261"/>
                  </a:lnTo>
                  <a:lnTo>
                    <a:pt x="46393" y="27957"/>
                  </a:lnTo>
                  <a:lnTo>
                    <a:pt x="35325" y="27957"/>
                  </a:lnTo>
                  <a:lnTo>
                    <a:pt x="31636" y="27957"/>
                  </a:lnTo>
                  <a:lnTo>
                    <a:pt x="27947" y="24261"/>
                  </a:lnTo>
                  <a:lnTo>
                    <a:pt x="24258" y="20575"/>
                  </a:lnTo>
                  <a:lnTo>
                    <a:pt x="24258" y="20575"/>
                  </a:lnTo>
                  <a:lnTo>
                    <a:pt x="20569" y="20575"/>
                  </a:lnTo>
                  <a:lnTo>
                    <a:pt x="13191" y="13193"/>
                  </a:lnTo>
                  <a:lnTo>
                    <a:pt x="9501" y="13193"/>
                  </a:lnTo>
                  <a:lnTo>
                    <a:pt x="5812" y="9507"/>
                  </a:lnTo>
                  <a:lnTo>
                    <a:pt x="5812" y="9507"/>
                  </a:lnTo>
                  <a:lnTo>
                    <a:pt x="5812" y="9507"/>
                  </a:lnTo>
                  <a:lnTo>
                    <a:pt x="9501" y="5812"/>
                  </a:lnTo>
                  <a:lnTo>
                    <a:pt x="9501" y="5812"/>
                  </a:lnTo>
                  <a:lnTo>
                    <a:pt x="16880" y="5812"/>
                  </a:lnTo>
                  <a:lnTo>
                    <a:pt x="27947" y="9507"/>
                  </a:lnTo>
                  <a:close/>
                </a:path>
              </a:pathLst>
            </a:custGeom>
            <a:solidFill>
              <a:srgbClr val="8CDADF"/>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108" name="Freeform: Shape 107">
              <a:extLst>
                <a:ext uri="{FF2B5EF4-FFF2-40B4-BE49-F238E27FC236}">
                  <a16:creationId xmlns:a16="http://schemas.microsoft.com/office/drawing/2014/main" id="{4E00D51C-7140-47B7-B631-4118B75B08AD}"/>
                </a:ext>
              </a:extLst>
            </p:cNvPr>
            <p:cNvSpPr/>
            <p:nvPr/>
          </p:nvSpPr>
          <p:spPr>
            <a:xfrm>
              <a:off x="1309617" y="4712445"/>
              <a:ext cx="46118" cy="61491"/>
            </a:xfrm>
            <a:custGeom>
              <a:avLst/>
              <a:gdLst>
                <a:gd name="connsiteX0" fmla="*/ 5812 w 28575"/>
                <a:gd name="connsiteY0" fmla="*/ 9507 h 38100"/>
                <a:gd name="connsiteX1" fmla="*/ 9501 w 28575"/>
                <a:gd name="connsiteY1" fmla="*/ 9507 h 38100"/>
                <a:gd name="connsiteX2" fmla="*/ 13191 w 28575"/>
                <a:gd name="connsiteY2" fmla="*/ 5812 h 38100"/>
                <a:gd name="connsiteX3" fmla="*/ 13191 w 28575"/>
                <a:gd name="connsiteY3" fmla="*/ 5812 h 38100"/>
                <a:gd name="connsiteX4" fmla="*/ 13191 w 28575"/>
                <a:gd name="connsiteY4" fmla="*/ 9507 h 38100"/>
                <a:gd name="connsiteX5" fmla="*/ 13191 w 28575"/>
                <a:gd name="connsiteY5" fmla="*/ 13194 h 38100"/>
                <a:gd name="connsiteX6" fmla="*/ 16880 w 28575"/>
                <a:gd name="connsiteY6" fmla="*/ 24271 h 38100"/>
                <a:gd name="connsiteX7" fmla="*/ 24258 w 28575"/>
                <a:gd name="connsiteY7" fmla="*/ 31643 h 38100"/>
                <a:gd name="connsiteX8" fmla="*/ 24258 w 28575"/>
                <a:gd name="connsiteY8" fmla="*/ 31643 h 38100"/>
                <a:gd name="connsiteX9" fmla="*/ 24258 w 28575"/>
                <a:gd name="connsiteY9" fmla="*/ 31643 h 38100"/>
                <a:gd name="connsiteX10" fmla="*/ 20569 w 28575"/>
                <a:gd name="connsiteY10" fmla="*/ 35339 h 38100"/>
                <a:gd name="connsiteX11" fmla="*/ 16880 w 28575"/>
                <a:gd name="connsiteY11" fmla="*/ 35339 h 38100"/>
                <a:gd name="connsiteX12" fmla="*/ 16880 w 28575"/>
                <a:gd name="connsiteY12" fmla="*/ 31643 h 38100"/>
                <a:gd name="connsiteX13" fmla="*/ 13191 w 28575"/>
                <a:gd name="connsiteY13" fmla="*/ 27957 h 38100"/>
                <a:gd name="connsiteX14" fmla="*/ 13191 w 28575"/>
                <a:gd name="connsiteY14" fmla="*/ 24271 h 38100"/>
                <a:gd name="connsiteX15" fmla="*/ 9501 w 28575"/>
                <a:gd name="connsiteY15" fmla="*/ 16889 h 38100"/>
                <a:gd name="connsiteX16" fmla="*/ 5812 w 28575"/>
                <a:gd name="connsiteY16" fmla="*/ 13194 h 38100"/>
                <a:gd name="connsiteX17" fmla="*/ 5812 w 28575"/>
                <a:gd name="connsiteY17" fmla="*/ 13194 h 38100"/>
                <a:gd name="connsiteX18" fmla="*/ 5812 w 28575"/>
                <a:gd name="connsiteY18" fmla="*/ 9507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575" h="38100">
                  <a:moveTo>
                    <a:pt x="5812" y="9507"/>
                  </a:moveTo>
                  <a:lnTo>
                    <a:pt x="9501" y="9507"/>
                  </a:lnTo>
                  <a:lnTo>
                    <a:pt x="13191" y="5812"/>
                  </a:lnTo>
                  <a:lnTo>
                    <a:pt x="13191" y="5812"/>
                  </a:lnTo>
                  <a:lnTo>
                    <a:pt x="13191" y="9507"/>
                  </a:lnTo>
                  <a:lnTo>
                    <a:pt x="13191" y="13194"/>
                  </a:lnTo>
                  <a:lnTo>
                    <a:pt x="16880" y="24271"/>
                  </a:lnTo>
                  <a:lnTo>
                    <a:pt x="24258" y="31643"/>
                  </a:lnTo>
                  <a:lnTo>
                    <a:pt x="24258" y="31643"/>
                  </a:lnTo>
                  <a:lnTo>
                    <a:pt x="24258" y="31643"/>
                  </a:lnTo>
                  <a:lnTo>
                    <a:pt x="20569" y="35339"/>
                  </a:lnTo>
                  <a:lnTo>
                    <a:pt x="16880" y="35339"/>
                  </a:lnTo>
                  <a:lnTo>
                    <a:pt x="16880" y="31643"/>
                  </a:lnTo>
                  <a:lnTo>
                    <a:pt x="13191" y="27957"/>
                  </a:lnTo>
                  <a:lnTo>
                    <a:pt x="13191" y="24271"/>
                  </a:lnTo>
                  <a:lnTo>
                    <a:pt x="9501" y="16889"/>
                  </a:lnTo>
                  <a:lnTo>
                    <a:pt x="5812" y="13194"/>
                  </a:lnTo>
                  <a:lnTo>
                    <a:pt x="5812" y="13194"/>
                  </a:lnTo>
                  <a:lnTo>
                    <a:pt x="5812" y="9507"/>
                  </a:lnTo>
                  <a:close/>
                </a:path>
              </a:pathLst>
            </a:custGeom>
            <a:solidFill>
              <a:schemeClr val="accent3">
                <a:lumMod val="20000"/>
                <a:lumOff val="80000"/>
              </a:schemeClr>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109" name="Freeform: Shape 108">
              <a:extLst>
                <a:ext uri="{FF2B5EF4-FFF2-40B4-BE49-F238E27FC236}">
                  <a16:creationId xmlns:a16="http://schemas.microsoft.com/office/drawing/2014/main" id="{F0B09591-A628-4CCE-B785-C7D5F648BA94}"/>
                </a:ext>
              </a:extLst>
            </p:cNvPr>
            <p:cNvSpPr/>
            <p:nvPr/>
          </p:nvSpPr>
          <p:spPr>
            <a:xfrm>
              <a:off x="1637092" y="4795842"/>
              <a:ext cx="15373" cy="15373"/>
            </a:xfrm>
            <a:custGeom>
              <a:avLst/>
              <a:gdLst>
                <a:gd name="connsiteX0" fmla="*/ 13190 w 9525"/>
                <a:gd name="connsiteY0" fmla="*/ 5812 h 9525"/>
                <a:gd name="connsiteX1" fmla="*/ 9501 w 9525"/>
                <a:gd name="connsiteY1" fmla="*/ 9498 h 9525"/>
                <a:gd name="connsiteX2" fmla="*/ 9501 w 9525"/>
                <a:gd name="connsiteY2" fmla="*/ 9498 h 9525"/>
                <a:gd name="connsiteX3" fmla="*/ 13190 w 9525"/>
                <a:gd name="connsiteY3" fmla="*/ 9498 h 9525"/>
                <a:gd name="connsiteX4" fmla="*/ 13190 w 9525"/>
                <a:gd name="connsiteY4" fmla="*/ 9498 h 9525"/>
                <a:gd name="connsiteX5" fmla="*/ 9501 w 9525"/>
                <a:gd name="connsiteY5" fmla="*/ 9498 h 9525"/>
                <a:gd name="connsiteX6" fmla="*/ 9501 w 9525"/>
                <a:gd name="connsiteY6" fmla="*/ 13194 h 9525"/>
                <a:gd name="connsiteX7" fmla="*/ 5812 w 9525"/>
                <a:gd name="connsiteY7" fmla="*/ 9498 h 9525"/>
                <a:gd name="connsiteX8" fmla="*/ 5812 w 9525"/>
                <a:gd name="connsiteY8" fmla="*/ 9498 h 9525"/>
                <a:gd name="connsiteX9" fmla="*/ 5812 w 9525"/>
                <a:gd name="connsiteY9" fmla="*/ 9498 h 9525"/>
                <a:gd name="connsiteX10" fmla="*/ 13190 w 9525"/>
                <a:gd name="connsiteY10"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25" h="9525">
                  <a:moveTo>
                    <a:pt x="13190" y="5812"/>
                  </a:moveTo>
                  <a:lnTo>
                    <a:pt x="9501" y="9498"/>
                  </a:lnTo>
                  <a:lnTo>
                    <a:pt x="9501" y="9498"/>
                  </a:lnTo>
                  <a:lnTo>
                    <a:pt x="13190" y="9498"/>
                  </a:lnTo>
                  <a:lnTo>
                    <a:pt x="13190" y="9498"/>
                  </a:lnTo>
                  <a:lnTo>
                    <a:pt x="9501" y="9498"/>
                  </a:lnTo>
                  <a:lnTo>
                    <a:pt x="9501" y="13194"/>
                  </a:lnTo>
                  <a:lnTo>
                    <a:pt x="5812" y="9498"/>
                  </a:lnTo>
                  <a:lnTo>
                    <a:pt x="5812" y="9498"/>
                  </a:lnTo>
                  <a:lnTo>
                    <a:pt x="5812" y="9498"/>
                  </a:lnTo>
                  <a:lnTo>
                    <a:pt x="13190" y="5812"/>
                  </a:lnTo>
                  <a:close/>
                </a:path>
              </a:pathLst>
            </a:custGeom>
            <a:solidFill>
              <a:schemeClr val="accent3">
                <a:lumMod val="20000"/>
                <a:lumOff val="80000"/>
              </a:schemeClr>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89" name="Freeform: Shape 88">
              <a:extLst>
                <a:ext uri="{FF2B5EF4-FFF2-40B4-BE49-F238E27FC236}">
                  <a16:creationId xmlns:a16="http://schemas.microsoft.com/office/drawing/2014/main" id="{C8961C98-271D-46B3-BA3F-6947B38B1F6E}"/>
                </a:ext>
              </a:extLst>
            </p:cNvPr>
            <p:cNvSpPr/>
            <p:nvPr/>
          </p:nvSpPr>
          <p:spPr>
            <a:xfrm>
              <a:off x="1476330" y="4635013"/>
              <a:ext cx="1491149" cy="784006"/>
            </a:xfrm>
            <a:custGeom>
              <a:avLst/>
              <a:gdLst>
                <a:gd name="connsiteX0" fmla="*/ 363662 w 923925"/>
                <a:gd name="connsiteY0" fmla="*/ 5812 h 485775"/>
                <a:gd name="connsiteX1" fmla="*/ 359973 w 923925"/>
                <a:gd name="connsiteY1" fmla="*/ 9507 h 485775"/>
                <a:gd name="connsiteX2" fmla="*/ 352595 w 923925"/>
                <a:gd name="connsiteY2" fmla="*/ 13194 h 485775"/>
                <a:gd name="connsiteX3" fmla="*/ 348906 w 923925"/>
                <a:gd name="connsiteY3" fmla="*/ 13194 h 485775"/>
                <a:gd name="connsiteX4" fmla="*/ 341527 w 923925"/>
                <a:gd name="connsiteY4" fmla="*/ 24271 h 485775"/>
                <a:gd name="connsiteX5" fmla="*/ 337838 w 923925"/>
                <a:gd name="connsiteY5" fmla="*/ 24271 h 485775"/>
                <a:gd name="connsiteX6" fmla="*/ 330460 w 923925"/>
                <a:gd name="connsiteY6" fmla="*/ 27957 h 485775"/>
                <a:gd name="connsiteX7" fmla="*/ 326771 w 923925"/>
                <a:gd name="connsiteY7" fmla="*/ 27957 h 485775"/>
                <a:gd name="connsiteX8" fmla="*/ 319392 w 923925"/>
                <a:gd name="connsiteY8" fmla="*/ 27957 h 485775"/>
                <a:gd name="connsiteX9" fmla="*/ 312014 w 923925"/>
                <a:gd name="connsiteY9" fmla="*/ 27957 h 485775"/>
                <a:gd name="connsiteX10" fmla="*/ 304636 w 923925"/>
                <a:gd name="connsiteY10" fmla="*/ 27957 h 485775"/>
                <a:gd name="connsiteX11" fmla="*/ 297257 w 923925"/>
                <a:gd name="connsiteY11" fmla="*/ 31643 h 485775"/>
                <a:gd name="connsiteX12" fmla="*/ 293568 w 923925"/>
                <a:gd name="connsiteY12" fmla="*/ 31643 h 485775"/>
                <a:gd name="connsiteX13" fmla="*/ 289878 w 923925"/>
                <a:gd name="connsiteY13" fmla="*/ 35339 h 485775"/>
                <a:gd name="connsiteX14" fmla="*/ 289878 w 923925"/>
                <a:gd name="connsiteY14" fmla="*/ 39025 h 485775"/>
                <a:gd name="connsiteX15" fmla="*/ 286189 w 923925"/>
                <a:gd name="connsiteY15" fmla="*/ 42721 h 485775"/>
                <a:gd name="connsiteX16" fmla="*/ 282500 w 923925"/>
                <a:gd name="connsiteY16" fmla="*/ 46407 h 485775"/>
                <a:gd name="connsiteX17" fmla="*/ 278811 w 923925"/>
                <a:gd name="connsiteY17" fmla="*/ 57485 h 485775"/>
                <a:gd name="connsiteX18" fmla="*/ 275121 w 923925"/>
                <a:gd name="connsiteY18" fmla="*/ 61171 h 485775"/>
                <a:gd name="connsiteX19" fmla="*/ 271432 w 923925"/>
                <a:gd name="connsiteY19" fmla="*/ 68553 h 485775"/>
                <a:gd name="connsiteX20" fmla="*/ 260365 w 923925"/>
                <a:gd name="connsiteY20" fmla="*/ 75935 h 485775"/>
                <a:gd name="connsiteX21" fmla="*/ 252986 w 923925"/>
                <a:gd name="connsiteY21" fmla="*/ 79621 h 485775"/>
                <a:gd name="connsiteX22" fmla="*/ 249297 w 923925"/>
                <a:gd name="connsiteY22" fmla="*/ 83317 h 485775"/>
                <a:gd name="connsiteX23" fmla="*/ 245608 w 923925"/>
                <a:gd name="connsiteY23" fmla="*/ 87003 h 485775"/>
                <a:gd name="connsiteX24" fmla="*/ 230851 w 923925"/>
                <a:gd name="connsiteY24" fmla="*/ 90698 h 485775"/>
                <a:gd name="connsiteX25" fmla="*/ 230851 w 923925"/>
                <a:gd name="connsiteY25" fmla="*/ 94385 h 485775"/>
                <a:gd name="connsiteX26" fmla="*/ 223473 w 923925"/>
                <a:gd name="connsiteY26" fmla="*/ 98080 h 485775"/>
                <a:gd name="connsiteX27" fmla="*/ 219784 w 923925"/>
                <a:gd name="connsiteY27" fmla="*/ 101766 h 485775"/>
                <a:gd name="connsiteX28" fmla="*/ 216095 w 923925"/>
                <a:gd name="connsiteY28" fmla="*/ 101766 h 485775"/>
                <a:gd name="connsiteX29" fmla="*/ 212406 w 923925"/>
                <a:gd name="connsiteY29" fmla="*/ 105462 h 485775"/>
                <a:gd name="connsiteX30" fmla="*/ 208717 w 923925"/>
                <a:gd name="connsiteY30" fmla="*/ 109148 h 485775"/>
                <a:gd name="connsiteX31" fmla="*/ 179203 w 923925"/>
                <a:gd name="connsiteY31" fmla="*/ 116530 h 485775"/>
                <a:gd name="connsiteX32" fmla="*/ 175514 w 923925"/>
                <a:gd name="connsiteY32" fmla="*/ 116530 h 485775"/>
                <a:gd name="connsiteX33" fmla="*/ 171825 w 923925"/>
                <a:gd name="connsiteY33" fmla="*/ 116530 h 485775"/>
                <a:gd name="connsiteX34" fmla="*/ 160757 w 923925"/>
                <a:gd name="connsiteY34" fmla="*/ 120226 h 485775"/>
                <a:gd name="connsiteX35" fmla="*/ 153379 w 923925"/>
                <a:gd name="connsiteY35" fmla="*/ 120226 h 485775"/>
                <a:gd name="connsiteX36" fmla="*/ 142311 w 923925"/>
                <a:gd name="connsiteY36" fmla="*/ 116530 h 485775"/>
                <a:gd name="connsiteX37" fmla="*/ 138621 w 923925"/>
                <a:gd name="connsiteY37" fmla="*/ 112844 h 485775"/>
                <a:gd name="connsiteX38" fmla="*/ 134932 w 923925"/>
                <a:gd name="connsiteY38" fmla="*/ 112844 h 485775"/>
                <a:gd name="connsiteX39" fmla="*/ 131243 w 923925"/>
                <a:gd name="connsiteY39" fmla="*/ 109148 h 485775"/>
                <a:gd name="connsiteX40" fmla="*/ 127554 w 923925"/>
                <a:gd name="connsiteY40" fmla="*/ 109148 h 485775"/>
                <a:gd name="connsiteX41" fmla="*/ 120176 w 923925"/>
                <a:gd name="connsiteY41" fmla="*/ 109148 h 485775"/>
                <a:gd name="connsiteX42" fmla="*/ 116487 w 923925"/>
                <a:gd name="connsiteY42" fmla="*/ 112844 h 485775"/>
                <a:gd name="connsiteX43" fmla="*/ 109108 w 923925"/>
                <a:gd name="connsiteY43" fmla="*/ 116530 h 485775"/>
                <a:gd name="connsiteX44" fmla="*/ 105419 w 923925"/>
                <a:gd name="connsiteY44" fmla="*/ 120226 h 485775"/>
                <a:gd name="connsiteX45" fmla="*/ 105419 w 923925"/>
                <a:gd name="connsiteY45" fmla="*/ 123912 h 485775"/>
                <a:gd name="connsiteX46" fmla="*/ 101730 w 923925"/>
                <a:gd name="connsiteY46" fmla="*/ 131294 h 485775"/>
                <a:gd name="connsiteX47" fmla="*/ 98041 w 923925"/>
                <a:gd name="connsiteY47" fmla="*/ 134980 h 485775"/>
                <a:gd name="connsiteX48" fmla="*/ 94352 w 923925"/>
                <a:gd name="connsiteY48" fmla="*/ 138676 h 485775"/>
                <a:gd name="connsiteX49" fmla="*/ 90662 w 923925"/>
                <a:gd name="connsiteY49" fmla="*/ 142362 h 485775"/>
                <a:gd name="connsiteX50" fmla="*/ 83284 w 923925"/>
                <a:gd name="connsiteY50" fmla="*/ 146058 h 485775"/>
                <a:gd name="connsiteX51" fmla="*/ 79595 w 923925"/>
                <a:gd name="connsiteY51" fmla="*/ 146058 h 485775"/>
                <a:gd name="connsiteX52" fmla="*/ 75906 w 923925"/>
                <a:gd name="connsiteY52" fmla="*/ 149744 h 485775"/>
                <a:gd name="connsiteX53" fmla="*/ 72217 w 923925"/>
                <a:gd name="connsiteY53" fmla="*/ 149744 h 485775"/>
                <a:gd name="connsiteX54" fmla="*/ 72217 w 923925"/>
                <a:gd name="connsiteY54" fmla="*/ 146058 h 485775"/>
                <a:gd name="connsiteX55" fmla="*/ 68527 w 923925"/>
                <a:gd name="connsiteY55" fmla="*/ 146058 h 485775"/>
                <a:gd name="connsiteX56" fmla="*/ 64838 w 923925"/>
                <a:gd name="connsiteY56" fmla="*/ 149744 h 485775"/>
                <a:gd name="connsiteX57" fmla="*/ 57460 w 923925"/>
                <a:gd name="connsiteY57" fmla="*/ 149744 h 485775"/>
                <a:gd name="connsiteX58" fmla="*/ 53771 w 923925"/>
                <a:gd name="connsiteY58" fmla="*/ 149744 h 485775"/>
                <a:gd name="connsiteX59" fmla="*/ 50082 w 923925"/>
                <a:gd name="connsiteY59" fmla="*/ 153440 h 485775"/>
                <a:gd name="connsiteX60" fmla="*/ 46393 w 923925"/>
                <a:gd name="connsiteY60" fmla="*/ 153440 h 485775"/>
                <a:gd name="connsiteX61" fmla="*/ 42703 w 923925"/>
                <a:gd name="connsiteY61" fmla="*/ 153440 h 485775"/>
                <a:gd name="connsiteX62" fmla="*/ 39014 w 923925"/>
                <a:gd name="connsiteY62" fmla="*/ 160821 h 485775"/>
                <a:gd name="connsiteX63" fmla="*/ 35325 w 923925"/>
                <a:gd name="connsiteY63" fmla="*/ 160821 h 485775"/>
                <a:gd name="connsiteX64" fmla="*/ 35325 w 923925"/>
                <a:gd name="connsiteY64" fmla="*/ 157126 h 485775"/>
                <a:gd name="connsiteX65" fmla="*/ 31636 w 923925"/>
                <a:gd name="connsiteY65" fmla="*/ 157126 h 485775"/>
                <a:gd name="connsiteX66" fmla="*/ 27947 w 923925"/>
                <a:gd name="connsiteY66" fmla="*/ 157126 h 485775"/>
                <a:gd name="connsiteX67" fmla="*/ 16879 w 923925"/>
                <a:gd name="connsiteY67" fmla="*/ 160821 h 485775"/>
                <a:gd name="connsiteX68" fmla="*/ 13190 w 923925"/>
                <a:gd name="connsiteY68" fmla="*/ 164508 h 485775"/>
                <a:gd name="connsiteX69" fmla="*/ 9501 w 923925"/>
                <a:gd name="connsiteY69" fmla="*/ 168203 h 485775"/>
                <a:gd name="connsiteX70" fmla="*/ 5812 w 923925"/>
                <a:gd name="connsiteY70" fmla="*/ 175576 h 485775"/>
                <a:gd name="connsiteX71" fmla="*/ 5812 w 923925"/>
                <a:gd name="connsiteY71" fmla="*/ 179271 h 485775"/>
                <a:gd name="connsiteX72" fmla="*/ 5812 w 923925"/>
                <a:gd name="connsiteY72" fmla="*/ 186653 h 485775"/>
                <a:gd name="connsiteX73" fmla="*/ 5812 w 923925"/>
                <a:gd name="connsiteY73" fmla="*/ 190339 h 485775"/>
                <a:gd name="connsiteX74" fmla="*/ 9501 w 923925"/>
                <a:gd name="connsiteY74" fmla="*/ 194035 h 485775"/>
                <a:gd name="connsiteX75" fmla="*/ 24258 w 923925"/>
                <a:gd name="connsiteY75" fmla="*/ 212485 h 485775"/>
                <a:gd name="connsiteX76" fmla="*/ 24258 w 923925"/>
                <a:gd name="connsiteY76" fmla="*/ 219867 h 485775"/>
                <a:gd name="connsiteX77" fmla="*/ 27947 w 923925"/>
                <a:gd name="connsiteY77" fmla="*/ 223553 h 485775"/>
                <a:gd name="connsiteX78" fmla="*/ 27947 w 923925"/>
                <a:gd name="connsiteY78" fmla="*/ 227249 h 485775"/>
                <a:gd name="connsiteX79" fmla="*/ 24258 w 923925"/>
                <a:gd name="connsiteY79" fmla="*/ 234631 h 485775"/>
                <a:gd name="connsiteX80" fmla="*/ 20568 w 923925"/>
                <a:gd name="connsiteY80" fmla="*/ 245699 h 485775"/>
                <a:gd name="connsiteX81" fmla="*/ 16879 w 923925"/>
                <a:gd name="connsiteY81" fmla="*/ 253081 h 485775"/>
                <a:gd name="connsiteX82" fmla="*/ 16879 w 923925"/>
                <a:gd name="connsiteY82" fmla="*/ 256776 h 485775"/>
                <a:gd name="connsiteX83" fmla="*/ 24258 w 923925"/>
                <a:gd name="connsiteY83" fmla="*/ 271531 h 485775"/>
                <a:gd name="connsiteX84" fmla="*/ 39014 w 923925"/>
                <a:gd name="connsiteY84" fmla="*/ 312136 h 485775"/>
                <a:gd name="connsiteX85" fmla="*/ 46393 w 923925"/>
                <a:gd name="connsiteY85" fmla="*/ 323204 h 485775"/>
                <a:gd name="connsiteX86" fmla="*/ 39014 w 923925"/>
                <a:gd name="connsiteY86" fmla="*/ 326890 h 485775"/>
                <a:gd name="connsiteX87" fmla="*/ 39014 w 923925"/>
                <a:gd name="connsiteY87" fmla="*/ 330585 h 485775"/>
                <a:gd name="connsiteX88" fmla="*/ 42703 w 923925"/>
                <a:gd name="connsiteY88" fmla="*/ 341654 h 485775"/>
                <a:gd name="connsiteX89" fmla="*/ 39014 w 923925"/>
                <a:gd name="connsiteY89" fmla="*/ 352731 h 485775"/>
                <a:gd name="connsiteX90" fmla="*/ 39014 w 923925"/>
                <a:gd name="connsiteY90" fmla="*/ 356417 h 485775"/>
                <a:gd name="connsiteX91" fmla="*/ 42703 w 923925"/>
                <a:gd name="connsiteY91" fmla="*/ 356417 h 485775"/>
                <a:gd name="connsiteX92" fmla="*/ 46393 w 923925"/>
                <a:gd name="connsiteY92" fmla="*/ 360113 h 485775"/>
                <a:gd name="connsiteX93" fmla="*/ 72217 w 923925"/>
                <a:gd name="connsiteY93" fmla="*/ 360113 h 485775"/>
                <a:gd name="connsiteX94" fmla="*/ 72217 w 923925"/>
                <a:gd name="connsiteY94" fmla="*/ 363799 h 485775"/>
                <a:gd name="connsiteX95" fmla="*/ 75906 w 923925"/>
                <a:gd name="connsiteY95" fmla="*/ 367485 h 485775"/>
                <a:gd name="connsiteX96" fmla="*/ 75906 w 923925"/>
                <a:gd name="connsiteY96" fmla="*/ 378563 h 485775"/>
                <a:gd name="connsiteX97" fmla="*/ 79595 w 923925"/>
                <a:gd name="connsiteY97" fmla="*/ 374867 h 485775"/>
                <a:gd name="connsiteX98" fmla="*/ 90662 w 923925"/>
                <a:gd name="connsiteY98" fmla="*/ 378563 h 485775"/>
                <a:gd name="connsiteX99" fmla="*/ 94352 w 923925"/>
                <a:gd name="connsiteY99" fmla="*/ 378563 h 485775"/>
                <a:gd name="connsiteX100" fmla="*/ 98041 w 923925"/>
                <a:gd name="connsiteY100" fmla="*/ 378563 h 485775"/>
                <a:gd name="connsiteX101" fmla="*/ 101730 w 923925"/>
                <a:gd name="connsiteY101" fmla="*/ 378563 h 485775"/>
                <a:gd name="connsiteX102" fmla="*/ 105419 w 923925"/>
                <a:gd name="connsiteY102" fmla="*/ 378563 h 485775"/>
                <a:gd name="connsiteX103" fmla="*/ 109108 w 923925"/>
                <a:gd name="connsiteY103" fmla="*/ 374867 h 485775"/>
                <a:gd name="connsiteX104" fmla="*/ 116487 w 923925"/>
                <a:gd name="connsiteY104" fmla="*/ 371181 h 485775"/>
                <a:gd name="connsiteX105" fmla="*/ 120176 w 923925"/>
                <a:gd name="connsiteY105" fmla="*/ 371181 h 485775"/>
                <a:gd name="connsiteX106" fmla="*/ 120176 w 923925"/>
                <a:gd name="connsiteY106" fmla="*/ 367485 h 485775"/>
                <a:gd name="connsiteX107" fmla="*/ 120176 w 923925"/>
                <a:gd name="connsiteY107" fmla="*/ 363799 h 485775"/>
                <a:gd name="connsiteX108" fmla="*/ 101730 w 923925"/>
                <a:gd name="connsiteY108" fmla="*/ 337967 h 485775"/>
                <a:gd name="connsiteX109" fmla="*/ 98041 w 923925"/>
                <a:gd name="connsiteY109" fmla="*/ 326890 h 485775"/>
                <a:gd name="connsiteX110" fmla="*/ 101730 w 923925"/>
                <a:gd name="connsiteY110" fmla="*/ 323204 h 485775"/>
                <a:gd name="connsiteX111" fmla="*/ 105419 w 923925"/>
                <a:gd name="connsiteY111" fmla="*/ 323204 h 485775"/>
                <a:gd name="connsiteX112" fmla="*/ 105419 w 923925"/>
                <a:gd name="connsiteY112" fmla="*/ 319508 h 485775"/>
                <a:gd name="connsiteX113" fmla="*/ 105419 w 923925"/>
                <a:gd name="connsiteY113" fmla="*/ 315822 h 485775"/>
                <a:gd name="connsiteX114" fmla="*/ 105419 w 923925"/>
                <a:gd name="connsiteY114" fmla="*/ 312136 h 485775"/>
                <a:gd name="connsiteX115" fmla="*/ 105419 w 923925"/>
                <a:gd name="connsiteY115" fmla="*/ 308440 h 485775"/>
                <a:gd name="connsiteX116" fmla="*/ 101730 w 923925"/>
                <a:gd name="connsiteY116" fmla="*/ 308440 h 485775"/>
                <a:gd name="connsiteX117" fmla="*/ 98041 w 923925"/>
                <a:gd name="connsiteY117" fmla="*/ 304754 h 485775"/>
                <a:gd name="connsiteX118" fmla="*/ 101730 w 923925"/>
                <a:gd name="connsiteY118" fmla="*/ 301058 h 485775"/>
                <a:gd name="connsiteX119" fmla="*/ 127554 w 923925"/>
                <a:gd name="connsiteY119" fmla="*/ 289990 h 485775"/>
                <a:gd name="connsiteX120" fmla="*/ 134932 w 923925"/>
                <a:gd name="connsiteY120" fmla="*/ 289990 h 485775"/>
                <a:gd name="connsiteX121" fmla="*/ 138621 w 923925"/>
                <a:gd name="connsiteY121" fmla="*/ 286294 h 485775"/>
                <a:gd name="connsiteX122" fmla="*/ 142311 w 923925"/>
                <a:gd name="connsiteY122" fmla="*/ 282608 h 485775"/>
                <a:gd name="connsiteX123" fmla="*/ 146000 w 923925"/>
                <a:gd name="connsiteY123" fmla="*/ 282608 h 485775"/>
                <a:gd name="connsiteX124" fmla="*/ 149690 w 923925"/>
                <a:gd name="connsiteY124" fmla="*/ 282608 h 485775"/>
                <a:gd name="connsiteX125" fmla="*/ 175514 w 923925"/>
                <a:gd name="connsiteY125" fmla="*/ 278912 h 485775"/>
                <a:gd name="connsiteX126" fmla="*/ 179203 w 923925"/>
                <a:gd name="connsiteY126" fmla="*/ 286294 h 485775"/>
                <a:gd name="connsiteX127" fmla="*/ 171825 w 923925"/>
                <a:gd name="connsiteY127" fmla="*/ 304754 h 485775"/>
                <a:gd name="connsiteX128" fmla="*/ 175514 w 923925"/>
                <a:gd name="connsiteY128" fmla="*/ 326890 h 485775"/>
                <a:gd name="connsiteX129" fmla="*/ 193960 w 923925"/>
                <a:gd name="connsiteY129" fmla="*/ 319508 h 485775"/>
                <a:gd name="connsiteX130" fmla="*/ 197649 w 923925"/>
                <a:gd name="connsiteY130" fmla="*/ 319508 h 485775"/>
                <a:gd name="connsiteX131" fmla="*/ 205027 w 923925"/>
                <a:gd name="connsiteY131" fmla="*/ 319508 h 485775"/>
                <a:gd name="connsiteX132" fmla="*/ 219784 w 923925"/>
                <a:gd name="connsiteY132" fmla="*/ 323204 h 485775"/>
                <a:gd name="connsiteX133" fmla="*/ 227162 w 923925"/>
                <a:gd name="connsiteY133" fmla="*/ 326890 h 485775"/>
                <a:gd name="connsiteX134" fmla="*/ 230851 w 923925"/>
                <a:gd name="connsiteY134" fmla="*/ 326890 h 485775"/>
                <a:gd name="connsiteX135" fmla="*/ 230851 w 923925"/>
                <a:gd name="connsiteY135" fmla="*/ 323204 h 485775"/>
                <a:gd name="connsiteX136" fmla="*/ 234541 w 923925"/>
                <a:gd name="connsiteY136" fmla="*/ 326890 h 485775"/>
                <a:gd name="connsiteX137" fmla="*/ 241919 w 923925"/>
                <a:gd name="connsiteY137" fmla="*/ 323204 h 485775"/>
                <a:gd name="connsiteX138" fmla="*/ 238230 w 923925"/>
                <a:gd name="connsiteY138" fmla="*/ 308440 h 485775"/>
                <a:gd name="connsiteX139" fmla="*/ 249297 w 923925"/>
                <a:gd name="connsiteY139" fmla="*/ 304754 h 485775"/>
                <a:gd name="connsiteX140" fmla="*/ 252986 w 923925"/>
                <a:gd name="connsiteY140" fmla="*/ 304754 h 485775"/>
                <a:gd name="connsiteX141" fmla="*/ 256676 w 923925"/>
                <a:gd name="connsiteY141" fmla="*/ 293676 h 485775"/>
                <a:gd name="connsiteX142" fmla="*/ 264054 w 923925"/>
                <a:gd name="connsiteY142" fmla="*/ 289990 h 485775"/>
                <a:gd name="connsiteX143" fmla="*/ 267743 w 923925"/>
                <a:gd name="connsiteY143" fmla="*/ 286294 h 485775"/>
                <a:gd name="connsiteX144" fmla="*/ 271432 w 923925"/>
                <a:gd name="connsiteY144" fmla="*/ 278912 h 485775"/>
                <a:gd name="connsiteX145" fmla="*/ 278811 w 923925"/>
                <a:gd name="connsiteY145" fmla="*/ 275226 h 485775"/>
                <a:gd name="connsiteX146" fmla="*/ 282500 w 923925"/>
                <a:gd name="connsiteY146" fmla="*/ 271531 h 485775"/>
                <a:gd name="connsiteX147" fmla="*/ 278811 w 923925"/>
                <a:gd name="connsiteY147" fmla="*/ 267844 h 485775"/>
                <a:gd name="connsiteX148" fmla="*/ 282500 w 923925"/>
                <a:gd name="connsiteY148" fmla="*/ 267844 h 485775"/>
                <a:gd name="connsiteX149" fmla="*/ 286189 w 923925"/>
                <a:gd name="connsiteY149" fmla="*/ 267844 h 485775"/>
                <a:gd name="connsiteX150" fmla="*/ 286189 w 923925"/>
                <a:gd name="connsiteY150" fmla="*/ 264158 h 485775"/>
                <a:gd name="connsiteX151" fmla="*/ 293568 w 923925"/>
                <a:gd name="connsiteY151" fmla="*/ 260462 h 485775"/>
                <a:gd name="connsiteX152" fmla="*/ 297257 w 923925"/>
                <a:gd name="connsiteY152" fmla="*/ 264158 h 485775"/>
                <a:gd name="connsiteX153" fmla="*/ 297257 w 923925"/>
                <a:gd name="connsiteY153" fmla="*/ 267844 h 485775"/>
                <a:gd name="connsiteX154" fmla="*/ 300946 w 923925"/>
                <a:gd name="connsiteY154" fmla="*/ 267844 h 485775"/>
                <a:gd name="connsiteX155" fmla="*/ 304636 w 923925"/>
                <a:gd name="connsiteY155" fmla="*/ 267844 h 485775"/>
                <a:gd name="connsiteX156" fmla="*/ 312014 w 923925"/>
                <a:gd name="connsiteY156" fmla="*/ 271531 h 485775"/>
                <a:gd name="connsiteX157" fmla="*/ 315703 w 923925"/>
                <a:gd name="connsiteY157" fmla="*/ 271531 h 485775"/>
                <a:gd name="connsiteX158" fmla="*/ 315703 w 923925"/>
                <a:gd name="connsiteY158" fmla="*/ 275226 h 485775"/>
                <a:gd name="connsiteX159" fmla="*/ 315703 w 923925"/>
                <a:gd name="connsiteY159" fmla="*/ 278912 h 485775"/>
                <a:gd name="connsiteX160" fmla="*/ 319392 w 923925"/>
                <a:gd name="connsiteY160" fmla="*/ 282608 h 485775"/>
                <a:gd name="connsiteX161" fmla="*/ 323081 w 923925"/>
                <a:gd name="connsiteY161" fmla="*/ 278912 h 485775"/>
                <a:gd name="connsiteX162" fmla="*/ 326771 w 923925"/>
                <a:gd name="connsiteY162" fmla="*/ 282608 h 485775"/>
                <a:gd name="connsiteX163" fmla="*/ 323081 w 923925"/>
                <a:gd name="connsiteY163" fmla="*/ 289990 h 485775"/>
                <a:gd name="connsiteX164" fmla="*/ 323081 w 923925"/>
                <a:gd name="connsiteY164" fmla="*/ 297372 h 485775"/>
                <a:gd name="connsiteX165" fmla="*/ 326771 w 923925"/>
                <a:gd name="connsiteY165" fmla="*/ 297372 h 485775"/>
                <a:gd name="connsiteX166" fmla="*/ 326771 w 923925"/>
                <a:gd name="connsiteY166" fmla="*/ 301058 h 485775"/>
                <a:gd name="connsiteX167" fmla="*/ 323081 w 923925"/>
                <a:gd name="connsiteY167" fmla="*/ 301058 h 485775"/>
                <a:gd name="connsiteX168" fmla="*/ 319392 w 923925"/>
                <a:gd name="connsiteY168" fmla="*/ 304754 h 485775"/>
                <a:gd name="connsiteX169" fmla="*/ 315703 w 923925"/>
                <a:gd name="connsiteY169" fmla="*/ 308440 h 485775"/>
                <a:gd name="connsiteX170" fmla="*/ 319392 w 923925"/>
                <a:gd name="connsiteY170" fmla="*/ 323204 h 485775"/>
                <a:gd name="connsiteX171" fmla="*/ 319392 w 923925"/>
                <a:gd name="connsiteY171" fmla="*/ 326890 h 485775"/>
                <a:gd name="connsiteX172" fmla="*/ 323081 w 923925"/>
                <a:gd name="connsiteY172" fmla="*/ 326890 h 485775"/>
                <a:gd name="connsiteX173" fmla="*/ 326771 w 923925"/>
                <a:gd name="connsiteY173" fmla="*/ 326890 h 485775"/>
                <a:gd name="connsiteX174" fmla="*/ 326771 w 923925"/>
                <a:gd name="connsiteY174" fmla="*/ 330585 h 485775"/>
                <a:gd name="connsiteX175" fmla="*/ 323081 w 923925"/>
                <a:gd name="connsiteY175" fmla="*/ 330585 h 485775"/>
                <a:gd name="connsiteX176" fmla="*/ 312014 w 923925"/>
                <a:gd name="connsiteY176" fmla="*/ 326890 h 485775"/>
                <a:gd name="connsiteX177" fmla="*/ 308325 w 923925"/>
                <a:gd name="connsiteY177" fmla="*/ 323204 h 485775"/>
                <a:gd name="connsiteX178" fmla="*/ 300946 w 923925"/>
                <a:gd name="connsiteY178" fmla="*/ 323204 h 485775"/>
                <a:gd name="connsiteX179" fmla="*/ 300946 w 923925"/>
                <a:gd name="connsiteY179" fmla="*/ 319508 h 485775"/>
                <a:gd name="connsiteX180" fmla="*/ 297257 w 923925"/>
                <a:gd name="connsiteY180" fmla="*/ 319508 h 485775"/>
                <a:gd name="connsiteX181" fmla="*/ 289878 w 923925"/>
                <a:gd name="connsiteY181" fmla="*/ 323204 h 485775"/>
                <a:gd name="connsiteX182" fmla="*/ 289878 w 923925"/>
                <a:gd name="connsiteY182" fmla="*/ 326890 h 485775"/>
                <a:gd name="connsiteX183" fmla="*/ 289878 w 923925"/>
                <a:gd name="connsiteY183" fmla="*/ 330585 h 485775"/>
                <a:gd name="connsiteX184" fmla="*/ 293568 w 923925"/>
                <a:gd name="connsiteY184" fmla="*/ 334272 h 485775"/>
                <a:gd name="connsiteX185" fmla="*/ 300946 w 923925"/>
                <a:gd name="connsiteY185" fmla="*/ 337967 h 485775"/>
                <a:gd name="connsiteX186" fmla="*/ 304636 w 923925"/>
                <a:gd name="connsiteY186" fmla="*/ 337967 h 485775"/>
                <a:gd name="connsiteX187" fmla="*/ 315703 w 923925"/>
                <a:gd name="connsiteY187" fmla="*/ 334272 h 485775"/>
                <a:gd name="connsiteX188" fmla="*/ 323081 w 923925"/>
                <a:gd name="connsiteY188" fmla="*/ 334272 h 485775"/>
                <a:gd name="connsiteX189" fmla="*/ 330460 w 923925"/>
                <a:gd name="connsiteY189" fmla="*/ 334272 h 485775"/>
                <a:gd name="connsiteX190" fmla="*/ 334149 w 923925"/>
                <a:gd name="connsiteY190" fmla="*/ 337967 h 485775"/>
                <a:gd name="connsiteX191" fmla="*/ 337838 w 923925"/>
                <a:gd name="connsiteY191" fmla="*/ 337967 h 485775"/>
                <a:gd name="connsiteX192" fmla="*/ 337838 w 923925"/>
                <a:gd name="connsiteY192" fmla="*/ 334272 h 485775"/>
                <a:gd name="connsiteX193" fmla="*/ 341527 w 923925"/>
                <a:gd name="connsiteY193" fmla="*/ 334272 h 485775"/>
                <a:gd name="connsiteX194" fmla="*/ 345217 w 923925"/>
                <a:gd name="connsiteY194" fmla="*/ 334272 h 485775"/>
                <a:gd name="connsiteX195" fmla="*/ 348906 w 923925"/>
                <a:gd name="connsiteY195" fmla="*/ 334272 h 485775"/>
                <a:gd name="connsiteX196" fmla="*/ 352595 w 923925"/>
                <a:gd name="connsiteY196" fmla="*/ 334272 h 485775"/>
                <a:gd name="connsiteX197" fmla="*/ 359973 w 923925"/>
                <a:gd name="connsiteY197" fmla="*/ 341654 h 485775"/>
                <a:gd name="connsiteX198" fmla="*/ 359973 w 923925"/>
                <a:gd name="connsiteY198" fmla="*/ 345349 h 485775"/>
                <a:gd name="connsiteX199" fmla="*/ 363662 w 923925"/>
                <a:gd name="connsiteY199" fmla="*/ 345349 h 485775"/>
                <a:gd name="connsiteX200" fmla="*/ 367351 w 923925"/>
                <a:gd name="connsiteY200" fmla="*/ 349036 h 485775"/>
                <a:gd name="connsiteX201" fmla="*/ 371041 w 923925"/>
                <a:gd name="connsiteY201" fmla="*/ 349036 h 485775"/>
                <a:gd name="connsiteX202" fmla="*/ 385797 w 923925"/>
                <a:gd name="connsiteY202" fmla="*/ 326890 h 485775"/>
                <a:gd name="connsiteX203" fmla="*/ 407932 w 923925"/>
                <a:gd name="connsiteY203" fmla="*/ 312136 h 485775"/>
                <a:gd name="connsiteX204" fmla="*/ 407932 w 923925"/>
                <a:gd name="connsiteY204" fmla="*/ 304754 h 485775"/>
                <a:gd name="connsiteX205" fmla="*/ 411621 w 923925"/>
                <a:gd name="connsiteY205" fmla="*/ 304754 h 485775"/>
                <a:gd name="connsiteX206" fmla="*/ 411621 w 923925"/>
                <a:gd name="connsiteY206" fmla="*/ 301058 h 485775"/>
                <a:gd name="connsiteX207" fmla="*/ 407932 w 923925"/>
                <a:gd name="connsiteY207" fmla="*/ 297372 h 485775"/>
                <a:gd name="connsiteX208" fmla="*/ 407932 w 923925"/>
                <a:gd name="connsiteY208" fmla="*/ 293676 h 485775"/>
                <a:gd name="connsiteX209" fmla="*/ 411621 w 923925"/>
                <a:gd name="connsiteY209" fmla="*/ 289990 h 485775"/>
                <a:gd name="connsiteX210" fmla="*/ 411621 w 923925"/>
                <a:gd name="connsiteY210" fmla="*/ 286294 h 485775"/>
                <a:gd name="connsiteX211" fmla="*/ 415310 w 923925"/>
                <a:gd name="connsiteY211" fmla="*/ 282608 h 485775"/>
                <a:gd name="connsiteX212" fmla="*/ 422689 w 923925"/>
                <a:gd name="connsiteY212" fmla="*/ 278912 h 485775"/>
                <a:gd name="connsiteX213" fmla="*/ 426378 w 923925"/>
                <a:gd name="connsiteY213" fmla="*/ 278912 h 485775"/>
                <a:gd name="connsiteX214" fmla="*/ 422689 w 923925"/>
                <a:gd name="connsiteY214" fmla="*/ 282608 h 485775"/>
                <a:gd name="connsiteX215" fmla="*/ 426378 w 923925"/>
                <a:gd name="connsiteY215" fmla="*/ 286294 h 485775"/>
                <a:gd name="connsiteX216" fmla="*/ 426378 w 923925"/>
                <a:gd name="connsiteY216" fmla="*/ 289990 h 485775"/>
                <a:gd name="connsiteX217" fmla="*/ 430067 w 923925"/>
                <a:gd name="connsiteY217" fmla="*/ 289990 h 485775"/>
                <a:gd name="connsiteX218" fmla="*/ 444825 w 923925"/>
                <a:gd name="connsiteY218" fmla="*/ 289990 h 485775"/>
                <a:gd name="connsiteX219" fmla="*/ 455892 w 923925"/>
                <a:gd name="connsiteY219" fmla="*/ 323204 h 485775"/>
                <a:gd name="connsiteX220" fmla="*/ 452203 w 923925"/>
                <a:gd name="connsiteY220" fmla="*/ 330585 h 485775"/>
                <a:gd name="connsiteX221" fmla="*/ 441136 w 923925"/>
                <a:gd name="connsiteY221" fmla="*/ 352731 h 485775"/>
                <a:gd name="connsiteX222" fmla="*/ 463271 w 923925"/>
                <a:gd name="connsiteY222" fmla="*/ 378563 h 485775"/>
                <a:gd name="connsiteX223" fmla="*/ 463271 w 923925"/>
                <a:gd name="connsiteY223" fmla="*/ 382249 h 485775"/>
                <a:gd name="connsiteX224" fmla="*/ 466960 w 923925"/>
                <a:gd name="connsiteY224" fmla="*/ 385945 h 485775"/>
                <a:gd name="connsiteX225" fmla="*/ 470649 w 923925"/>
                <a:gd name="connsiteY225" fmla="*/ 389631 h 485775"/>
                <a:gd name="connsiteX226" fmla="*/ 470649 w 923925"/>
                <a:gd name="connsiteY226" fmla="*/ 415463 h 485775"/>
                <a:gd name="connsiteX227" fmla="*/ 485405 w 923925"/>
                <a:gd name="connsiteY227" fmla="*/ 419159 h 485775"/>
                <a:gd name="connsiteX228" fmla="*/ 489095 w 923925"/>
                <a:gd name="connsiteY228" fmla="*/ 415463 h 485775"/>
                <a:gd name="connsiteX229" fmla="*/ 500162 w 923925"/>
                <a:gd name="connsiteY229" fmla="*/ 411777 h 485775"/>
                <a:gd name="connsiteX230" fmla="*/ 503851 w 923925"/>
                <a:gd name="connsiteY230" fmla="*/ 411777 h 485775"/>
                <a:gd name="connsiteX231" fmla="*/ 503851 w 923925"/>
                <a:gd name="connsiteY231" fmla="*/ 408091 h 485775"/>
                <a:gd name="connsiteX232" fmla="*/ 525986 w 923925"/>
                <a:gd name="connsiteY232" fmla="*/ 422845 h 485775"/>
                <a:gd name="connsiteX233" fmla="*/ 518608 w 923925"/>
                <a:gd name="connsiteY233" fmla="*/ 452372 h 485775"/>
                <a:gd name="connsiteX234" fmla="*/ 522297 w 923925"/>
                <a:gd name="connsiteY234" fmla="*/ 456068 h 485775"/>
                <a:gd name="connsiteX235" fmla="*/ 537051 w 923925"/>
                <a:gd name="connsiteY235" fmla="*/ 452372 h 485775"/>
                <a:gd name="connsiteX236" fmla="*/ 551815 w 923925"/>
                <a:gd name="connsiteY236" fmla="*/ 456068 h 485775"/>
                <a:gd name="connsiteX237" fmla="*/ 562874 w 923925"/>
                <a:gd name="connsiteY237" fmla="*/ 456068 h 485775"/>
                <a:gd name="connsiteX238" fmla="*/ 570255 w 923925"/>
                <a:gd name="connsiteY238" fmla="*/ 456068 h 485775"/>
                <a:gd name="connsiteX239" fmla="*/ 573942 w 923925"/>
                <a:gd name="connsiteY239" fmla="*/ 452372 h 485775"/>
                <a:gd name="connsiteX240" fmla="*/ 577637 w 923925"/>
                <a:gd name="connsiteY240" fmla="*/ 444990 h 485775"/>
                <a:gd name="connsiteX241" fmla="*/ 588705 w 923925"/>
                <a:gd name="connsiteY241" fmla="*/ 448686 h 485775"/>
                <a:gd name="connsiteX242" fmla="*/ 603460 w 923925"/>
                <a:gd name="connsiteY242" fmla="*/ 452372 h 485775"/>
                <a:gd name="connsiteX243" fmla="*/ 610841 w 923925"/>
                <a:gd name="connsiteY243" fmla="*/ 456068 h 485775"/>
                <a:gd name="connsiteX244" fmla="*/ 621910 w 923925"/>
                <a:gd name="connsiteY244" fmla="*/ 444990 h 485775"/>
                <a:gd name="connsiteX245" fmla="*/ 625596 w 923925"/>
                <a:gd name="connsiteY245" fmla="*/ 441304 h 485775"/>
                <a:gd name="connsiteX246" fmla="*/ 636664 w 923925"/>
                <a:gd name="connsiteY246" fmla="*/ 437608 h 485775"/>
                <a:gd name="connsiteX247" fmla="*/ 640350 w 923925"/>
                <a:gd name="connsiteY247" fmla="*/ 433922 h 485775"/>
                <a:gd name="connsiteX248" fmla="*/ 644036 w 923925"/>
                <a:gd name="connsiteY248" fmla="*/ 430227 h 485775"/>
                <a:gd name="connsiteX249" fmla="*/ 644036 w 923925"/>
                <a:gd name="connsiteY249" fmla="*/ 426540 h 485775"/>
                <a:gd name="connsiteX250" fmla="*/ 647732 w 923925"/>
                <a:gd name="connsiteY250" fmla="*/ 426540 h 485775"/>
                <a:gd name="connsiteX251" fmla="*/ 662486 w 923925"/>
                <a:gd name="connsiteY251" fmla="*/ 430227 h 485775"/>
                <a:gd name="connsiteX252" fmla="*/ 662486 w 923925"/>
                <a:gd name="connsiteY252" fmla="*/ 433922 h 485775"/>
                <a:gd name="connsiteX253" fmla="*/ 666172 w 923925"/>
                <a:gd name="connsiteY253" fmla="*/ 441304 h 485775"/>
                <a:gd name="connsiteX254" fmla="*/ 677240 w 923925"/>
                <a:gd name="connsiteY254" fmla="*/ 448686 h 485775"/>
                <a:gd name="connsiteX255" fmla="*/ 680936 w 923925"/>
                <a:gd name="connsiteY255" fmla="*/ 452372 h 485775"/>
                <a:gd name="connsiteX256" fmla="*/ 680936 w 923925"/>
                <a:gd name="connsiteY256" fmla="*/ 456068 h 485775"/>
                <a:gd name="connsiteX257" fmla="*/ 680936 w 923925"/>
                <a:gd name="connsiteY257" fmla="*/ 459754 h 485775"/>
                <a:gd name="connsiteX258" fmla="*/ 680936 w 923925"/>
                <a:gd name="connsiteY258" fmla="*/ 463440 h 485775"/>
                <a:gd name="connsiteX259" fmla="*/ 680936 w 923925"/>
                <a:gd name="connsiteY259" fmla="*/ 467136 h 485775"/>
                <a:gd name="connsiteX260" fmla="*/ 680936 w 923925"/>
                <a:gd name="connsiteY260" fmla="*/ 474518 h 485775"/>
                <a:gd name="connsiteX261" fmla="*/ 684622 w 923925"/>
                <a:gd name="connsiteY261" fmla="*/ 489282 h 485775"/>
                <a:gd name="connsiteX262" fmla="*/ 688308 w 923925"/>
                <a:gd name="connsiteY262" fmla="*/ 489282 h 485775"/>
                <a:gd name="connsiteX263" fmla="*/ 699376 w 923925"/>
                <a:gd name="connsiteY263" fmla="*/ 485586 h 485775"/>
                <a:gd name="connsiteX264" fmla="*/ 703063 w 923925"/>
                <a:gd name="connsiteY264" fmla="*/ 485586 h 485775"/>
                <a:gd name="connsiteX265" fmla="*/ 714131 w 923925"/>
                <a:gd name="connsiteY265" fmla="*/ 481900 h 485775"/>
                <a:gd name="connsiteX266" fmla="*/ 714131 w 923925"/>
                <a:gd name="connsiteY266" fmla="*/ 467136 h 485775"/>
                <a:gd name="connsiteX267" fmla="*/ 717826 w 923925"/>
                <a:gd name="connsiteY267" fmla="*/ 448686 h 485775"/>
                <a:gd name="connsiteX268" fmla="*/ 725199 w 923925"/>
                <a:gd name="connsiteY268" fmla="*/ 433922 h 485775"/>
                <a:gd name="connsiteX269" fmla="*/ 728894 w 923925"/>
                <a:gd name="connsiteY269" fmla="*/ 426540 h 485775"/>
                <a:gd name="connsiteX270" fmla="*/ 739962 w 923925"/>
                <a:gd name="connsiteY270" fmla="*/ 415463 h 485775"/>
                <a:gd name="connsiteX271" fmla="*/ 754717 w 923925"/>
                <a:gd name="connsiteY271" fmla="*/ 408091 h 485775"/>
                <a:gd name="connsiteX272" fmla="*/ 758403 w 923925"/>
                <a:gd name="connsiteY272" fmla="*/ 408091 h 485775"/>
                <a:gd name="connsiteX273" fmla="*/ 776853 w 923925"/>
                <a:gd name="connsiteY273" fmla="*/ 404395 h 485775"/>
                <a:gd name="connsiteX274" fmla="*/ 784225 w 923925"/>
                <a:gd name="connsiteY274" fmla="*/ 400709 h 485775"/>
                <a:gd name="connsiteX275" fmla="*/ 787921 w 923925"/>
                <a:gd name="connsiteY275" fmla="*/ 400709 h 485775"/>
                <a:gd name="connsiteX276" fmla="*/ 791607 w 923925"/>
                <a:gd name="connsiteY276" fmla="*/ 397013 h 485775"/>
                <a:gd name="connsiteX277" fmla="*/ 821125 w 923925"/>
                <a:gd name="connsiteY277" fmla="*/ 389631 h 485775"/>
                <a:gd name="connsiteX278" fmla="*/ 832193 w 923925"/>
                <a:gd name="connsiteY278" fmla="*/ 385945 h 485775"/>
                <a:gd name="connsiteX279" fmla="*/ 835879 w 923925"/>
                <a:gd name="connsiteY279" fmla="*/ 385945 h 485775"/>
                <a:gd name="connsiteX280" fmla="*/ 839565 w 923925"/>
                <a:gd name="connsiteY280" fmla="*/ 382249 h 485775"/>
                <a:gd name="connsiteX281" fmla="*/ 843252 w 923925"/>
                <a:gd name="connsiteY281" fmla="*/ 382249 h 485775"/>
                <a:gd name="connsiteX282" fmla="*/ 850633 w 923925"/>
                <a:gd name="connsiteY282" fmla="*/ 374867 h 485775"/>
                <a:gd name="connsiteX283" fmla="*/ 861701 w 923925"/>
                <a:gd name="connsiteY283" fmla="*/ 363799 h 485775"/>
                <a:gd name="connsiteX284" fmla="*/ 869083 w 923925"/>
                <a:gd name="connsiteY284" fmla="*/ 360113 h 485775"/>
                <a:gd name="connsiteX285" fmla="*/ 861701 w 923925"/>
                <a:gd name="connsiteY285" fmla="*/ 349036 h 485775"/>
                <a:gd name="connsiteX286" fmla="*/ 854319 w 923925"/>
                <a:gd name="connsiteY286" fmla="*/ 334272 h 485775"/>
                <a:gd name="connsiteX287" fmla="*/ 839565 w 923925"/>
                <a:gd name="connsiteY287" fmla="*/ 308440 h 485775"/>
                <a:gd name="connsiteX288" fmla="*/ 839565 w 923925"/>
                <a:gd name="connsiteY288" fmla="*/ 304754 h 485775"/>
                <a:gd name="connsiteX289" fmla="*/ 832193 w 923925"/>
                <a:gd name="connsiteY289" fmla="*/ 271531 h 485775"/>
                <a:gd name="connsiteX290" fmla="*/ 828497 w 923925"/>
                <a:gd name="connsiteY290" fmla="*/ 264158 h 485775"/>
                <a:gd name="connsiteX291" fmla="*/ 828497 w 923925"/>
                <a:gd name="connsiteY291" fmla="*/ 256776 h 485775"/>
                <a:gd name="connsiteX292" fmla="*/ 824811 w 923925"/>
                <a:gd name="connsiteY292" fmla="*/ 245699 h 485775"/>
                <a:gd name="connsiteX293" fmla="*/ 821125 w 923925"/>
                <a:gd name="connsiteY293" fmla="*/ 212485 h 485775"/>
                <a:gd name="connsiteX294" fmla="*/ 835879 w 923925"/>
                <a:gd name="connsiteY294" fmla="*/ 216181 h 485775"/>
                <a:gd name="connsiteX295" fmla="*/ 846947 w 923925"/>
                <a:gd name="connsiteY295" fmla="*/ 219867 h 485775"/>
                <a:gd name="connsiteX296" fmla="*/ 854319 w 923925"/>
                <a:gd name="connsiteY296" fmla="*/ 223553 h 485775"/>
                <a:gd name="connsiteX297" fmla="*/ 861701 w 923925"/>
                <a:gd name="connsiteY297" fmla="*/ 223553 h 485775"/>
                <a:gd name="connsiteX298" fmla="*/ 869083 w 923925"/>
                <a:gd name="connsiteY298" fmla="*/ 223553 h 485775"/>
                <a:gd name="connsiteX299" fmla="*/ 876456 w 923925"/>
                <a:gd name="connsiteY299" fmla="*/ 219867 h 485775"/>
                <a:gd name="connsiteX300" fmla="*/ 887524 w 923925"/>
                <a:gd name="connsiteY300" fmla="*/ 216181 h 485775"/>
                <a:gd name="connsiteX301" fmla="*/ 894905 w 923925"/>
                <a:gd name="connsiteY301" fmla="*/ 212485 h 485775"/>
                <a:gd name="connsiteX302" fmla="*/ 902287 w 923925"/>
                <a:gd name="connsiteY302" fmla="*/ 208799 h 485775"/>
                <a:gd name="connsiteX303" fmla="*/ 902287 w 923925"/>
                <a:gd name="connsiteY303" fmla="*/ 212485 h 485775"/>
                <a:gd name="connsiteX304" fmla="*/ 905974 w 923925"/>
                <a:gd name="connsiteY304" fmla="*/ 212485 h 485775"/>
                <a:gd name="connsiteX305" fmla="*/ 909660 w 923925"/>
                <a:gd name="connsiteY305" fmla="*/ 216181 h 485775"/>
                <a:gd name="connsiteX306" fmla="*/ 917042 w 923925"/>
                <a:gd name="connsiteY306" fmla="*/ 223553 h 485775"/>
                <a:gd name="connsiteX307" fmla="*/ 917042 w 923925"/>
                <a:gd name="connsiteY307" fmla="*/ 219867 h 485775"/>
                <a:gd name="connsiteX308" fmla="*/ 920728 w 923925"/>
                <a:gd name="connsiteY308" fmla="*/ 219867 h 485775"/>
                <a:gd name="connsiteX309" fmla="*/ 924414 w 923925"/>
                <a:gd name="connsiteY309" fmla="*/ 219867 h 485775"/>
                <a:gd name="connsiteX310" fmla="*/ 920728 w 923925"/>
                <a:gd name="connsiteY310" fmla="*/ 216181 h 485775"/>
                <a:gd name="connsiteX311" fmla="*/ 920728 w 923925"/>
                <a:gd name="connsiteY311" fmla="*/ 212485 h 485775"/>
                <a:gd name="connsiteX312" fmla="*/ 920728 w 923925"/>
                <a:gd name="connsiteY312" fmla="*/ 208799 h 485775"/>
                <a:gd name="connsiteX313" fmla="*/ 920728 w 923925"/>
                <a:gd name="connsiteY313" fmla="*/ 205103 h 485775"/>
                <a:gd name="connsiteX314" fmla="*/ 920728 w 923925"/>
                <a:gd name="connsiteY314" fmla="*/ 201417 h 485775"/>
                <a:gd name="connsiteX315" fmla="*/ 917042 w 923925"/>
                <a:gd name="connsiteY315" fmla="*/ 194035 h 485775"/>
                <a:gd name="connsiteX316" fmla="*/ 913356 w 923925"/>
                <a:gd name="connsiteY316" fmla="*/ 190339 h 485775"/>
                <a:gd name="connsiteX317" fmla="*/ 913356 w 923925"/>
                <a:gd name="connsiteY317" fmla="*/ 186653 h 485775"/>
                <a:gd name="connsiteX318" fmla="*/ 913356 w 923925"/>
                <a:gd name="connsiteY318" fmla="*/ 175576 h 485775"/>
                <a:gd name="connsiteX319" fmla="*/ 909660 w 923925"/>
                <a:gd name="connsiteY319" fmla="*/ 171890 h 485775"/>
                <a:gd name="connsiteX320" fmla="*/ 909660 w 923925"/>
                <a:gd name="connsiteY320" fmla="*/ 168203 h 485775"/>
                <a:gd name="connsiteX321" fmla="*/ 905974 w 923925"/>
                <a:gd name="connsiteY321" fmla="*/ 164508 h 485775"/>
                <a:gd name="connsiteX322" fmla="*/ 902287 w 923925"/>
                <a:gd name="connsiteY322" fmla="*/ 160821 h 485775"/>
                <a:gd name="connsiteX323" fmla="*/ 898592 w 923925"/>
                <a:gd name="connsiteY323" fmla="*/ 157126 h 485775"/>
                <a:gd name="connsiteX324" fmla="*/ 887524 w 923925"/>
                <a:gd name="connsiteY324" fmla="*/ 153440 h 485775"/>
                <a:gd name="connsiteX325" fmla="*/ 887524 w 923925"/>
                <a:gd name="connsiteY325" fmla="*/ 149744 h 485775"/>
                <a:gd name="connsiteX326" fmla="*/ 883838 w 923925"/>
                <a:gd name="connsiteY326" fmla="*/ 146058 h 485775"/>
                <a:gd name="connsiteX327" fmla="*/ 883838 w 923925"/>
                <a:gd name="connsiteY327" fmla="*/ 134980 h 485775"/>
                <a:gd name="connsiteX328" fmla="*/ 883838 w 923925"/>
                <a:gd name="connsiteY328" fmla="*/ 131294 h 485775"/>
                <a:gd name="connsiteX329" fmla="*/ 883838 w 923925"/>
                <a:gd name="connsiteY329" fmla="*/ 127598 h 485775"/>
                <a:gd name="connsiteX330" fmla="*/ 883838 w 923925"/>
                <a:gd name="connsiteY330" fmla="*/ 120226 h 485775"/>
                <a:gd name="connsiteX331" fmla="*/ 880151 w 923925"/>
                <a:gd name="connsiteY331" fmla="*/ 120226 h 485775"/>
                <a:gd name="connsiteX332" fmla="*/ 880151 w 923925"/>
                <a:gd name="connsiteY332" fmla="*/ 116530 h 485775"/>
                <a:gd name="connsiteX333" fmla="*/ 880151 w 923925"/>
                <a:gd name="connsiteY333" fmla="*/ 109148 h 485775"/>
                <a:gd name="connsiteX334" fmla="*/ 876456 w 923925"/>
                <a:gd name="connsiteY334" fmla="*/ 98080 h 485775"/>
                <a:gd name="connsiteX335" fmla="*/ 872769 w 923925"/>
                <a:gd name="connsiteY335" fmla="*/ 98080 h 485775"/>
                <a:gd name="connsiteX336" fmla="*/ 869083 w 923925"/>
                <a:gd name="connsiteY336" fmla="*/ 94385 h 485775"/>
                <a:gd name="connsiteX337" fmla="*/ 861701 w 923925"/>
                <a:gd name="connsiteY337" fmla="*/ 94385 h 485775"/>
                <a:gd name="connsiteX338" fmla="*/ 854319 w 923925"/>
                <a:gd name="connsiteY338" fmla="*/ 90698 h 485775"/>
                <a:gd name="connsiteX339" fmla="*/ 846947 w 923925"/>
                <a:gd name="connsiteY339" fmla="*/ 90698 h 485775"/>
                <a:gd name="connsiteX340" fmla="*/ 843252 w 923925"/>
                <a:gd name="connsiteY340" fmla="*/ 87003 h 485775"/>
                <a:gd name="connsiteX341" fmla="*/ 843252 w 923925"/>
                <a:gd name="connsiteY341" fmla="*/ 79621 h 485775"/>
                <a:gd name="connsiteX342" fmla="*/ 839565 w 923925"/>
                <a:gd name="connsiteY342" fmla="*/ 72248 h 485775"/>
                <a:gd name="connsiteX343" fmla="*/ 839565 w 923925"/>
                <a:gd name="connsiteY343" fmla="*/ 68553 h 485775"/>
                <a:gd name="connsiteX344" fmla="*/ 839565 w 923925"/>
                <a:gd name="connsiteY344" fmla="*/ 64867 h 485775"/>
                <a:gd name="connsiteX345" fmla="*/ 835879 w 923925"/>
                <a:gd name="connsiteY345" fmla="*/ 64867 h 485775"/>
                <a:gd name="connsiteX346" fmla="*/ 832193 w 923925"/>
                <a:gd name="connsiteY346" fmla="*/ 61171 h 485775"/>
                <a:gd name="connsiteX347" fmla="*/ 828497 w 923925"/>
                <a:gd name="connsiteY347" fmla="*/ 61171 h 485775"/>
                <a:gd name="connsiteX348" fmla="*/ 821125 w 923925"/>
                <a:gd name="connsiteY348" fmla="*/ 61171 h 485775"/>
                <a:gd name="connsiteX349" fmla="*/ 810057 w 923925"/>
                <a:gd name="connsiteY349" fmla="*/ 61171 h 485775"/>
                <a:gd name="connsiteX350" fmla="*/ 806361 w 923925"/>
                <a:gd name="connsiteY350" fmla="*/ 61171 h 485775"/>
                <a:gd name="connsiteX351" fmla="*/ 795293 w 923925"/>
                <a:gd name="connsiteY351" fmla="*/ 64867 h 485775"/>
                <a:gd name="connsiteX352" fmla="*/ 791607 w 923925"/>
                <a:gd name="connsiteY352" fmla="*/ 64867 h 485775"/>
                <a:gd name="connsiteX353" fmla="*/ 784225 w 923925"/>
                <a:gd name="connsiteY353" fmla="*/ 64867 h 485775"/>
                <a:gd name="connsiteX354" fmla="*/ 780539 w 923925"/>
                <a:gd name="connsiteY354" fmla="*/ 64867 h 485775"/>
                <a:gd name="connsiteX355" fmla="*/ 776853 w 923925"/>
                <a:gd name="connsiteY355" fmla="*/ 64867 h 485775"/>
                <a:gd name="connsiteX356" fmla="*/ 773157 w 923925"/>
                <a:gd name="connsiteY356" fmla="*/ 61171 h 485775"/>
                <a:gd name="connsiteX357" fmla="*/ 773157 w 923925"/>
                <a:gd name="connsiteY357" fmla="*/ 57485 h 485775"/>
                <a:gd name="connsiteX358" fmla="*/ 769471 w 923925"/>
                <a:gd name="connsiteY358" fmla="*/ 53789 h 485775"/>
                <a:gd name="connsiteX359" fmla="*/ 765785 w 923925"/>
                <a:gd name="connsiteY359" fmla="*/ 50103 h 485775"/>
                <a:gd name="connsiteX360" fmla="*/ 762098 w 923925"/>
                <a:gd name="connsiteY360" fmla="*/ 50103 h 485775"/>
                <a:gd name="connsiteX361" fmla="*/ 758403 w 923925"/>
                <a:gd name="connsiteY361" fmla="*/ 50103 h 485775"/>
                <a:gd name="connsiteX362" fmla="*/ 754717 w 923925"/>
                <a:gd name="connsiteY362" fmla="*/ 46407 h 485775"/>
                <a:gd name="connsiteX363" fmla="*/ 751030 w 923925"/>
                <a:gd name="connsiteY363" fmla="*/ 46407 h 485775"/>
                <a:gd name="connsiteX364" fmla="*/ 751030 w 923925"/>
                <a:gd name="connsiteY364" fmla="*/ 39025 h 485775"/>
                <a:gd name="connsiteX365" fmla="*/ 747335 w 923925"/>
                <a:gd name="connsiteY365" fmla="*/ 39025 h 485775"/>
                <a:gd name="connsiteX366" fmla="*/ 743649 w 923925"/>
                <a:gd name="connsiteY366" fmla="*/ 35339 h 485775"/>
                <a:gd name="connsiteX367" fmla="*/ 739962 w 923925"/>
                <a:gd name="connsiteY367" fmla="*/ 35339 h 485775"/>
                <a:gd name="connsiteX368" fmla="*/ 736267 w 923925"/>
                <a:gd name="connsiteY368" fmla="*/ 35339 h 485775"/>
                <a:gd name="connsiteX369" fmla="*/ 732581 w 923925"/>
                <a:gd name="connsiteY369" fmla="*/ 31643 h 485775"/>
                <a:gd name="connsiteX370" fmla="*/ 728894 w 923925"/>
                <a:gd name="connsiteY370" fmla="*/ 27957 h 485775"/>
                <a:gd name="connsiteX371" fmla="*/ 725199 w 923925"/>
                <a:gd name="connsiteY371" fmla="*/ 24271 h 485775"/>
                <a:gd name="connsiteX372" fmla="*/ 725199 w 923925"/>
                <a:gd name="connsiteY372" fmla="*/ 16889 h 485775"/>
                <a:gd name="connsiteX373" fmla="*/ 721512 w 923925"/>
                <a:gd name="connsiteY373" fmla="*/ 13194 h 485775"/>
                <a:gd name="connsiteX374" fmla="*/ 714131 w 923925"/>
                <a:gd name="connsiteY374" fmla="*/ 13194 h 485775"/>
                <a:gd name="connsiteX375" fmla="*/ 710444 w 923925"/>
                <a:gd name="connsiteY375" fmla="*/ 13194 h 485775"/>
                <a:gd name="connsiteX376" fmla="*/ 706758 w 923925"/>
                <a:gd name="connsiteY376" fmla="*/ 9507 h 485775"/>
                <a:gd name="connsiteX377" fmla="*/ 699376 w 923925"/>
                <a:gd name="connsiteY377" fmla="*/ 5812 h 485775"/>
                <a:gd name="connsiteX378" fmla="*/ 695690 w 923925"/>
                <a:gd name="connsiteY378" fmla="*/ 5812 h 485775"/>
                <a:gd name="connsiteX379" fmla="*/ 692004 w 923925"/>
                <a:gd name="connsiteY379" fmla="*/ 5812 h 485775"/>
                <a:gd name="connsiteX380" fmla="*/ 684622 w 923925"/>
                <a:gd name="connsiteY380" fmla="*/ 5812 h 485775"/>
                <a:gd name="connsiteX381" fmla="*/ 680936 w 923925"/>
                <a:gd name="connsiteY381" fmla="*/ 5812 h 485775"/>
                <a:gd name="connsiteX382" fmla="*/ 677240 w 923925"/>
                <a:gd name="connsiteY382" fmla="*/ 9507 h 485775"/>
                <a:gd name="connsiteX383" fmla="*/ 677240 w 923925"/>
                <a:gd name="connsiteY383" fmla="*/ 13194 h 485775"/>
                <a:gd name="connsiteX384" fmla="*/ 673554 w 923925"/>
                <a:gd name="connsiteY384" fmla="*/ 16889 h 485775"/>
                <a:gd name="connsiteX385" fmla="*/ 669868 w 923925"/>
                <a:gd name="connsiteY385" fmla="*/ 16889 h 485775"/>
                <a:gd name="connsiteX386" fmla="*/ 666172 w 923925"/>
                <a:gd name="connsiteY386" fmla="*/ 13194 h 485775"/>
                <a:gd name="connsiteX387" fmla="*/ 662486 w 923925"/>
                <a:gd name="connsiteY387" fmla="*/ 13194 h 485775"/>
                <a:gd name="connsiteX388" fmla="*/ 658800 w 923925"/>
                <a:gd name="connsiteY388" fmla="*/ 13194 h 485775"/>
                <a:gd name="connsiteX389" fmla="*/ 658800 w 923925"/>
                <a:gd name="connsiteY389" fmla="*/ 9507 h 485775"/>
                <a:gd name="connsiteX390" fmla="*/ 655104 w 923925"/>
                <a:gd name="connsiteY390" fmla="*/ 5812 h 485775"/>
                <a:gd name="connsiteX391" fmla="*/ 651418 w 923925"/>
                <a:gd name="connsiteY391" fmla="*/ 5812 h 485775"/>
                <a:gd name="connsiteX392" fmla="*/ 647732 w 923925"/>
                <a:gd name="connsiteY392" fmla="*/ 5812 h 485775"/>
                <a:gd name="connsiteX393" fmla="*/ 644036 w 923925"/>
                <a:gd name="connsiteY393" fmla="*/ 5812 h 485775"/>
                <a:gd name="connsiteX394" fmla="*/ 644036 w 923925"/>
                <a:gd name="connsiteY394" fmla="*/ 9507 h 485775"/>
                <a:gd name="connsiteX395" fmla="*/ 640350 w 923925"/>
                <a:gd name="connsiteY395" fmla="*/ 16889 h 485775"/>
                <a:gd name="connsiteX396" fmla="*/ 636664 w 923925"/>
                <a:gd name="connsiteY396" fmla="*/ 20575 h 485775"/>
                <a:gd name="connsiteX397" fmla="*/ 629282 w 923925"/>
                <a:gd name="connsiteY397" fmla="*/ 20575 h 485775"/>
                <a:gd name="connsiteX398" fmla="*/ 621910 w 923925"/>
                <a:gd name="connsiteY398" fmla="*/ 20575 h 485775"/>
                <a:gd name="connsiteX399" fmla="*/ 618214 w 923925"/>
                <a:gd name="connsiteY399" fmla="*/ 20575 h 485775"/>
                <a:gd name="connsiteX400" fmla="*/ 614528 w 923925"/>
                <a:gd name="connsiteY400" fmla="*/ 16889 h 485775"/>
                <a:gd name="connsiteX401" fmla="*/ 610841 w 923925"/>
                <a:gd name="connsiteY401" fmla="*/ 13194 h 485775"/>
                <a:gd name="connsiteX402" fmla="*/ 610841 w 923925"/>
                <a:gd name="connsiteY402" fmla="*/ 9507 h 485775"/>
                <a:gd name="connsiteX403" fmla="*/ 607146 w 923925"/>
                <a:gd name="connsiteY403" fmla="*/ 9507 h 485775"/>
                <a:gd name="connsiteX404" fmla="*/ 603460 w 923925"/>
                <a:gd name="connsiteY404" fmla="*/ 13194 h 485775"/>
                <a:gd name="connsiteX405" fmla="*/ 603460 w 923925"/>
                <a:gd name="connsiteY405" fmla="*/ 16889 h 485775"/>
                <a:gd name="connsiteX406" fmla="*/ 599773 w 923925"/>
                <a:gd name="connsiteY406" fmla="*/ 20575 h 485775"/>
                <a:gd name="connsiteX407" fmla="*/ 596078 w 923925"/>
                <a:gd name="connsiteY407" fmla="*/ 24271 h 485775"/>
                <a:gd name="connsiteX408" fmla="*/ 588705 w 923925"/>
                <a:gd name="connsiteY408" fmla="*/ 35339 h 485775"/>
                <a:gd name="connsiteX409" fmla="*/ 588705 w 923925"/>
                <a:gd name="connsiteY409" fmla="*/ 39025 h 485775"/>
                <a:gd name="connsiteX410" fmla="*/ 585010 w 923925"/>
                <a:gd name="connsiteY410" fmla="*/ 46407 h 485775"/>
                <a:gd name="connsiteX411" fmla="*/ 585010 w 923925"/>
                <a:gd name="connsiteY411" fmla="*/ 53789 h 485775"/>
                <a:gd name="connsiteX412" fmla="*/ 585010 w 923925"/>
                <a:gd name="connsiteY412" fmla="*/ 61171 h 485775"/>
                <a:gd name="connsiteX413" fmla="*/ 581323 w 923925"/>
                <a:gd name="connsiteY413" fmla="*/ 61171 h 485775"/>
                <a:gd name="connsiteX414" fmla="*/ 581323 w 923925"/>
                <a:gd name="connsiteY414" fmla="*/ 64867 h 485775"/>
                <a:gd name="connsiteX415" fmla="*/ 562874 w 923925"/>
                <a:gd name="connsiteY415" fmla="*/ 72248 h 485775"/>
                <a:gd name="connsiteX416" fmla="*/ 555501 w 923925"/>
                <a:gd name="connsiteY416" fmla="*/ 75935 h 485775"/>
                <a:gd name="connsiteX417" fmla="*/ 555501 w 923925"/>
                <a:gd name="connsiteY417" fmla="*/ 79621 h 485775"/>
                <a:gd name="connsiteX418" fmla="*/ 551815 w 923925"/>
                <a:gd name="connsiteY418" fmla="*/ 79621 h 485775"/>
                <a:gd name="connsiteX419" fmla="*/ 544433 w 923925"/>
                <a:gd name="connsiteY419" fmla="*/ 75935 h 485775"/>
                <a:gd name="connsiteX420" fmla="*/ 537051 w 923925"/>
                <a:gd name="connsiteY420" fmla="*/ 75935 h 485775"/>
                <a:gd name="connsiteX421" fmla="*/ 533365 w 923925"/>
                <a:gd name="connsiteY421" fmla="*/ 79621 h 485775"/>
                <a:gd name="connsiteX422" fmla="*/ 529675 w 923925"/>
                <a:gd name="connsiteY422" fmla="*/ 83317 h 485775"/>
                <a:gd name="connsiteX423" fmla="*/ 525986 w 923925"/>
                <a:gd name="connsiteY423" fmla="*/ 79621 h 485775"/>
                <a:gd name="connsiteX424" fmla="*/ 518608 w 923925"/>
                <a:gd name="connsiteY424" fmla="*/ 75935 h 485775"/>
                <a:gd name="connsiteX425" fmla="*/ 514919 w 923925"/>
                <a:gd name="connsiteY425" fmla="*/ 72248 h 485775"/>
                <a:gd name="connsiteX426" fmla="*/ 511230 w 923925"/>
                <a:gd name="connsiteY426" fmla="*/ 75935 h 485775"/>
                <a:gd name="connsiteX427" fmla="*/ 507540 w 923925"/>
                <a:gd name="connsiteY427" fmla="*/ 75935 h 485775"/>
                <a:gd name="connsiteX428" fmla="*/ 503851 w 923925"/>
                <a:gd name="connsiteY428" fmla="*/ 75935 h 485775"/>
                <a:gd name="connsiteX429" fmla="*/ 496473 w 923925"/>
                <a:gd name="connsiteY429" fmla="*/ 75935 h 485775"/>
                <a:gd name="connsiteX430" fmla="*/ 492784 w 923925"/>
                <a:gd name="connsiteY430" fmla="*/ 75935 h 485775"/>
                <a:gd name="connsiteX431" fmla="*/ 485405 w 923925"/>
                <a:gd name="connsiteY431" fmla="*/ 75935 h 485775"/>
                <a:gd name="connsiteX432" fmla="*/ 478027 w 923925"/>
                <a:gd name="connsiteY432" fmla="*/ 75935 h 485775"/>
                <a:gd name="connsiteX433" fmla="*/ 470649 w 923925"/>
                <a:gd name="connsiteY433" fmla="*/ 79621 h 485775"/>
                <a:gd name="connsiteX434" fmla="*/ 466960 w 923925"/>
                <a:gd name="connsiteY434" fmla="*/ 75935 h 485775"/>
                <a:gd name="connsiteX435" fmla="*/ 466960 w 923925"/>
                <a:gd name="connsiteY435" fmla="*/ 72248 h 485775"/>
                <a:gd name="connsiteX436" fmla="*/ 470649 w 923925"/>
                <a:gd name="connsiteY436" fmla="*/ 72248 h 485775"/>
                <a:gd name="connsiteX437" fmla="*/ 474338 w 923925"/>
                <a:gd name="connsiteY437" fmla="*/ 68553 h 485775"/>
                <a:gd name="connsiteX438" fmla="*/ 478027 w 923925"/>
                <a:gd name="connsiteY438" fmla="*/ 64867 h 485775"/>
                <a:gd name="connsiteX439" fmla="*/ 474338 w 923925"/>
                <a:gd name="connsiteY439" fmla="*/ 61171 h 485775"/>
                <a:gd name="connsiteX440" fmla="*/ 474338 w 923925"/>
                <a:gd name="connsiteY440" fmla="*/ 57485 h 485775"/>
                <a:gd name="connsiteX441" fmla="*/ 474338 w 923925"/>
                <a:gd name="connsiteY441" fmla="*/ 53789 h 485775"/>
                <a:gd name="connsiteX442" fmla="*/ 474338 w 923925"/>
                <a:gd name="connsiteY442" fmla="*/ 50103 h 485775"/>
                <a:gd name="connsiteX443" fmla="*/ 463271 w 923925"/>
                <a:gd name="connsiteY443" fmla="*/ 46407 h 485775"/>
                <a:gd name="connsiteX444" fmla="*/ 459581 w 923925"/>
                <a:gd name="connsiteY444" fmla="*/ 42721 h 485775"/>
                <a:gd name="connsiteX445" fmla="*/ 455892 w 923925"/>
                <a:gd name="connsiteY445" fmla="*/ 39025 h 485775"/>
                <a:gd name="connsiteX446" fmla="*/ 452203 w 923925"/>
                <a:gd name="connsiteY446" fmla="*/ 39025 h 485775"/>
                <a:gd name="connsiteX447" fmla="*/ 448514 w 923925"/>
                <a:gd name="connsiteY447" fmla="*/ 42721 h 485775"/>
                <a:gd name="connsiteX448" fmla="*/ 444825 w 923925"/>
                <a:gd name="connsiteY448" fmla="*/ 46407 h 485775"/>
                <a:gd name="connsiteX449" fmla="*/ 441136 w 923925"/>
                <a:gd name="connsiteY449" fmla="*/ 46407 h 485775"/>
                <a:gd name="connsiteX450" fmla="*/ 441136 w 923925"/>
                <a:gd name="connsiteY450" fmla="*/ 42721 h 485775"/>
                <a:gd name="connsiteX451" fmla="*/ 437445 w 923925"/>
                <a:gd name="connsiteY451" fmla="*/ 42721 h 485775"/>
                <a:gd name="connsiteX452" fmla="*/ 437445 w 923925"/>
                <a:gd name="connsiteY452" fmla="*/ 39025 h 485775"/>
                <a:gd name="connsiteX453" fmla="*/ 433756 w 923925"/>
                <a:gd name="connsiteY453" fmla="*/ 35339 h 485775"/>
                <a:gd name="connsiteX454" fmla="*/ 433756 w 923925"/>
                <a:gd name="connsiteY454" fmla="*/ 31643 h 485775"/>
                <a:gd name="connsiteX455" fmla="*/ 430067 w 923925"/>
                <a:gd name="connsiteY455" fmla="*/ 31643 h 485775"/>
                <a:gd name="connsiteX456" fmla="*/ 426378 w 923925"/>
                <a:gd name="connsiteY456" fmla="*/ 27957 h 485775"/>
                <a:gd name="connsiteX457" fmla="*/ 419000 w 923925"/>
                <a:gd name="connsiteY457" fmla="*/ 24271 h 485775"/>
                <a:gd name="connsiteX458" fmla="*/ 415310 w 923925"/>
                <a:gd name="connsiteY458" fmla="*/ 20575 h 485775"/>
                <a:gd name="connsiteX459" fmla="*/ 411621 w 923925"/>
                <a:gd name="connsiteY459" fmla="*/ 20575 h 485775"/>
                <a:gd name="connsiteX460" fmla="*/ 411621 w 923925"/>
                <a:gd name="connsiteY460" fmla="*/ 16889 h 485775"/>
                <a:gd name="connsiteX461" fmla="*/ 411621 w 923925"/>
                <a:gd name="connsiteY461" fmla="*/ 13194 h 485775"/>
                <a:gd name="connsiteX462" fmla="*/ 407932 w 923925"/>
                <a:gd name="connsiteY462" fmla="*/ 13194 h 485775"/>
                <a:gd name="connsiteX463" fmla="*/ 400554 w 923925"/>
                <a:gd name="connsiteY463" fmla="*/ 13194 h 485775"/>
                <a:gd name="connsiteX464" fmla="*/ 396865 w 923925"/>
                <a:gd name="connsiteY464" fmla="*/ 9507 h 485775"/>
                <a:gd name="connsiteX465" fmla="*/ 393175 w 923925"/>
                <a:gd name="connsiteY465" fmla="*/ 9507 h 485775"/>
                <a:gd name="connsiteX466" fmla="*/ 385797 w 923925"/>
                <a:gd name="connsiteY466" fmla="*/ 9507 h 485775"/>
                <a:gd name="connsiteX467" fmla="*/ 378419 w 923925"/>
                <a:gd name="connsiteY467" fmla="*/ 5812 h 485775"/>
                <a:gd name="connsiteX468" fmla="*/ 374730 w 923925"/>
                <a:gd name="connsiteY468" fmla="*/ 5812 h 485775"/>
                <a:gd name="connsiteX469" fmla="*/ 371041 w 923925"/>
                <a:gd name="connsiteY469" fmla="*/ 5812 h 485775"/>
                <a:gd name="connsiteX470" fmla="*/ 363662 w 923925"/>
                <a:gd name="connsiteY470" fmla="*/ 5812 h 485775"/>
                <a:gd name="connsiteX471" fmla="*/ 367351 w 923925"/>
                <a:gd name="connsiteY471" fmla="*/ 349036 h 485775"/>
                <a:gd name="connsiteX472" fmla="*/ 363662 w 923925"/>
                <a:gd name="connsiteY472" fmla="*/ 349036 h 485775"/>
                <a:gd name="connsiteX473" fmla="*/ 359973 w 923925"/>
                <a:gd name="connsiteY473" fmla="*/ 349036 h 485775"/>
                <a:gd name="connsiteX474" fmla="*/ 363662 w 923925"/>
                <a:gd name="connsiteY474" fmla="*/ 352731 h 485775"/>
                <a:gd name="connsiteX475" fmla="*/ 367351 w 923925"/>
                <a:gd name="connsiteY475" fmla="*/ 349036 h 485775"/>
                <a:gd name="connsiteX476" fmla="*/ 363662 w 923925"/>
                <a:gd name="connsiteY476" fmla="*/ 308440 h 485775"/>
                <a:gd name="connsiteX477" fmla="*/ 367351 w 923925"/>
                <a:gd name="connsiteY477" fmla="*/ 308440 h 485775"/>
                <a:gd name="connsiteX478" fmla="*/ 367351 w 923925"/>
                <a:gd name="connsiteY478" fmla="*/ 312136 h 485775"/>
                <a:gd name="connsiteX479" fmla="*/ 371041 w 923925"/>
                <a:gd name="connsiteY479" fmla="*/ 315822 h 485775"/>
                <a:gd name="connsiteX480" fmla="*/ 374730 w 923925"/>
                <a:gd name="connsiteY480" fmla="*/ 315822 h 485775"/>
                <a:gd name="connsiteX481" fmla="*/ 374730 w 923925"/>
                <a:gd name="connsiteY481" fmla="*/ 319508 h 485775"/>
                <a:gd name="connsiteX482" fmla="*/ 374730 w 923925"/>
                <a:gd name="connsiteY482" fmla="*/ 323204 h 485775"/>
                <a:gd name="connsiteX483" fmla="*/ 371041 w 923925"/>
                <a:gd name="connsiteY483" fmla="*/ 323204 h 485775"/>
                <a:gd name="connsiteX484" fmla="*/ 367351 w 923925"/>
                <a:gd name="connsiteY484" fmla="*/ 319508 h 485775"/>
                <a:gd name="connsiteX485" fmla="*/ 363662 w 923925"/>
                <a:gd name="connsiteY485" fmla="*/ 319508 h 485775"/>
                <a:gd name="connsiteX486" fmla="*/ 367351 w 923925"/>
                <a:gd name="connsiteY486" fmla="*/ 315822 h 485775"/>
                <a:gd name="connsiteX487" fmla="*/ 363662 w 923925"/>
                <a:gd name="connsiteY487" fmla="*/ 312136 h 485775"/>
                <a:gd name="connsiteX488" fmla="*/ 363662 w 923925"/>
                <a:gd name="connsiteY488" fmla="*/ 308440 h 485775"/>
                <a:gd name="connsiteX489" fmla="*/ 371041 w 923925"/>
                <a:gd name="connsiteY489" fmla="*/ 308440 h 485775"/>
                <a:gd name="connsiteX490" fmla="*/ 374730 w 923925"/>
                <a:gd name="connsiteY490" fmla="*/ 312136 h 485775"/>
                <a:gd name="connsiteX491" fmla="*/ 371041 w 923925"/>
                <a:gd name="connsiteY491" fmla="*/ 312136 h 485775"/>
                <a:gd name="connsiteX492" fmla="*/ 371041 w 923925"/>
                <a:gd name="connsiteY492" fmla="*/ 308440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Lst>
              <a:rect l="l" t="t" r="r" b="b"/>
              <a:pathLst>
                <a:path w="923925" h="485775">
                  <a:moveTo>
                    <a:pt x="363662" y="5812"/>
                  </a:moveTo>
                  <a:lnTo>
                    <a:pt x="359973" y="9507"/>
                  </a:lnTo>
                  <a:lnTo>
                    <a:pt x="352595" y="13194"/>
                  </a:lnTo>
                  <a:lnTo>
                    <a:pt x="348906" y="13194"/>
                  </a:lnTo>
                  <a:lnTo>
                    <a:pt x="341527" y="24271"/>
                  </a:lnTo>
                  <a:lnTo>
                    <a:pt x="337838" y="24271"/>
                  </a:lnTo>
                  <a:lnTo>
                    <a:pt x="330460" y="27957"/>
                  </a:lnTo>
                  <a:lnTo>
                    <a:pt x="326771" y="27957"/>
                  </a:lnTo>
                  <a:lnTo>
                    <a:pt x="319392" y="27957"/>
                  </a:lnTo>
                  <a:lnTo>
                    <a:pt x="312014" y="27957"/>
                  </a:lnTo>
                  <a:lnTo>
                    <a:pt x="304636" y="27957"/>
                  </a:lnTo>
                  <a:lnTo>
                    <a:pt x="297257" y="31643"/>
                  </a:lnTo>
                  <a:lnTo>
                    <a:pt x="293568" y="31643"/>
                  </a:lnTo>
                  <a:lnTo>
                    <a:pt x="289878" y="35339"/>
                  </a:lnTo>
                  <a:lnTo>
                    <a:pt x="289878" y="39025"/>
                  </a:lnTo>
                  <a:lnTo>
                    <a:pt x="286189" y="42721"/>
                  </a:lnTo>
                  <a:lnTo>
                    <a:pt x="282500" y="46407"/>
                  </a:lnTo>
                  <a:lnTo>
                    <a:pt x="278811" y="57485"/>
                  </a:lnTo>
                  <a:lnTo>
                    <a:pt x="275121" y="61171"/>
                  </a:lnTo>
                  <a:lnTo>
                    <a:pt x="271432" y="68553"/>
                  </a:lnTo>
                  <a:lnTo>
                    <a:pt x="260365" y="75935"/>
                  </a:lnTo>
                  <a:lnTo>
                    <a:pt x="252986" y="79621"/>
                  </a:lnTo>
                  <a:lnTo>
                    <a:pt x="249297" y="83317"/>
                  </a:lnTo>
                  <a:lnTo>
                    <a:pt x="245608" y="87003"/>
                  </a:lnTo>
                  <a:lnTo>
                    <a:pt x="230851" y="90698"/>
                  </a:lnTo>
                  <a:lnTo>
                    <a:pt x="230851" y="94385"/>
                  </a:lnTo>
                  <a:lnTo>
                    <a:pt x="223473" y="98080"/>
                  </a:lnTo>
                  <a:lnTo>
                    <a:pt x="219784" y="101766"/>
                  </a:lnTo>
                  <a:lnTo>
                    <a:pt x="216095" y="101766"/>
                  </a:lnTo>
                  <a:lnTo>
                    <a:pt x="212406" y="105462"/>
                  </a:lnTo>
                  <a:lnTo>
                    <a:pt x="208717" y="109148"/>
                  </a:lnTo>
                  <a:lnTo>
                    <a:pt x="179203" y="116530"/>
                  </a:lnTo>
                  <a:lnTo>
                    <a:pt x="175514" y="116530"/>
                  </a:lnTo>
                  <a:lnTo>
                    <a:pt x="171825" y="116530"/>
                  </a:lnTo>
                  <a:lnTo>
                    <a:pt x="160757" y="120226"/>
                  </a:lnTo>
                  <a:lnTo>
                    <a:pt x="153379" y="120226"/>
                  </a:lnTo>
                  <a:lnTo>
                    <a:pt x="142311" y="116530"/>
                  </a:lnTo>
                  <a:lnTo>
                    <a:pt x="138621" y="112844"/>
                  </a:lnTo>
                  <a:lnTo>
                    <a:pt x="134932" y="112844"/>
                  </a:lnTo>
                  <a:lnTo>
                    <a:pt x="131243" y="109148"/>
                  </a:lnTo>
                  <a:lnTo>
                    <a:pt x="127554" y="109148"/>
                  </a:lnTo>
                  <a:lnTo>
                    <a:pt x="120176" y="109148"/>
                  </a:lnTo>
                  <a:lnTo>
                    <a:pt x="116487" y="112844"/>
                  </a:lnTo>
                  <a:lnTo>
                    <a:pt x="109108" y="116530"/>
                  </a:lnTo>
                  <a:lnTo>
                    <a:pt x="105419" y="120226"/>
                  </a:lnTo>
                  <a:lnTo>
                    <a:pt x="105419" y="123912"/>
                  </a:lnTo>
                  <a:lnTo>
                    <a:pt x="101730" y="131294"/>
                  </a:lnTo>
                  <a:lnTo>
                    <a:pt x="98041" y="134980"/>
                  </a:lnTo>
                  <a:lnTo>
                    <a:pt x="94352" y="138676"/>
                  </a:lnTo>
                  <a:lnTo>
                    <a:pt x="90662" y="142362"/>
                  </a:lnTo>
                  <a:lnTo>
                    <a:pt x="83284" y="146058"/>
                  </a:lnTo>
                  <a:lnTo>
                    <a:pt x="79595" y="146058"/>
                  </a:lnTo>
                  <a:lnTo>
                    <a:pt x="75906" y="149744"/>
                  </a:lnTo>
                  <a:lnTo>
                    <a:pt x="72217" y="149744"/>
                  </a:lnTo>
                  <a:lnTo>
                    <a:pt x="72217" y="146058"/>
                  </a:lnTo>
                  <a:lnTo>
                    <a:pt x="68527" y="146058"/>
                  </a:lnTo>
                  <a:lnTo>
                    <a:pt x="64838" y="149744"/>
                  </a:lnTo>
                  <a:lnTo>
                    <a:pt x="57460" y="149744"/>
                  </a:lnTo>
                  <a:lnTo>
                    <a:pt x="53771" y="149744"/>
                  </a:lnTo>
                  <a:lnTo>
                    <a:pt x="50082" y="153440"/>
                  </a:lnTo>
                  <a:lnTo>
                    <a:pt x="46393" y="153440"/>
                  </a:lnTo>
                  <a:lnTo>
                    <a:pt x="42703" y="153440"/>
                  </a:lnTo>
                  <a:lnTo>
                    <a:pt x="39014" y="160821"/>
                  </a:lnTo>
                  <a:lnTo>
                    <a:pt x="35325" y="160821"/>
                  </a:lnTo>
                  <a:lnTo>
                    <a:pt x="35325" y="157126"/>
                  </a:lnTo>
                  <a:lnTo>
                    <a:pt x="31636" y="157126"/>
                  </a:lnTo>
                  <a:lnTo>
                    <a:pt x="27947" y="157126"/>
                  </a:lnTo>
                  <a:lnTo>
                    <a:pt x="16879" y="160821"/>
                  </a:lnTo>
                  <a:lnTo>
                    <a:pt x="13190" y="164508"/>
                  </a:lnTo>
                  <a:lnTo>
                    <a:pt x="9501" y="168203"/>
                  </a:lnTo>
                  <a:lnTo>
                    <a:pt x="5812" y="175576"/>
                  </a:lnTo>
                  <a:lnTo>
                    <a:pt x="5812" y="179271"/>
                  </a:lnTo>
                  <a:lnTo>
                    <a:pt x="5812" y="186653"/>
                  </a:lnTo>
                  <a:lnTo>
                    <a:pt x="5812" y="190339"/>
                  </a:lnTo>
                  <a:lnTo>
                    <a:pt x="9501" y="194035"/>
                  </a:lnTo>
                  <a:lnTo>
                    <a:pt x="24258" y="212485"/>
                  </a:lnTo>
                  <a:lnTo>
                    <a:pt x="24258" y="219867"/>
                  </a:lnTo>
                  <a:lnTo>
                    <a:pt x="27947" y="223553"/>
                  </a:lnTo>
                  <a:lnTo>
                    <a:pt x="27947" y="227249"/>
                  </a:lnTo>
                  <a:lnTo>
                    <a:pt x="24258" y="234631"/>
                  </a:lnTo>
                  <a:lnTo>
                    <a:pt x="20568" y="245699"/>
                  </a:lnTo>
                  <a:lnTo>
                    <a:pt x="16879" y="253081"/>
                  </a:lnTo>
                  <a:lnTo>
                    <a:pt x="16879" y="256776"/>
                  </a:lnTo>
                  <a:lnTo>
                    <a:pt x="24258" y="271531"/>
                  </a:lnTo>
                  <a:lnTo>
                    <a:pt x="39014" y="312136"/>
                  </a:lnTo>
                  <a:lnTo>
                    <a:pt x="46393" y="323204"/>
                  </a:lnTo>
                  <a:lnTo>
                    <a:pt x="39014" y="326890"/>
                  </a:lnTo>
                  <a:lnTo>
                    <a:pt x="39014" y="330585"/>
                  </a:lnTo>
                  <a:lnTo>
                    <a:pt x="42703" y="341654"/>
                  </a:lnTo>
                  <a:lnTo>
                    <a:pt x="39014" y="352731"/>
                  </a:lnTo>
                  <a:lnTo>
                    <a:pt x="39014" y="356417"/>
                  </a:lnTo>
                  <a:lnTo>
                    <a:pt x="42703" y="356417"/>
                  </a:lnTo>
                  <a:lnTo>
                    <a:pt x="46393" y="360113"/>
                  </a:lnTo>
                  <a:lnTo>
                    <a:pt x="72217" y="360113"/>
                  </a:lnTo>
                  <a:lnTo>
                    <a:pt x="72217" y="363799"/>
                  </a:lnTo>
                  <a:lnTo>
                    <a:pt x="75906" y="367485"/>
                  </a:lnTo>
                  <a:lnTo>
                    <a:pt x="75906" y="378563"/>
                  </a:lnTo>
                  <a:lnTo>
                    <a:pt x="79595" y="374867"/>
                  </a:lnTo>
                  <a:lnTo>
                    <a:pt x="90662" y="378563"/>
                  </a:lnTo>
                  <a:lnTo>
                    <a:pt x="94352" y="378563"/>
                  </a:lnTo>
                  <a:lnTo>
                    <a:pt x="98041" y="378563"/>
                  </a:lnTo>
                  <a:lnTo>
                    <a:pt x="101730" y="378563"/>
                  </a:lnTo>
                  <a:lnTo>
                    <a:pt x="105419" y="378563"/>
                  </a:lnTo>
                  <a:lnTo>
                    <a:pt x="109108" y="374867"/>
                  </a:lnTo>
                  <a:lnTo>
                    <a:pt x="116487" y="371181"/>
                  </a:lnTo>
                  <a:lnTo>
                    <a:pt x="120176" y="371181"/>
                  </a:lnTo>
                  <a:lnTo>
                    <a:pt x="120176" y="367485"/>
                  </a:lnTo>
                  <a:lnTo>
                    <a:pt x="120176" y="363799"/>
                  </a:lnTo>
                  <a:lnTo>
                    <a:pt x="101730" y="337967"/>
                  </a:lnTo>
                  <a:lnTo>
                    <a:pt x="98041" y="326890"/>
                  </a:lnTo>
                  <a:lnTo>
                    <a:pt x="101730" y="323204"/>
                  </a:lnTo>
                  <a:lnTo>
                    <a:pt x="105419" y="323204"/>
                  </a:lnTo>
                  <a:lnTo>
                    <a:pt x="105419" y="319508"/>
                  </a:lnTo>
                  <a:lnTo>
                    <a:pt x="105419" y="315822"/>
                  </a:lnTo>
                  <a:lnTo>
                    <a:pt x="105419" y="312136"/>
                  </a:lnTo>
                  <a:lnTo>
                    <a:pt x="105419" y="308440"/>
                  </a:lnTo>
                  <a:lnTo>
                    <a:pt x="101730" y="308440"/>
                  </a:lnTo>
                  <a:lnTo>
                    <a:pt x="98041" y="304754"/>
                  </a:lnTo>
                  <a:lnTo>
                    <a:pt x="101730" y="301058"/>
                  </a:lnTo>
                  <a:lnTo>
                    <a:pt x="127554" y="289990"/>
                  </a:lnTo>
                  <a:lnTo>
                    <a:pt x="134932" y="289990"/>
                  </a:lnTo>
                  <a:lnTo>
                    <a:pt x="138621" y="286294"/>
                  </a:lnTo>
                  <a:lnTo>
                    <a:pt x="142311" y="282608"/>
                  </a:lnTo>
                  <a:lnTo>
                    <a:pt x="146000" y="282608"/>
                  </a:lnTo>
                  <a:lnTo>
                    <a:pt x="149690" y="282608"/>
                  </a:lnTo>
                  <a:lnTo>
                    <a:pt x="175514" y="278912"/>
                  </a:lnTo>
                  <a:lnTo>
                    <a:pt x="179203" y="286294"/>
                  </a:lnTo>
                  <a:lnTo>
                    <a:pt x="171825" y="304754"/>
                  </a:lnTo>
                  <a:lnTo>
                    <a:pt x="175514" y="326890"/>
                  </a:lnTo>
                  <a:lnTo>
                    <a:pt x="193960" y="319508"/>
                  </a:lnTo>
                  <a:lnTo>
                    <a:pt x="197649" y="319508"/>
                  </a:lnTo>
                  <a:lnTo>
                    <a:pt x="205027" y="319508"/>
                  </a:lnTo>
                  <a:lnTo>
                    <a:pt x="219784" y="323204"/>
                  </a:lnTo>
                  <a:lnTo>
                    <a:pt x="227162" y="326890"/>
                  </a:lnTo>
                  <a:lnTo>
                    <a:pt x="230851" y="326890"/>
                  </a:lnTo>
                  <a:lnTo>
                    <a:pt x="230851" y="323204"/>
                  </a:lnTo>
                  <a:lnTo>
                    <a:pt x="234541" y="326890"/>
                  </a:lnTo>
                  <a:lnTo>
                    <a:pt x="241919" y="323204"/>
                  </a:lnTo>
                  <a:lnTo>
                    <a:pt x="238230" y="308440"/>
                  </a:lnTo>
                  <a:lnTo>
                    <a:pt x="249297" y="304754"/>
                  </a:lnTo>
                  <a:lnTo>
                    <a:pt x="252986" y="304754"/>
                  </a:lnTo>
                  <a:lnTo>
                    <a:pt x="256676" y="293676"/>
                  </a:lnTo>
                  <a:lnTo>
                    <a:pt x="264054" y="289990"/>
                  </a:lnTo>
                  <a:lnTo>
                    <a:pt x="267743" y="286294"/>
                  </a:lnTo>
                  <a:lnTo>
                    <a:pt x="271432" y="278912"/>
                  </a:lnTo>
                  <a:lnTo>
                    <a:pt x="278811" y="275226"/>
                  </a:lnTo>
                  <a:lnTo>
                    <a:pt x="282500" y="271531"/>
                  </a:lnTo>
                  <a:lnTo>
                    <a:pt x="278811" y="267844"/>
                  </a:lnTo>
                  <a:lnTo>
                    <a:pt x="282500" y="267844"/>
                  </a:lnTo>
                  <a:lnTo>
                    <a:pt x="286189" y="267844"/>
                  </a:lnTo>
                  <a:lnTo>
                    <a:pt x="286189" y="264158"/>
                  </a:lnTo>
                  <a:lnTo>
                    <a:pt x="293568" y="260462"/>
                  </a:lnTo>
                  <a:lnTo>
                    <a:pt x="297257" y="264158"/>
                  </a:lnTo>
                  <a:lnTo>
                    <a:pt x="297257" y="267844"/>
                  </a:lnTo>
                  <a:lnTo>
                    <a:pt x="300946" y="267844"/>
                  </a:lnTo>
                  <a:lnTo>
                    <a:pt x="304636" y="267844"/>
                  </a:lnTo>
                  <a:lnTo>
                    <a:pt x="312014" y="271531"/>
                  </a:lnTo>
                  <a:lnTo>
                    <a:pt x="315703" y="271531"/>
                  </a:lnTo>
                  <a:lnTo>
                    <a:pt x="315703" y="275226"/>
                  </a:lnTo>
                  <a:lnTo>
                    <a:pt x="315703" y="278912"/>
                  </a:lnTo>
                  <a:lnTo>
                    <a:pt x="319392" y="282608"/>
                  </a:lnTo>
                  <a:lnTo>
                    <a:pt x="323081" y="278912"/>
                  </a:lnTo>
                  <a:lnTo>
                    <a:pt x="326771" y="282608"/>
                  </a:lnTo>
                  <a:lnTo>
                    <a:pt x="323081" y="289990"/>
                  </a:lnTo>
                  <a:lnTo>
                    <a:pt x="323081" y="297372"/>
                  </a:lnTo>
                  <a:lnTo>
                    <a:pt x="326771" y="297372"/>
                  </a:lnTo>
                  <a:lnTo>
                    <a:pt x="326771" y="301058"/>
                  </a:lnTo>
                  <a:lnTo>
                    <a:pt x="323081" y="301058"/>
                  </a:lnTo>
                  <a:lnTo>
                    <a:pt x="319392" y="304754"/>
                  </a:lnTo>
                  <a:lnTo>
                    <a:pt x="315703" y="308440"/>
                  </a:lnTo>
                  <a:lnTo>
                    <a:pt x="319392" y="323204"/>
                  </a:lnTo>
                  <a:lnTo>
                    <a:pt x="319392" y="326890"/>
                  </a:lnTo>
                  <a:lnTo>
                    <a:pt x="323081" y="326890"/>
                  </a:lnTo>
                  <a:lnTo>
                    <a:pt x="326771" y="326890"/>
                  </a:lnTo>
                  <a:lnTo>
                    <a:pt x="326771" y="330585"/>
                  </a:lnTo>
                  <a:lnTo>
                    <a:pt x="323081" y="330585"/>
                  </a:lnTo>
                  <a:lnTo>
                    <a:pt x="312014" y="326890"/>
                  </a:lnTo>
                  <a:lnTo>
                    <a:pt x="308325" y="323204"/>
                  </a:lnTo>
                  <a:lnTo>
                    <a:pt x="300946" y="323204"/>
                  </a:lnTo>
                  <a:lnTo>
                    <a:pt x="300946" y="319508"/>
                  </a:lnTo>
                  <a:lnTo>
                    <a:pt x="297257" y="319508"/>
                  </a:lnTo>
                  <a:lnTo>
                    <a:pt x="289878" y="323204"/>
                  </a:lnTo>
                  <a:lnTo>
                    <a:pt x="289878" y="326890"/>
                  </a:lnTo>
                  <a:lnTo>
                    <a:pt x="289878" y="330585"/>
                  </a:lnTo>
                  <a:lnTo>
                    <a:pt x="293568" y="334272"/>
                  </a:lnTo>
                  <a:lnTo>
                    <a:pt x="300946" y="337967"/>
                  </a:lnTo>
                  <a:lnTo>
                    <a:pt x="304636" y="337967"/>
                  </a:lnTo>
                  <a:lnTo>
                    <a:pt x="315703" y="334272"/>
                  </a:lnTo>
                  <a:lnTo>
                    <a:pt x="323081" y="334272"/>
                  </a:lnTo>
                  <a:lnTo>
                    <a:pt x="330460" y="334272"/>
                  </a:lnTo>
                  <a:lnTo>
                    <a:pt x="334149" y="337967"/>
                  </a:lnTo>
                  <a:lnTo>
                    <a:pt x="337838" y="337967"/>
                  </a:lnTo>
                  <a:lnTo>
                    <a:pt x="337838" y="334272"/>
                  </a:lnTo>
                  <a:lnTo>
                    <a:pt x="341527" y="334272"/>
                  </a:lnTo>
                  <a:lnTo>
                    <a:pt x="345217" y="334272"/>
                  </a:lnTo>
                  <a:lnTo>
                    <a:pt x="348906" y="334272"/>
                  </a:lnTo>
                  <a:lnTo>
                    <a:pt x="352595" y="334272"/>
                  </a:lnTo>
                  <a:lnTo>
                    <a:pt x="359973" y="341654"/>
                  </a:lnTo>
                  <a:lnTo>
                    <a:pt x="359973" y="345349"/>
                  </a:lnTo>
                  <a:lnTo>
                    <a:pt x="363662" y="345349"/>
                  </a:lnTo>
                  <a:lnTo>
                    <a:pt x="367351" y="349036"/>
                  </a:lnTo>
                  <a:lnTo>
                    <a:pt x="371041" y="349036"/>
                  </a:lnTo>
                  <a:lnTo>
                    <a:pt x="385797" y="326890"/>
                  </a:lnTo>
                  <a:lnTo>
                    <a:pt x="407932" y="312136"/>
                  </a:lnTo>
                  <a:lnTo>
                    <a:pt x="407932" y="304754"/>
                  </a:lnTo>
                  <a:lnTo>
                    <a:pt x="411621" y="304754"/>
                  </a:lnTo>
                  <a:lnTo>
                    <a:pt x="411621" y="301058"/>
                  </a:lnTo>
                  <a:lnTo>
                    <a:pt x="407932" y="297372"/>
                  </a:lnTo>
                  <a:lnTo>
                    <a:pt x="407932" y="293676"/>
                  </a:lnTo>
                  <a:lnTo>
                    <a:pt x="411621" y="289990"/>
                  </a:lnTo>
                  <a:lnTo>
                    <a:pt x="411621" y="286294"/>
                  </a:lnTo>
                  <a:lnTo>
                    <a:pt x="415310" y="282608"/>
                  </a:lnTo>
                  <a:lnTo>
                    <a:pt x="422689" y="278912"/>
                  </a:lnTo>
                  <a:lnTo>
                    <a:pt x="426378" y="278912"/>
                  </a:lnTo>
                  <a:lnTo>
                    <a:pt x="422689" y="282608"/>
                  </a:lnTo>
                  <a:lnTo>
                    <a:pt x="426378" y="286294"/>
                  </a:lnTo>
                  <a:lnTo>
                    <a:pt x="426378" y="289990"/>
                  </a:lnTo>
                  <a:lnTo>
                    <a:pt x="430067" y="289990"/>
                  </a:lnTo>
                  <a:lnTo>
                    <a:pt x="444825" y="289990"/>
                  </a:lnTo>
                  <a:lnTo>
                    <a:pt x="455892" y="323204"/>
                  </a:lnTo>
                  <a:lnTo>
                    <a:pt x="452203" y="330585"/>
                  </a:lnTo>
                  <a:lnTo>
                    <a:pt x="441136" y="352731"/>
                  </a:lnTo>
                  <a:lnTo>
                    <a:pt x="463271" y="378563"/>
                  </a:lnTo>
                  <a:lnTo>
                    <a:pt x="463271" y="382249"/>
                  </a:lnTo>
                  <a:lnTo>
                    <a:pt x="466960" y="385945"/>
                  </a:lnTo>
                  <a:lnTo>
                    <a:pt x="470649" y="389631"/>
                  </a:lnTo>
                  <a:lnTo>
                    <a:pt x="470649" y="415463"/>
                  </a:lnTo>
                  <a:lnTo>
                    <a:pt x="485405" y="419159"/>
                  </a:lnTo>
                  <a:lnTo>
                    <a:pt x="489095" y="415463"/>
                  </a:lnTo>
                  <a:lnTo>
                    <a:pt x="500162" y="411777"/>
                  </a:lnTo>
                  <a:lnTo>
                    <a:pt x="503851" y="411777"/>
                  </a:lnTo>
                  <a:lnTo>
                    <a:pt x="503851" y="408091"/>
                  </a:lnTo>
                  <a:lnTo>
                    <a:pt x="525986" y="422845"/>
                  </a:lnTo>
                  <a:lnTo>
                    <a:pt x="518608" y="452372"/>
                  </a:lnTo>
                  <a:lnTo>
                    <a:pt x="522297" y="456068"/>
                  </a:lnTo>
                  <a:lnTo>
                    <a:pt x="537051" y="452372"/>
                  </a:lnTo>
                  <a:lnTo>
                    <a:pt x="551815" y="456068"/>
                  </a:lnTo>
                  <a:lnTo>
                    <a:pt x="562874" y="456068"/>
                  </a:lnTo>
                  <a:lnTo>
                    <a:pt x="570255" y="456068"/>
                  </a:lnTo>
                  <a:lnTo>
                    <a:pt x="573942" y="452372"/>
                  </a:lnTo>
                  <a:lnTo>
                    <a:pt x="577637" y="444990"/>
                  </a:lnTo>
                  <a:lnTo>
                    <a:pt x="588705" y="448686"/>
                  </a:lnTo>
                  <a:lnTo>
                    <a:pt x="603460" y="452372"/>
                  </a:lnTo>
                  <a:lnTo>
                    <a:pt x="610841" y="456068"/>
                  </a:lnTo>
                  <a:lnTo>
                    <a:pt x="621910" y="444990"/>
                  </a:lnTo>
                  <a:lnTo>
                    <a:pt x="625596" y="441304"/>
                  </a:lnTo>
                  <a:lnTo>
                    <a:pt x="636664" y="437608"/>
                  </a:lnTo>
                  <a:lnTo>
                    <a:pt x="640350" y="433922"/>
                  </a:lnTo>
                  <a:lnTo>
                    <a:pt x="644036" y="430227"/>
                  </a:lnTo>
                  <a:lnTo>
                    <a:pt x="644036" y="426540"/>
                  </a:lnTo>
                  <a:lnTo>
                    <a:pt x="647732" y="426540"/>
                  </a:lnTo>
                  <a:lnTo>
                    <a:pt x="662486" y="430227"/>
                  </a:lnTo>
                  <a:lnTo>
                    <a:pt x="662486" y="433922"/>
                  </a:lnTo>
                  <a:lnTo>
                    <a:pt x="666172" y="441304"/>
                  </a:lnTo>
                  <a:lnTo>
                    <a:pt x="677240" y="448686"/>
                  </a:lnTo>
                  <a:lnTo>
                    <a:pt x="680936" y="452372"/>
                  </a:lnTo>
                  <a:lnTo>
                    <a:pt x="680936" y="456068"/>
                  </a:lnTo>
                  <a:lnTo>
                    <a:pt x="680936" y="459754"/>
                  </a:lnTo>
                  <a:lnTo>
                    <a:pt x="680936" y="463440"/>
                  </a:lnTo>
                  <a:lnTo>
                    <a:pt x="680936" y="467136"/>
                  </a:lnTo>
                  <a:lnTo>
                    <a:pt x="680936" y="474518"/>
                  </a:lnTo>
                  <a:lnTo>
                    <a:pt x="684622" y="489282"/>
                  </a:lnTo>
                  <a:lnTo>
                    <a:pt x="688308" y="489282"/>
                  </a:lnTo>
                  <a:lnTo>
                    <a:pt x="699376" y="485586"/>
                  </a:lnTo>
                  <a:lnTo>
                    <a:pt x="703063" y="485586"/>
                  </a:lnTo>
                  <a:lnTo>
                    <a:pt x="714131" y="481900"/>
                  </a:lnTo>
                  <a:lnTo>
                    <a:pt x="714131" y="467136"/>
                  </a:lnTo>
                  <a:lnTo>
                    <a:pt x="717826" y="448686"/>
                  </a:lnTo>
                  <a:lnTo>
                    <a:pt x="725199" y="433922"/>
                  </a:lnTo>
                  <a:lnTo>
                    <a:pt x="728894" y="426540"/>
                  </a:lnTo>
                  <a:lnTo>
                    <a:pt x="739962" y="415463"/>
                  </a:lnTo>
                  <a:lnTo>
                    <a:pt x="754717" y="408091"/>
                  </a:lnTo>
                  <a:lnTo>
                    <a:pt x="758403" y="408091"/>
                  </a:lnTo>
                  <a:lnTo>
                    <a:pt x="776853" y="404395"/>
                  </a:lnTo>
                  <a:lnTo>
                    <a:pt x="784225" y="400709"/>
                  </a:lnTo>
                  <a:lnTo>
                    <a:pt x="787921" y="400709"/>
                  </a:lnTo>
                  <a:lnTo>
                    <a:pt x="791607" y="397013"/>
                  </a:lnTo>
                  <a:lnTo>
                    <a:pt x="821125" y="389631"/>
                  </a:lnTo>
                  <a:lnTo>
                    <a:pt x="832193" y="385945"/>
                  </a:lnTo>
                  <a:lnTo>
                    <a:pt x="835879" y="385945"/>
                  </a:lnTo>
                  <a:lnTo>
                    <a:pt x="839565" y="382249"/>
                  </a:lnTo>
                  <a:lnTo>
                    <a:pt x="843252" y="382249"/>
                  </a:lnTo>
                  <a:lnTo>
                    <a:pt x="850633" y="374867"/>
                  </a:lnTo>
                  <a:lnTo>
                    <a:pt x="861701" y="363799"/>
                  </a:lnTo>
                  <a:lnTo>
                    <a:pt x="869083" y="360113"/>
                  </a:lnTo>
                  <a:lnTo>
                    <a:pt x="861701" y="349036"/>
                  </a:lnTo>
                  <a:lnTo>
                    <a:pt x="854319" y="334272"/>
                  </a:lnTo>
                  <a:lnTo>
                    <a:pt x="839565" y="308440"/>
                  </a:lnTo>
                  <a:lnTo>
                    <a:pt x="839565" y="304754"/>
                  </a:lnTo>
                  <a:lnTo>
                    <a:pt x="832193" y="271531"/>
                  </a:lnTo>
                  <a:lnTo>
                    <a:pt x="828497" y="264158"/>
                  </a:lnTo>
                  <a:lnTo>
                    <a:pt x="828497" y="256776"/>
                  </a:lnTo>
                  <a:lnTo>
                    <a:pt x="824811" y="245699"/>
                  </a:lnTo>
                  <a:lnTo>
                    <a:pt x="821125" y="212485"/>
                  </a:lnTo>
                  <a:lnTo>
                    <a:pt x="835879" y="216181"/>
                  </a:lnTo>
                  <a:lnTo>
                    <a:pt x="846947" y="219867"/>
                  </a:lnTo>
                  <a:lnTo>
                    <a:pt x="854319" y="223553"/>
                  </a:lnTo>
                  <a:lnTo>
                    <a:pt x="861701" y="223553"/>
                  </a:lnTo>
                  <a:lnTo>
                    <a:pt x="869083" y="223553"/>
                  </a:lnTo>
                  <a:lnTo>
                    <a:pt x="876456" y="219867"/>
                  </a:lnTo>
                  <a:lnTo>
                    <a:pt x="887524" y="216181"/>
                  </a:lnTo>
                  <a:lnTo>
                    <a:pt x="894905" y="212485"/>
                  </a:lnTo>
                  <a:lnTo>
                    <a:pt x="902287" y="208799"/>
                  </a:lnTo>
                  <a:lnTo>
                    <a:pt x="902287" y="212485"/>
                  </a:lnTo>
                  <a:lnTo>
                    <a:pt x="905974" y="212485"/>
                  </a:lnTo>
                  <a:lnTo>
                    <a:pt x="909660" y="216181"/>
                  </a:lnTo>
                  <a:lnTo>
                    <a:pt x="917042" y="223553"/>
                  </a:lnTo>
                  <a:lnTo>
                    <a:pt x="917042" y="219867"/>
                  </a:lnTo>
                  <a:lnTo>
                    <a:pt x="920728" y="219867"/>
                  </a:lnTo>
                  <a:lnTo>
                    <a:pt x="924414" y="219867"/>
                  </a:lnTo>
                  <a:lnTo>
                    <a:pt x="920728" y="216181"/>
                  </a:lnTo>
                  <a:lnTo>
                    <a:pt x="920728" y="212485"/>
                  </a:lnTo>
                  <a:lnTo>
                    <a:pt x="920728" y="208799"/>
                  </a:lnTo>
                  <a:lnTo>
                    <a:pt x="920728" y="205103"/>
                  </a:lnTo>
                  <a:lnTo>
                    <a:pt x="920728" y="201417"/>
                  </a:lnTo>
                  <a:lnTo>
                    <a:pt x="917042" y="194035"/>
                  </a:lnTo>
                  <a:lnTo>
                    <a:pt x="913356" y="190339"/>
                  </a:lnTo>
                  <a:lnTo>
                    <a:pt x="913356" y="186653"/>
                  </a:lnTo>
                  <a:lnTo>
                    <a:pt x="913356" y="175576"/>
                  </a:lnTo>
                  <a:lnTo>
                    <a:pt x="909660" y="171890"/>
                  </a:lnTo>
                  <a:lnTo>
                    <a:pt x="909660" y="168203"/>
                  </a:lnTo>
                  <a:lnTo>
                    <a:pt x="905974" y="164508"/>
                  </a:lnTo>
                  <a:lnTo>
                    <a:pt x="902287" y="160821"/>
                  </a:lnTo>
                  <a:lnTo>
                    <a:pt x="898592" y="157126"/>
                  </a:lnTo>
                  <a:lnTo>
                    <a:pt x="887524" y="153440"/>
                  </a:lnTo>
                  <a:lnTo>
                    <a:pt x="887524" y="149744"/>
                  </a:lnTo>
                  <a:lnTo>
                    <a:pt x="883838" y="146058"/>
                  </a:lnTo>
                  <a:lnTo>
                    <a:pt x="883838" y="134980"/>
                  </a:lnTo>
                  <a:lnTo>
                    <a:pt x="883838" y="131294"/>
                  </a:lnTo>
                  <a:lnTo>
                    <a:pt x="883838" y="127598"/>
                  </a:lnTo>
                  <a:lnTo>
                    <a:pt x="883838" y="120226"/>
                  </a:lnTo>
                  <a:lnTo>
                    <a:pt x="880151" y="120226"/>
                  </a:lnTo>
                  <a:lnTo>
                    <a:pt x="880151" y="116530"/>
                  </a:lnTo>
                  <a:lnTo>
                    <a:pt x="880151" y="109148"/>
                  </a:lnTo>
                  <a:lnTo>
                    <a:pt x="876456" y="98080"/>
                  </a:lnTo>
                  <a:lnTo>
                    <a:pt x="872769" y="98080"/>
                  </a:lnTo>
                  <a:lnTo>
                    <a:pt x="869083" y="94385"/>
                  </a:lnTo>
                  <a:lnTo>
                    <a:pt x="861701" y="94385"/>
                  </a:lnTo>
                  <a:lnTo>
                    <a:pt x="854319" y="90698"/>
                  </a:lnTo>
                  <a:lnTo>
                    <a:pt x="846947" y="90698"/>
                  </a:lnTo>
                  <a:lnTo>
                    <a:pt x="843252" y="87003"/>
                  </a:lnTo>
                  <a:lnTo>
                    <a:pt x="843252" y="79621"/>
                  </a:lnTo>
                  <a:lnTo>
                    <a:pt x="839565" y="72248"/>
                  </a:lnTo>
                  <a:lnTo>
                    <a:pt x="839565" y="68553"/>
                  </a:lnTo>
                  <a:lnTo>
                    <a:pt x="839565" y="64867"/>
                  </a:lnTo>
                  <a:lnTo>
                    <a:pt x="835879" y="64867"/>
                  </a:lnTo>
                  <a:lnTo>
                    <a:pt x="832193" y="61171"/>
                  </a:lnTo>
                  <a:lnTo>
                    <a:pt x="828497" y="61171"/>
                  </a:lnTo>
                  <a:lnTo>
                    <a:pt x="821125" y="61171"/>
                  </a:lnTo>
                  <a:lnTo>
                    <a:pt x="810057" y="61171"/>
                  </a:lnTo>
                  <a:lnTo>
                    <a:pt x="806361" y="61171"/>
                  </a:lnTo>
                  <a:lnTo>
                    <a:pt x="795293" y="64867"/>
                  </a:lnTo>
                  <a:lnTo>
                    <a:pt x="791607" y="64867"/>
                  </a:lnTo>
                  <a:lnTo>
                    <a:pt x="784225" y="64867"/>
                  </a:lnTo>
                  <a:lnTo>
                    <a:pt x="780539" y="64867"/>
                  </a:lnTo>
                  <a:lnTo>
                    <a:pt x="776853" y="64867"/>
                  </a:lnTo>
                  <a:lnTo>
                    <a:pt x="773157" y="61171"/>
                  </a:lnTo>
                  <a:lnTo>
                    <a:pt x="773157" y="57485"/>
                  </a:lnTo>
                  <a:lnTo>
                    <a:pt x="769471" y="53789"/>
                  </a:lnTo>
                  <a:lnTo>
                    <a:pt x="765785" y="50103"/>
                  </a:lnTo>
                  <a:lnTo>
                    <a:pt x="762098" y="50103"/>
                  </a:lnTo>
                  <a:lnTo>
                    <a:pt x="758403" y="50103"/>
                  </a:lnTo>
                  <a:lnTo>
                    <a:pt x="754717" y="46407"/>
                  </a:lnTo>
                  <a:lnTo>
                    <a:pt x="751030" y="46407"/>
                  </a:lnTo>
                  <a:lnTo>
                    <a:pt x="751030" y="39025"/>
                  </a:lnTo>
                  <a:lnTo>
                    <a:pt x="747335" y="39025"/>
                  </a:lnTo>
                  <a:lnTo>
                    <a:pt x="743649" y="35339"/>
                  </a:lnTo>
                  <a:lnTo>
                    <a:pt x="739962" y="35339"/>
                  </a:lnTo>
                  <a:lnTo>
                    <a:pt x="736267" y="35339"/>
                  </a:lnTo>
                  <a:lnTo>
                    <a:pt x="732581" y="31643"/>
                  </a:lnTo>
                  <a:lnTo>
                    <a:pt x="728894" y="27957"/>
                  </a:lnTo>
                  <a:lnTo>
                    <a:pt x="725199" y="24271"/>
                  </a:lnTo>
                  <a:lnTo>
                    <a:pt x="725199" y="16889"/>
                  </a:lnTo>
                  <a:lnTo>
                    <a:pt x="721512" y="13194"/>
                  </a:lnTo>
                  <a:lnTo>
                    <a:pt x="714131" y="13194"/>
                  </a:lnTo>
                  <a:lnTo>
                    <a:pt x="710444" y="13194"/>
                  </a:lnTo>
                  <a:lnTo>
                    <a:pt x="706758" y="9507"/>
                  </a:lnTo>
                  <a:lnTo>
                    <a:pt x="699376" y="5812"/>
                  </a:lnTo>
                  <a:lnTo>
                    <a:pt x="695690" y="5812"/>
                  </a:lnTo>
                  <a:lnTo>
                    <a:pt x="692004" y="5812"/>
                  </a:lnTo>
                  <a:lnTo>
                    <a:pt x="684622" y="5812"/>
                  </a:lnTo>
                  <a:lnTo>
                    <a:pt x="680936" y="5812"/>
                  </a:lnTo>
                  <a:lnTo>
                    <a:pt x="677240" y="9507"/>
                  </a:lnTo>
                  <a:lnTo>
                    <a:pt x="677240" y="13194"/>
                  </a:lnTo>
                  <a:lnTo>
                    <a:pt x="673554" y="16889"/>
                  </a:lnTo>
                  <a:lnTo>
                    <a:pt x="669868" y="16889"/>
                  </a:lnTo>
                  <a:lnTo>
                    <a:pt x="666172" y="13194"/>
                  </a:lnTo>
                  <a:lnTo>
                    <a:pt x="662486" y="13194"/>
                  </a:lnTo>
                  <a:lnTo>
                    <a:pt x="658800" y="13194"/>
                  </a:lnTo>
                  <a:lnTo>
                    <a:pt x="658800" y="9507"/>
                  </a:lnTo>
                  <a:lnTo>
                    <a:pt x="655104" y="5812"/>
                  </a:lnTo>
                  <a:lnTo>
                    <a:pt x="651418" y="5812"/>
                  </a:lnTo>
                  <a:lnTo>
                    <a:pt x="647732" y="5812"/>
                  </a:lnTo>
                  <a:lnTo>
                    <a:pt x="644036" y="5812"/>
                  </a:lnTo>
                  <a:lnTo>
                    <a:pt x="644036" y="9507"/>
                  </a:lnTo>
                  <a:lnTo>
                    <a:pt x="640350" y="16889"/>
                  </a:lnTo>
                  <a:lnTo>
                    <a:pt x="636664" y="20575"/>
                  </a:lnTo>
                  <a:lnTo>
                    <a:pt x="629282" y="20575"/>
                  </a:lnTo>
                  <a:lnTo>
                    <a:pt x="621910" y="20575"/>
                  </a:lnTo>
                  <a:lnTo>
                    <a:pt x="618214" y="20575"/>
                  </a:lnTo>
                  <a:lnTo>
                    <a:pt x="614528" y="16889"/>
                  </a:lnTo>
                  <a:lnTo>
                    <a:pt x="610841" y="13194"/>
                  </a:lnTo>
                  <a:lnTo>
                    <a:pt x="610841" y="9507"/>
                  </a:lnTo>
                  <a:lnTo>
                    <a:pt x="607146" y="9507"/>
                  </a:lnTo>
                  <a:lnTo>
                    <a:pt x="603460" y="13194"/>
                  </a:lnTo>
                  <a:lnTo>
                    <a:pt x="603460" y="16889"/>
                  </a:lnTo>
                  <a:lnTo>
                    <a:pt x="599773" y="20575"/>
                  </a:lnTo>
                  <a:lnTo>
                    <a:pt x="596078" y="24271"/>
                  </a:lnTo>
                  <a:lnTo>
                    <a:pt x="588705" y="35339"/>
                  </a:lnTo>
                  <a:lnTo>
                    <a:pt x="588705" y="39025"/>
                  </a:lnTo>
                  <a:lnTo>
                    <a:pt x="585010" y="46407"/>
                  </a:lnTo>
                  <a:lnTo>
                    <a:pt x="585010" y="53789"/>
                  </a:lnTo>
                  <a:lnTo>
                    <a:pt x="585010" y="61171"/>
                  </a:lnTo>
                  <a:lnTo>
                    <a:pt x="581323" y="61171"/>
                  </a:lnTo>
                  <a:lnTo>
                    <a:pt x="581323" y="64867"/>
                  </a:lnTo>
                  <a:lnTo>
                    <a:pt x="562874" y="72248"/>
                  </a:lnTo>
                  <a:lnTo>
                    <a:pt x="555501" y="75935"/>
                  </a:lnTo>
                  <a:lnTo>
                    <a:pt x="555501" y="79621"/>
                  </a:lnTo>
                  <a:lnTo>
                    <a:pt x="551815" y="79621"/>
                  </a:lnTo>
                  <a:lnTo>
                    <a:pt x="544433" y="75935"/>
                  </a:lnTo>
                  <a:lnTo>
                    <a:pt x="537051" y="75935"/>
                  </a:lnTo>
                  <a:lnTo>
                    <a:pt x="533365" y="79621"/>
                  </a:lnTo>
                  <a:lnTo>
                    <a:pt x="529675" y="83317"/>
                  </a:lnTo>
                  <a:lnTo>
                    <a:pt x="525986" y="79621"/>
                  </a:lnTo>
                  <a:lnTo>
                    <a:pt x="518608" y="75935"/>
                  </a:lnTo>
                  <a:lnTo>
                    <a:pt x="514919" y="72248"/>
                  </a:lnTo>
                  <a:lnTo>
                    <a:pt x="511230" y="75935"/>
                  </a:lnTo>
                  <a:lnTo>
                    <a:pt x="507540" y="75935"/>
                  </a:lnTo>
                  <a:lnTo>
                    <a:pt x="503851" y="75935"/>
                  </a:lnTo>
                  <a:lnTo>
                    <a:pt x="496473" y="75935"/>
                  </a:lnTo>
                  <a:lnTo>
                    <a:pt x="492784" y="75935"/>
                  </a:lnTo>
                  <a:lnTo>
                    <a:pt x="485405" y="75935"/>
                  </a:lnTo>
                  <a:lnTo>
                    <a:pt x="478027" y="75935"/>
                  </a:lnTo>
                  <a:lnTo>
                    <a:pt x="470649" y="79621"/>
                  </a:lnTo>
                  <a:lnTo>
                    <a:pt x="466960" y="75935"/>
                  </a:lnTo>
                  <a:lnTo>
                    <a:pt x="466960" y="72248"/>
                  </a:lnTo>
                  <a:lnTo>
                    <a:pt x="470649" y="72248"/>
                  </a:lnTo>
                  <a:lnTo>
                    <a:pt x="474338" y="68553"/>
                  </a:lnTo>
                  <a:lnTo>
                    <a:pt x="478027" y="64867"/>
                  </a:lnTo>
                  <a:lnTo>
                    <a:pt x="474338" y="61171"/>
                  </a:lnTo>
                  <a:lnTo>
                    <a:pt x="474338" y="57485"/>
                  </a:lnTo>
                  <a:lnTo>
                    <a:pt x="474338" y="53789"/>
                  </a:lnTo>
                  <a:lnTo>
                    <a:pt x="474338" y="50103"/>
                  </a:lnTo>
                  <a:lnTo>
                    <a:pt x="463271" y="46407"/>
                  </a:lnTo>
                  <a:lnTo>
                    <a:pt x="459581" y="42721"/>
                  </a:lnTo>
                  <a:lnTo>
                    <a:pt x="455892" y="39025"/>
                  </a:lnTo>
                  <a:lnTo>
                    <a:pt x="452203" y="39025"/>
                  </a:lnTo>
                  <a:lnTo>
                    <a:pt x="448514" y="42721"/>
                  </a:lnTo>
                  <a:lnTo>
                    <a:pt x="444825" y="46407"/>
                  </a:lnTo>
                  <a:lnTo>
                    <a:pt x="441136" y="46407"/>
                  </a:lnTo>
                  <a:lnTo>
                    <a:pt x="441136" y="42721"/>
                  </a:lnTo>
                  <a:lnTo>
                    <a:pt x="437445" y="42721"/>
                  </a:lnTo>
                  <a:lnTo>
                    <a:pt x="437445" y="39025"/>
                  </a:lnTo>
                  <a:lnTo>
                    <a:pt x="433756" y="35339"/>
                  </a:lnTo>
                  <a:lnTo>
                    <a:pt x="433756" y="31643"/>
                  </a:lnTo>
                  <a:lnTo>
                    <a:pt x="430067" y="31643"/>
                  </a:lnTo>
                  <a:lnTo>
                    <a:pt x="426378" y="27957"/>
                  </a:lnTo>
                  <a:lnTo>
                    <a:pt x="419000" y="24271"/>
                  </a:lnTo>
                  <a:lnTo>
                    <a:pt x="415310" y="20575"/>
                  </a:lnTo>
                  <a:lnTo>
                    <a:pt x="411621" y="20575"/>
                  </a:lnTo>
                  <a:lnTo>
                    <a:pt x="411621" y="16889"/>
                  </a:lnTo>
                  <a:lnTo>
                    <a:pt x="411621" y="13194"/>
                  </a:lnTo>
                  <a:lnTo>
                    <a:pt x="407932" y="13194"/>
                  </a:lnTo>
                  <a:lnTo>
                    <a:pt x="400554" y="13194"/>
                  </a:lnTo>
                  <a:lnTo>
                    <a:pt x="396865" y="9507"/>
                  </a:lnTo>
                  <a:lnTo>
                    <a:pt x="393175" y="9507"/>
                  </a:lnTo>
                  <a:lnTo>
                    <a:pt x="385797" y="9507"/>
                  </a:lnTo>
                  <a:lnTo>
                    <a:pt x="378419" y="5812"/>
                  </a:lnTo>
                  <a:lnTo>
                    <a:pt x="374730" y="5812"/>
                  </a:lnTo>
                  <a:lnTo>
                    <a:pt x="371041" y="5812"/>
                  </a:lnTo>
                  <a:lnTo>
                    <a:pt x="363662" y="5812"/>
                  </a:lnTo>
                  <a:close/>
                  <a:moveTo>
                    <a:pt x="367351" y="349036"/>
                  </a:moveTo>
                  <a:lnTo>
                    <a:pt x="363662" y="349036"/>
                  </a:lnTo>
                  <a:lnTo>
                    <a:pt x="359973" y="349036"/>
                  </a:lnTo>
                  <a:lnTo>
                    <a:pt x="363662" y="352731"/>
                  </a:lnTo>
                  <a:lnTo>
                    <a:pt x="367351" y="349036"/>
                  </a:lnTo>
                  <a:close/>
                  <a:moveTo>
                    <a:pt x="363662" y="308440"/>
                  </a:moveTo>
                  <a:lnTo>
                    <a:pt x="367351" y="308440"/>
                  </a:lnTo>
                  <a:lnTo>
                    <a:pt x="367351" y="312136"/>
                  </a:lnTo>
                  <a:lnTo>
                    <a:pt x="371041" y="315822"/>
                  </a:lnTo>
                  <a:lnTo>
                    <a:pt x="374730" y="315822"/>
                  </a:lnTo>
                  <a:lnTo>
                    <a:pt x="374730" y="319508"/>
                  </a:lnTo>
                  <a:lnTo>
                    <a:pt x="374730" y="323204"/>
                  </a:lnTo>
                  <a:lnTo>
                    <a:pt x="371041" y="323204"/>
                  </a:lnTo>
                  <a:lnTo>
                    <a:pt x="367351" y="319508"/>
                  </a:lnTo>
                  <a:lnTo>
                    <a:pt x="363662" y="319508"/>
                  </a:lnTo>
                  <a:lnTo>
                    <a:pt x="367351" y="315822"/>
                  </a:lnTo>
                  <a:lnTo>
                    <a:pt x="363662" y="312136"/>
                  </a:lnTo>
                  <a:lnTo>
                    <a:pt x="363662" y="308440"/>
                  </a:lnTo>
                  <a:close/>
                  <a:moveTo>
                    <a:pt x="371041" y="308440"/>
                  </a:moveTo>
                  <a:lnTo>
                    <a:pt x="374730" y="312136"/>
                  </a:lnTo>
                  <a:lnTo>
                    <a:pt x="371041" y="312136"/>
                  </a:lnTo>
                  <a:lnTo>
                    <a:pt x="371041" y="308440"/>
                  </a:lnTo>
                  <a:close/>
                </a:path>
              </a:pathLst>
            </a:custGeom>
            <a:solidFill>
              <a:srgbClr val="408E94"/>
            </a:solidFill>
            <a:ln w="12821" cap="flat">
              <a:solidFill>
                <a:schemeClr val="bg1"/>
              </a:solidFill>
              <a:prstDash val="solid"/>
              <a:round/>
            </a:ln>
          </p:spPr>
          <p:txBody>
            <a:bodyPr rot="0" spcFirstLastPara="0" vertOverflow="overflow" horzOverflow="overflow" vert="horz" wrap="square" lIns="91440" tIns="45720" rIns="91440" bIns="21600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76</a:t>
              </a:r>
            </a:p>
          </p:txBody>
        </p:sp>
        <p:sp>
          <p:nvSpPr>
            <p:cNvPr id="90" name="Freeform: Shape 89">
              <a:extLst>
                <a:ext uri="{FF2B5EF4-FFF2-40B4-BE49-F238E27FC236}">
                  <a16:creationId xmlns:a16="http://schemas.microsoft.com/office/drawing/2014/main" id="{F88B8348-3240-4B46-B027-0201391B7000}"/>
                </a:ext>
              </a:extLst>
            </p:cNvPr>
            <p:cNvSpPr/>
            <p:nvPr/>
          </p:nvSpPr>
          <p:spPr>
            <a:xfrm>
              <a:off x="1440604" y="5218732"/>
              <a:ext cx="30745" cy="30745"/>
            </a:xfrm>
            <a:custGeom>
              <a:avLst/>
              <a:gdLst>
                <a:gd name="connsiteX0" fmla="*/ 13190 w 19050"/>
                <a:gd name="connsiteY0" fmla="*/ 5812 h 19050"/>
                <a:gd name="connsiteX1" fmla="*/ 13190 w 19050"/>
                <a:gd name="connsiteY1" fmla="*/ 9507 h 19050"/>
                <a:gd name="connsiteX2" fmla="*/ 16879 w 19050"/>
                <a:gd name="connsiteY2" fmla="*/ 9507 h 19050"/>
                <a:gd name="connsiteX3" fmla="*/ 16879 w 19050"/>
                <a:gd name="connsiteY3" fmla="*/ 13193 h 19050"/>
                <a:gd name="connsiteX4" fmla="*/ 13190 w 19050"/>
                <a:gd name="connsiteY4" fmla="*/ 13193 h 19050"/>
                <a:gd name="connsiteX5" fmla="*/ 13190 w 19050"/>
                <a:gd name="connsiteY5" fmla="*/ 16889 h 19050"/>
                <a:gd name="connsiteX6" fmla="*/ 16879 w 19050"/>
                <a:gd name="connsiteY6" fmla="*/ 16889 h 19050"/>
                <a:gd name="connsiteX7" fmla="*/ 13190 w 19050"/>
                <a:gd name="connsiteY7" fmla="*/ 16889 h 19050"/>
                <a:gd name="connsiteX8" fmla="*/ 9501 w 19050"/>
                <a:gd name="connsiteY8" fmla="*/ 16889 h 19050"/>
                <a:gd name="connsiteX9" fmla="*/ 5812 w 19050"/>
                <a:gd name="connsiteY9" fmla="*/ 13193 h 19050"/>
                <a:gd name="connsiteX10" fmla="*/ 5812 w 19050"/>
                <a:gd name="connsiteY10" fmla="*/ 9507 h 19050"/>
                <a:gd name="connsiteX11" fmla="*/ 5812 w 19050"/>
                <a:gd name="connsiteY11" fmla="*/ 5812 h 19050"/>
                <a:gd name="connsiteX12" fmla="*/ 5812 w 19050"/>
                <a:gd name="connsiteY12" fmla="*/ 5812 h 19050"/>
                <a:gd name="connsiteX13" fmla="*/ 5812 w 19050"/>
                <a:gd name="connsiteY13" fmla="*/ 5812 h 19050"/>
                <a:gd name="connsiteX14" fmla="*/ 9501 w 19050"/>
                <a:gd name="connsiteY14" fmla="*/ 5812 h 19050"/>
                <a:gd name="connsiteX15" fmla="*/ 13190 w 19050"/>
                <a:gd name="connsiteY15"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050" h="19050">
                  <a:moveTo>
                    <a:pt x="13190" y="5812"/>
                  </a:moveTo>
                  <a:lnTo>
                    <a:pt x="13190" y="9507"/>
                  </a:lnTo>
                  <a:lnTo>
                    <a:pt x="16879" y="9507"/>
                  </a:lnTo>
                  <a:lnTo>
                    <a:pt x="16879" y="13193"/>
                  </a:lnTo>
                  <a:lnTo>
                    <a:pt x="13190" y="13193"/>
                  </a:lnTo>
                  <a:lnTo>
                    <a:pt x="13190" y="16889"/>
                  </a:lnTo>
                  <a:lnTo>
                    <a:pt x="16879" y="16889"/>
                  </a:lnTo>
                  <a:lnTo>
                    <a:pt x="13190" y="16889"/>
                  </a:lnTo>
                  <a:lnTo>
                    <a:pt x="9501" y="16889"/>
                  </a:lnTo>
                  <a:lnTo>
                    <a:pt x="5812" y="13193"/>
                  </a:lnTo>
                  <a:lnTo>
                    <a:pt x="5812" y="9507"/>
                  </a:lnTo>
                  <a:lnTo>
                    <a:pt x="5812" y="5812"/>
                  </a:lnTo>
                  <a:lnTo>
                    <a:pt x="5812" y="5812"/>
                  </a:lnTo>
                  <a:lnTo>
                    <a:pt x="5812" y="5812"/>
                  </a:lnTo>
                  <a:lnTo>
                    <a:pt x="9501" y="5812"/>
                  </a:lnTo>
                  <a:lnTo>
                    <a:pt x="13190" y="5812"/>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91" name="Freeform: Shape 90">
              <a:extLst>
                <a:ext uri="{FF2B5EF4-FFF2-40B4-BE49-F238E27FC236}">
                  <a16:creationId xmlns:a16="http://schemas.microsoft.com/office/drawing/2014/main" id="{185ACA2A-1176-4E17-BC08-6281B3021EFF}"/>
                </a:ext>
              </a:extLst>
            </p:cNvPr>
            <p:cNvSpPr/>
            <p:nvPr/>
          </p:nvSpPr>
          <p:spPr>
            <a:xfrm>
              <a:off x="1267938" y="5212783"/>
              <a:ext cx="15373" cy="15373"/>
            </a:xfrm>
            <a:custGeom>
              <a:avLst/>
              <a:gdLst>
                <a:gd name="connsiteX0" fmla="*/ 5812 w 9525"/>
                <a:gd name="connsiteY0" fmla="*/ 9498 h 9525"/>
                <a:gd name="connsiteX1" fmla="*/ 9501 w 9525"/>
                <a:gd name="connsiteY1" fmla="*/ 9498 h 9525"/>
                <a:gd name="connsiteX2" fmla="*/ 13190 w 9525"/>
                <a:gd name="connsiteY2" fmla="*/ 5812 h 9525"/>
                <a:gd name="connsiteX3" fmla="*/ 13190 w 9525"/>
                <a:gd name="connsiteY3" fmla="*/ 9498 h 9525"/>
                <a:gd name="connsiteX4" fmla="*/ 13190 w 9525"/>
                <a:gd name="connsiteY4" fmla="*/ 9498 h 9525"/>
                <a:gd name="connsiteX5" fmla="*/ 13190 w 9525"/>
                <a:gd name="connsiteY5" fmla="*/ 9498 h 9525"/>
                <a:gd name="connsiteX6" fmla="*/ 5812 w 9525"/>
                <a:gd name="connsiteY6" fmla="*/ 9498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9525">
                  <a:moveTo>
                    <a:pt x="5812" y="9498"/>
                  </a:moveTo>
                  <a:lnTo>
                    <a:pt x="9501" y="9498"/>
                  </a:lnTo>
                  <a:lnTo>
                    <a:pt x="13190" y="5812"/>
                  </a:lnTo>
                  <a:lnTo>
                    <a:pt x="13190" y="9498"/>
                  </a:lnTo>
                  <a:lnTo>
                    <a:pt x="13190" y="9498"/>
                  </a:lnTo>
                  <a:lnTo>
                    <a:pt x="13190" y="9498"/>
                  </a:lnTo>
                  <a:lnTo>
                    <a:pt x="5812" y="9498"/>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92" name="Freeform: Shape 91">
              <a:extLst>
                <a:ext uri="{FF2B5EF4-FFF2-40B4-BE49-F238E27FC236}">
                  <a16:creationId xmlns:a16="http://schemas.microsoft.com/office/drawing/2014/main" id="{6B3E97F1-3F27-4A4A-95B6-34DAEC5C6F9F}"/>
                </a:ext>
              </a:extLst>
            </p:cNvPr>
            <p:cNvSpPr/>
            <p:nvPr/>
          </p:nvSpPr>
          <p:spPr>
            <a:xfrm>
              <a:off x="1404880" y="5224698"/>
              <a:ext cx="46118" cy="30745"/>
            </a:xfrm>
            <a:custGeom>
              <a:avLst/>
              <a:gdLst>
                <a:gd name="connsiteX0" fmla="*/ 24258 w 28575"/>
                <a:gd name="connsiteY0" fmla="*/ 13193 h 19050"/>
                <a:gd name="connsiteX1" fmla="*/ 24258 w 28575"/>
                <a:gd name="connsiteY1" fmla="*/ 13193 h 19050"/>
                <a:gd name="connsiteX2" fmla="*/ 24258 w 28575"/>
                <a:gd name="connsiteY2" fmla="*/ 16880 h 19050"/>
                <a:gd name="connsiteX3" fmla="*/ 24258 w 28575"/>
                <a:gd name="connsiteY3" fmla="*/ 16880 h 19050"/>
                <a:gd name="connsiteX4" fmla="*/ 24258 w 28575"/>
                <a:gd name="connsiteY4" fmla="*/ 20575 h 19050"/>
                <a:gd name="connsiteX5" fmla="*/ 24258 w 28575"/>
                <a:gd name="connsiteY5" fmla="*/ 20575 h 19050"/>
                <a:gd name="connsiteX6" fmla="*/ 20568 w 28575"/>
                <a:gd name="connsiteY6" fmla="*/ 20575 h 19050"/>
                <a:gd name="connsiteX7" fmla="*/ 20568 w 28575"/>
                <a:gd name="connsiteY7" fmla="*/ 20575 h 19050"/>
                <a:gd name="connsiteX8" fmla="*/ 16879 w 28575"/>
                <a:gd name="connsiteY8" fmla="*/ 20575 h 19050"/>
                <a:gd name="connsiteX9" fmla="*/ 16879 w 28575"/>
                <a:gd name="connsiteY9" fmla="*/ 16880 h 19050"/>
                <a:gd name="connsiteX10" fmla="*/ 13190 w 28575"/>
                <a:gd name="connsiteY10" fmla="*/ 16880 h 19050"/>
                <a:gd name="connsiteX11" fmla="*/ 13190 w 28575"/>
                <a:gd name="connsiteY11" fmla="*/ 16880 h 19050"/>
                <a:gd name="connsiteX12" fmla="*/ 16879 w 28575"/>
                <a:gd name="connsiteY12" fmla="*/ 16880 h 19050"/>
                <a:gd name="connsiteX13" fmla="*/ 20568 w 28575"/>
                <a:gd name="connsiteY13" fmla="*/ 16880 h 19050"/>
                <a:gd name="connsiteX14" fmla="*/ 16879 w 28575"/>
                <a:gd name="connsiteY14" fmla="*/ 13193 h 19050"/>
                <a:gd name="connsiteX15" fmla="*/ 20568 w 28575"/>
                <a:gd name="connsiteY15" fmla="*/ 13193 h 19050"/>
                <a:gd name="connsiteX16" fmla="*/ 20568 w 28575"/>
                <a:gd name="connsiteY16" fmla="*/ 13193 h 19050"/>
                <a:gd name="connsiteX17" fmla="*/ 16879 w 28575"/>
                <a:gd name="connsiteY17" fmla="*/ 13193 h 19050"/>
                <a:gd name="connsiteX18" fmla="*/ 13190 w 28575"/>
                <a:gd name="connsiteY18" fmla="*/ 16880 h 19050"/>
                <a:gd name="connsiteX19" fmla="*/ 13190 w 28575"/>
                <a:gd name="connsiteY19" fmla="*/ 13193 h 19050"/>
                <a:gd name="connsiteX20" fmla="*/ 13190 w 28575"/>
                <a:gd name="connsiteY20" fmla="*/ 13193 h 19050"/>
                <a:gd name="connsiteX21" fmla="*/ 16879 w 28575"/>
                <a:gd name="connsiteY21" fmla="*/ 13193 h 19050"/>
                <a:gd name="connsiteX22" fmla="*/ 16879 w 28575"/>
                <a:gd name="connsiteY22" fmla="*/ 13193 h 19050"/>
                <a:gd name="connsiteX23" fmla="*/ 13190 w 28575"/>
                <a:gd name="connsiteY23" fmla="*/ 13193 h 19050"/>
                <a:gd name="connsiteX24" fmla="*/ 16879 w 28575"/>
                <a:gd name="connsiteY24" fmla="*/ 9498 h 19050"/>
                <a:gd name="connsiteX25" fmla="*/ 16879 w 28575"/>
                <a:gd name="connsiteY25" fmla="*/ 9498 h 19050"/>
                <a:gd name="connsiteX26" fmla="*/ 13190 w 28575"/>
                <a:gd name="connsiteY26" fmla="*/ 9498 h 19050"/>
                <a:gd name="connsiteX27" fmla="*/ 13190 w 28575"/>
                <a:gd name="connsiteY27" fmla="*/ 9498 h 19050"/>
                <a:gd name="connsiteX28" fmla="*/ 9501 w 28575"/>
                <a:gd name="connsiteY28" fmla="*/ 9498 h 19050"/>
                <a:gd name="connsiteX29" fmla="*/ 9501 w 28575"/>
                <a:gd name="connsiteY29" fmla="*/ 9498 h 19050"/>
                <a:gd name="connsiteX30" fmla="*/ 9501 w 28575"/>
                <a:gd name="connsiteY30" fmla="*/ 5812 h 19050"/>
                <a:gd name="connsiteX31" fmla="*/ 9501 w 28575"/>
                <a:gd name="connsiteY31" fmla="*/ 9498 h 19050"/>
                <a:gd name="connsiteX32" fmla="*/ 5812 w 28575"/>
                <a:gd name="connsiteY32" fmla="*/ 9498 h 19050"/>
                <a:gd name="connsiteX33" fmla="*/ 5812 w 28575"/>
                <a:gd name="connsiteY33" fmla="*/ 5812 h 19050"/>
                <a:gd name="connsiteX34" fmla="*/ 13190 w 28575"/>
                <a:gd name="connsiteY34" fmla="*/ 5812 h 19050"/>
                <a:gd name="connsiteX35" fmla="*/ 16879 w 28575"/>
                <a:gd name="connsiteY35" fmla="*/ 5812 h 19050"/>
                <a:gd name="connsiteX36" fmla="*/ 16879 w 28575"/>
                <a:gd name="connsiteY36" fmla="*/ 5812 h 19050"/>
                <a:gd name="connsiteX37" fmla="*/ 20568 w 28575"/>
                <a:gd name="connsiteY37" fmla="*/ 9498 h 19050"/>
                <a:gd name="connsiteX38" fmla="*/ 20568 w 28575"/>
                <a:gd name="connsiteY38" fmla="*/ 9498 h 19050"/>
                <a:gd name="connsiteX39" fmla="*/ 24258 w 28575"/>
                <a:gd name="connsiteY39" fmla="*/ 13193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575" h="19050">
                  <a:moveTo>
                    <a:pt x="24258" y="13193"/>
                  </a:moveTo>
                  <a:lnTo>
                    <a:pt x="24258" y="13193"/>
                  </a:lnTo>
                  <a:lnTo>
                    <a:pt x="24258" y="16880"/>
                  </a:lnTo>
                  <a:lnTo>
                    <a:pt x="24258" y="16880"/>
                  </a:lnTo>
                  <a:lnTo>
                    <a:pt x="24258" y="20575"/>
                  </a:lnTo>
                  <a:lnTo>
                    <a:pt x="24258" y="20575"/>
                  </a:lnTo>
                  <a:lnTo>
                    <a:pt x="20568" y="20575"/>
                  </a:lnTo>
                  <a:lnTo>
                    <a:pt x="20568" y="20575"/>
                  </a:lnTo>
                  <a:lnTo>
                    <a:pt x="16879" y="20575"/>
                  </a:lnTo>
                  <a:lnTo>
                    <a:pt x="16879" y="16880"/>
                  </a:lnTo>
                  <a:lnTo>
                    <a:pt x="13190" y="16880"/>
                  </a:lnTo>
                  <a:lnTo>
                    <a:pt x="13190" y="16880"/>
                  </a:lnTo>
                  <a:lnTo>
                    <a:pt x="16879" y="16880"/>
                  </a:lnTo>
                  <a:lnTo>
                    <a:pt x="20568" y="16880"/>
                  </a:lnTo>
                  <a:lnTo>
                    <a:pt x="16879" y="13193"/>
                  </a:lnTo>
                  <a:lnTo>
                    <a:pt x="20568" y="13193"/>
                  </a:lnTo>
                  <a:lnTo>
                    <a:pt x="20568" y="13193"/>
                  </a:lnTo>
                  <a:lnTo>
                    <a:pt x="16879" y="13193"/>
                  </a:lnTo>
                  <a:lnTo>
                    <a:pt x="13190" y="16880"/>
                  </a:lnTo>
                  <a:lnTo>
                    <a:pt x="13190" y="13193"/>
                  </a:lnTo>
                  <a:lnTo>
                    <a:pt x="13190" y="13193"/>
                  </a:lnTo>
                  <a:lnTo>
                    <a:pt x="16879" y="13193"/>
                  </a:lnTo>
                  <a:lnTo>
                    <a:pt x="16879" y="13193"/>
                  </a:lnTo>
                  <a:lnTo>
                    <a:pt x="13190" y="13193"/>
                  </a:lnTo>
                  <a:lnTo>
                    <a:pt x="16879" y="9498"/>
                  </a:lnTo>
                  <a:lnTo>
                    <a:pt x="16879" y="9498"/>
                  </a:lnTo>
                  <a:lnTo>
                    <a:pt x="13190" y="9498"/>
                  </a:lnTo>
                  <a:lnTo>
                    <a:pt x="13190" y="9498"/>
                  </a:lnTo>
                  <a:lnTo>
                    <a:pt x="9501" y="9498"/>
                  </a:lnTo>
                  <a:lnTo>
                    <a:pt x="9501" y="9498"/>
                  </a:lnTo>
                  <a:lnTo>
                    <a:pt x="9501" y="5812"/>
                  </a:lnTo>
                  <a:lnTo>
                    <a:pt x="9501" y="9498"/>
                  </a:lnTo>
                  <a:lnTo>
                    <a:pt x="5812" y="9498"/>
                  </a:lnTo>
                  <a:lnTo>
                    <a:pt x="5812" y="5812"/>
                  </a:lnTo>
                  <a:lnTo>
                    <a:pt x="13190" y="5812"/>
                  </a:lnTo>
                  <a:lnTo>
                    <a:pt x="16879" y="5812"/>
                  </a:lnTo>
                  <a:lnTo>
                    <a:pt x="16879" y="5812"/>
                  </a:lnTo>
                  <a:lnTo>
                    <a:pt x="20568" y="9498"/>
                  </a:lnTo>
                  <a:lnTo>
                    <a:pt x="20568" y="9498"/>
                  </a:lnTo>
                  <a:lnTo>
                    <a:pt x="24258" y="13193"/>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93" name="Freeform: Shape 92">
              <a:extLst>
                <a:ext uri="{FF2B5EF4-FFF2-40B4-BE49-F238E27FC236}">
                  <a16:creationId xmlns:a16="http://schemas.microsoft.com/office/drawing/2014/main" id="{A920D079-7158-473E-8603-32C5C2895F5F}"/>
                </a:ext>
              </a:extLst>
            </p:cNvPr>
            <p:cNvSpPr/>
            <p:nvPr/>
          </p:nvSpPr>
          <p:spPr>
            <a:xfrm>
              <a:off x="797564" y="5159176"/>
              <a:ext cx="722515" cy="276709"/>
            </a:xfrm>
            <a:custGeom>
              <a:avLst/>
              <a:gdLst>
                <a:gd name="connsiteX0" fmla="*/ 79595 w 447675"/>
                <a:gd name="connsiteY0" fmla="*/ 5812 h 171450"/>
                <a:gd name="connsiteX1" fmla="*/ 79595 w 447675"/>
                <a:gd name="connsiteY1" fmla="*/ 9498 h 171450"/>
                <a:gd name="connsiteX2" fmla="*/ 75906 w 447675"/>
                <a:gd name="connsiteY2" fmla="*/ 9498 h 171450"/>
                <a:gd name="connsiteX3" fmla="*/ 72217 w 447675"/>
                <a:gd name="connsiteY3" fmla="*/ 9498 h 171450"/>
                <a:gd name="connsiteX4" fmla="*/ 64839 w 447675"/>
                <a:gd name="connsiteY4" fmla="*/ 13194 h 171450"/>
                <a:gd name="connsiteX5" fmla="*/ 61149 w 447675"/>
                <a:gd name="connsiteY5" fmla="*/ 13194 h 171450"/>
                <a:gd name="connsiteX6" fmla="*/ 57460 w 447675"/>
                <a:gd name="connsiteY6" fmla="*/ 13194 h 171450"/>
                <a:gd name="connsiteX7" fmla="*/ 53771 w 447675"/>
                <a:gd name="connsiteY7" fmla="*/ 16880 h 171450"/>
                <a:gd name="connsiteX8" fmla="*/ 50082 w 447675"/>
                <a:gd name="connsiteY8" fmla="*/ 16880 h 171450"/>
                <a:gd name="connsiteX9" fmla="*/ 46393 w 447675"/>
                <a:gd name="connsiteY9" fmla="*/ 16880 h 171450"/>
                <a:gd name="connsiteX10" fmla="*/ 42703 w 447675"/>
                <a:gd name="connsiteY10" fmla="*/ 16880 h 171450"/>
                <a:gd name="connsiteX11" fmla="*/ 39014 w 447675"/>
                <a:gd name="connsiteY11" fmla="*/ 16880 h 171450"/>
                <a:gd name="connsiteX12" fmla="*/ 35325 w 447675"/>
                <a:gd name="connsiteY12" fmla="*/ 16880 h 171450"/>
                <a:gd name="connsiteX13" fmla="*/ 35325 w 447675"/>
                <a:gd name="connsiteY13" fmla="*/ 20575 h 171450"/>
                <a:gd name="connsiteX14" fmla="*/ 31636 w 447675"/>
                <a:gd name="connsiteY14" fmla="*/ 20575 h 171450"/>
                <a:gd name="connsiteX15" fmla="*/ 27947 w 447675"/>
                <a:gd name="connsiteY15" fmla="*/ 24262 h 171450"/>
                <a:gd name="connsiteX16" fmla="*/ 24258 w 447675"/>
                <a:gd name="connsiteY16" fmla="*/ 24262 h 171450"/>
                <a:gd name="connsiteX17" fmla="*/ 20568 w 447675"/>
                <a:gd name="connsiteY17" fmla="*/ 24262 h 171450"/>
                <a:gd name="connsiteX18" fmla="*/ 16879 w 447675"/>
                <a:gd name="connsiteY18" fmla="*/ 27957 h 171450"/>
                <a:gd name="connsiteX19" fmla="*/ 13190 w 447675"/>
                <a:gd name="connsiteY19" fmla="*/ 27957 h 171450"/>
                <a:gd name="connsiteX20" fmla="*/ 13190 w 447675"/>
                <a:gd name="connsiteY20" fmla="*/ 31643 h 171450"/>
                <a:gd name="connsiteX21" fmla="*/ 16879 w 447675"/>
                <a:gd name="connsiteY21" fmla="*/ 35339 h 171450"/>
                <a:gd name="connsiteX22" fmla="*/ 16879 w 447675"/>
                <a:gd name="connsiteY22" fmla="*/ 42711 h 171450"/>
                <a:gd name="connsiteX23" fmla="*/ 16879 w 447675"/>
                <a:gd name="connsiteY23" fmla="*/ 46407 h 171450"/>
                <a:gd name="connsiteX24" fmla="*/ 16879 w 447675"/>
                <a:gd name="connsiteY24" fmla="*/ 50093 h 171450"/>
                <a:gd name="connsiteX25" fmla="*/ 20568 w 447675"/>
                <a:gd name="connsiteY25" fmla="*/ 53789 h 171450"/>
                <a:gd name="connsiteX26" fmla="*/ 20568 w 447675"/>
                <a:gd name="connsiteY26" fmla="*/ 61171 h 171450"/>
                <a:gd name="connsiteX27" fmla="*/ 9501 w 447675"/>
                <a:gd name="connsiteY27" fmla="*/ 72239 h 171450"/>
                <a:gd name="connsiteX28" fmla="*/ 5812 w 447675"/>
                <a:gd name="connsiteY28" fmla="*/ 75935 h 171450"/>
                <a:gd name="connsiteX29" fmla="*/ 9501 w 447675"/>
                <a:gd name="connsiteY29" fmla="*/ 79621 h 171450"/>
                <a:gd name="connsiteX30" fmla="*/ 16879 w 447675"/>
                <a:gd name="connsiteY30" fmla="*/ 87003 h 171450"/>
                <a:gd name="connsiteX31" fmla="*/ 13190 w 447675"/>
                <a:gd name="connsiteY31" fmla="*/ 87003 h 171450"/>
                <a:gd name="connsiteX32" fmla="*/ 9501 w 447675"/>
                <a:gd name="connsiteY32" fmla="*/ 87003 h 171450"/>
                <a:gd name="connsiteX33" fmla="*/ 9501 w 447675"/>
                <a:gd name="connsiteY33" fmla="*/ 90689 h 171450"/>
                <a:gd name="connsiteX34" fmla="*/ 13190 w 447675"/>
                <a:gd name="connsiteY34" fmla="*/ 94385 h 171450"/>
                <a:gd name="connsiteX35" fmla="*/ 16879 w 447675"/>
                <a:gd name="connsiteY35" fmla="*/ 98071 h 171450"/>
                <a:gd name="connsiteX36" fmla="*/ 16879 w 447675"/>
                <a:gd name="connsiteY36" fmla="*/ 101766 h 171450"/>
                <a:gd name="connsiteX37" fmla="*/ 13190 w 447675"/>
                <a:gd name="connsiteY37" fmla="*/ 105453 h 171450"/>
                <a:gd name="connsiteX38" fmla="*/ 16879 w 447675"/>
                <a:gd name="connsiteY38" fmla="*/ 109148 h 171450"/>
                <a:gd name="connsiteX39" fmla="*/ 20568 w 447675"/>
                <a:gd name="connsiteY39" fmla="*/ 109148 h 171450"/>
                <a:gd name="connsiteX40" fmla="*/ 24258 w 447675"/>
                <a:gd name="connsiteY40" fmla="*/ 116530 h 171450"/>
                <a:gd name="connsiteX41" fmla="*/ 27947 w 447675"/>
                <a:gd name="connsiteY41" fmla="*/ 116530 h 171450"/>
                <a:gd name="connsiteX42" fmla="*/ 31636 w 447675"/>
                <a:gd name="connsiteY42" fmla="*/ 123912 h 171450"/>
                <a:gd name="connsiteX43" fmla="*/ 35325 w 447675"/>
                <a:gd name="connsiteY43" fmla="*/ 120216 h 171450"/>
                <a:gd name="connsiteX44" fmla="*/ 39014 w 447675"/>
                <a:gd name="connsiteY44" fmla="*/ 123912 h 171450"/>
                <a:gd name="connsiteX45" fmla="*/ 39014 w 447675"/>
                <a:gd name="connsiteY45" fmla="*/ 127598 h 171450"/>
                <a:gd name="connsiteX46" fmla="*/ 39014 w 447675"/>
                <a:gd name="connsiteY46" fmla="*/ 131294 h 171450"/>
                <a:gd name="connsiteX47" fmla="*/ 42703 w 447675"/>
                <a:gd name="connsiteY47" fmla="*/ 131294 h 171450"/>
                <a:gd name="connsiteX48" fmla="*/ 46393 w 447675"/>
                <a:gd name="connsiteY48" fmla="*/ 134980 h 171450"/>
                <a:gd name="connsiteX49" fmla="*/ 50082 w 447675"/>
                <a:gd name="connsiteY49" fmla="*/ 134980 h 171450"/>
                <a:gd name="connsiteX50" fmla="*/ 61149 w 447675"/>
                <a:gd name="connsiteY50" fmla="*/ 134980 h 171450"/>
                <a:gd name="connsiteX51" fmla="*/ 90663 w 447675"/>
                <a:gd name="connsiteY51" fmla="*/ 131294 h 171450"/>
                <a:gd name="connsiteX52" fmla="*/ 86974 w 447675"/>
                <a:gd name="connsiteY52" fmla="*/ 105453 h 171450"/>
                <a:gd name="connsiteX53" fmla="*/ 83284 w 447675"/>
                <a:gd name="connsiteY53" fmla="*/ 101766 h 171450"/>
                <a:gd name="connsiteX54" fmla="*/ 90663 w 447675"/>
                <a:gd name="connsiteY54" fmla="*/ 98071 h 171450"/>
                <a:gd name="connsiteX55" fmla="*/ 94352 w 447675"/>
                <a:gd name="connsiteY55" fmla="*/ 101766 h 171450"/>
                <a:gd name="connsiteX56" fmla="*/ 98042 w 447675"/>
                <a:gd name="connsiteY56" fmla="*/ 101766 h 171450"/>
                <a:gd name="connsiteX57" fmla="*/ 98042 w 447675"/>
                <a:gd name="connsiteY57" fmla="*/ 98071 h 171450"/>
                <a:gd name="connsiteX58" fmla="*/ 101731 w 447675"/>
                <a:gd name="connsiteY58" fmla="*/ 98071 h 171450"/>
                <a:gd name="connsiteX59" fmla="*/ 105420 w 447675"/>
                <a:gd name="connsiteY59" fmla="*/ 98071 h 171450"/>
                <a:gd name="connsiteX60" fmla="*/ 105420 w 447675"/>
                <a:gd name="connsiteY60" fmla="*/ 94385 h 171450"/>
                <a:gd name="connsiteX61" fmla="*/ 109109 w 447675"/>
                <a:gd name="connsiteY61" fmla="*/ 94385 h 171450"/>
                <a:gd name="connsiteX62" fmla="*/ 112798 w 447675"/>
                <a:gd name="connsiteY62" fmla="*/ 98071 h 171450"/>
                <a:gd name="connsiteX63" fmla="*/ 116487 w 447675"/>
                <a:gd name="connsiteY63" fmla="*/ 101766 h 171450"/>
                <a:gd name="connsiteX64" fmla="*/ 120177 w 447675"/>
                <a:gd name="connsiteY64" fmla="*/ 98071 h 171450"/>
                <a:gd name="connsiteX65" fmla="*/ 116487 w 447675"/>
                <a:gd name="connsiteY65" fmla="*/ 90689 h 171450"/>
                <a:gd name="connsiteX66" fmla="*/ 123866 w 447675"/>
                <a:gd name="connsiteY66" fmla="*/ 87003 h 171450"/>
                <a:gd name="connsiteX67" fmla="*/ 127555 w 447675"/>
                <a:gd name="connsiteY67" fmla="*/ 90689 h 171450"/>
                <a:gd name="connsiteX68" fmla="*/ 134933 w 447675"/>
                <a:gd name="connsiteY68" fmla="*/ 94385 h 171450"/>
                <a:gd name="connsiteX69" fmla="*/ 138622 w 447675"/>
                <a:gd name="connsiteY69" fmla="*/ 98071 h 171450"/>
                <a:gd name="connsiteX70" fmla="*/ 146001 w 447675"/>
                <a:gd name="connsiteY70" fmla="*/ 101766 h 171450"/>
                <a:gd name="connsiteX71" fmla="*/ 149690 w 447675"/>
                <a:gd name="connsiteY71" fmla="*/ 101766 h 171450"/>
                <a:gd name="connsiteX72" fmla="*/ 149690 w 447675"/>
                <a:gd name="connsiteY72" fmla="*/ 98071 h 171450"/>
                <a:gd name="connsiteX73" fmla="*/ 157068 w 447675"/>
                <a:gd name="connsiteY73" fmla="*/ 98071 h 171450"/>
                <a:gd name="connsiteX74" fmla="*/ 164446 w 447675"/>
                <a:gd name="connsiteY74" fmla="*/ 105453 h 171450"/>
                <a:gd name="connsiteX75" fmla="*/ 168136 w 447675"/>
                <a:gd name="connsiteY75" fmla="*/ 105453 h 171450"/>
                <a:gd name="connsiteX76" fmla="*/ 171825 w 447675"/>
                <a:gd name="connsiteY76" fmla="*/ 109148 h 171450"/>
                <a:gd name="connsiteX77" fmla="*/ 171825 w 447675"/>
                <a:gd name="connsiteY77" fmla="*/ 112835 h 171450"/>
                <a:gd name="connsiteX78" fmla="*/ 182892 w 447675"/>
                <a:gd name="connsiteY78" fmla="*/ 112835 h 171450"/>
                <a:gd name="connsiteX79" fmla="*/ 186581 w 447675"/>
                <a:gd name="connsiteY79" fmla="*/ 116530 h 171450"/>
                <a:gd name="connsiteX80" fmla="*/ 186581 w 447675"/>
                <a:gd name="connsiteY80" fmla="*/ 112835 h 171450"/>
                <a:gd name="connsiteX81" fmla="*/ 201338 w 447675"/>
                <a:gd name="connsiteY81" fmla="*/ 116530 h 171450"/>
                <a:gd name="connsiteX82" fmla="*/ 205027 w 447675"/>
                <a:gd name="connsiteY82" fmla="*/ 116530 h 171450"/>
                <a:gd name="connsiteX83" fmla="*/ 208716 w 447675"/>
                <a:gd name="connsiteY83" fmla="*/ 123912 h 171450"/>
                <a:gd name="connsiteX84" fmla="*/ 212406 w 447675"/>
                <a:gd name="connsiteY84" fmla="*/ 123912 h 171450"/>
                <a:gd name="connsiteX85" fmla="*/ 212406 w 447675"/>
                <a:gd name="connsiteY85" fmla="*/ 120216 h 171450"/>
                <a:gd name="connsiteX86" fmla="*/ 216095 w 447675"/>
                <a:gd name="connsiteY86" fmla="*/ 123912 h 171450"/>
                <a:gd name="connsiteX87" fmla="*/ 219784 w 447675"/>
                <a:gd name="connsiteY87" fmla="*/ 127598 h 171450"/>
                <a:gd name="connsiteX88" fmla="*/ 223473 w 447675"/>
                <a:gd name="connsiteY88" fmla="*/ 127598 h 171450"/>
                <a:gd name="connsiteX89" fmla="*/ 223473 w 447675"/>
                <a:gd name="connsiteY89" fmla="*/ 131294 h 171450"/>
                <a:gd name="connsiteX90" fmla="*/ 219784 w 447675"/>
                <a:gd name="connsiteY90" fmla="*/ 134980 h 171450"/>
                <a:gd name="connsiteX91" fmla="*/ 219784 w 447675"/>
                <a:gd name="connsiteY91" fmla="*/ 142362 h 171450"/>
                <a:gd name="connsiteX92" fmla="*/ 219784 w 447675"/>
                <a:gd name="connsiteY92" fmla="*/ 153430 h 171450"/>
                <a:gd name="connsiteX93" fmla="*/ 219784 w 447675"/>
                <a:gd name="connsiteY93" fmla="*/ 160812 h 171450"/>
                <a:gd name="connsiteX94" fmla="*/ 223473 w 447675"/>
                <a:gd name="connsiteY94" fmla="*/ 164508 h 171450"/>
                <a:gd name="connsiteX95" fmla="*/ 227162 w 447675"/>
                <a:gd name="connsiteY95" fmla="*/ 164508 h 171450"/>
                <a:gd name="connsiteX96" fmla="*/ 227162 w 447675"/>
                <a:gd name="connsiteY96" fmla="*/ 160812 h 171450"/>
                <a:gd name="connsiteX97" fmla="*/ 230852 w 447675"/>
                <a:gd name="connsiteY97" fmla="*/ 164508 h 171450"/>
                <a:gd name="connsiteX98" fmla="*/ 234541 w 447675"/>
                <a:gd name="connsiteY98" fmla="*/ 164508 h 171450"/>
                <a:gd name="connsiteX99" fmla="*/ 238231 w 447675"/>
                <a:gd name="connsiteY99" fmla="*/ 164508 h 171450"/>
                <a:gd name="connsiteX100" fmla="*/ 241920 w 447675"/>
                <a:gd name="connsiteY100" fmla="*/ 164508 h 171450"/>
                <a:gd name="connsiteX101" fmla="*/ 245609 w 447675"/>
                <a:gd name="connsiteY101" fmla="*/ 164508 h 171450"/>
                <a:gd name="connsiteX102" fmla="*/ 249298 w 447675"/>
                <a:gd name="connsiteY102" fmla="*/ 164508 h 171450"/>
                <a:gd name="connsiteX103" fmla="*/ 252987 w 447675"/>
                <a:gd name="connsiteY103" fmla="*/ 164508 h 171450"/>
                <a:gd name="connsiteX104" fmla="*/ 256676 w 447675"/>
                <a:gd name="connsiteY104" fmla="*/ 164508 h 171450"/>
                <a:gd name="connsiteX105" fmla="*/ 264055 w 447675"/>
                <a:gd name="connsiteY105" fmla="*/ 157126 h 171450"/>
                <a:gd name="connsiteX106" fmla="*/ 267744 w 447675"/>
                <a:gd name="connsiteY106" fmla="*/ 157126 h 171450"/>
                <a:gd name="connsiteX107" fmla="*/ 271433 w 447675"/>
                <a:gd name="connsiteY107" fmla="*/ 157126 h 171450"/>
                <a:gd name="connsiteX108" fmla="*/ 271433 w 447675"/>
                <a:gd name="connsiteY108" fmla="*/ 164508 h 171450"/>
                <a:gd name="connsiteX109" fmla="*/ 267744 w 447675"/>
                <a:gd name="connsiteY109" fmla="*/ 164508 h 171450"/>
                <a:gd name="connsiteX110" fmla="*/ 264055 w 447675"/>
                <a:gd name="connsiteY110" fmla="*/ 168194 h 171450"/>
                <a:gd name="connsiteX111" fmla="*/ 267744 w 447675"/>
                <a:gd name="connsiteY111" fmla="*/ 171890 h 171450"/>
                <a:gd name="connsiteX112" fmla="*/ 271433 w 447675"/>
                <a:gd name="connsiteY112" fmla="*/ 171890 h 171450"/>
                <a:gd name="connsiteX113" fmla="*/ 275122 w 447675"/>
                <a:gd name="connsiteY113" fmla="*/ 171890 h 171450"/>
                <a:gd name="connsiteX114" fmla="*/ 282501 w 447675"/>
                <a:gd name="connsiteY114" fmla="*/ 168194 h 171450"/>
                <a:gd name="connsiteX115" fmla="*/ 286190 w 447675"/>
                <a:gd name="connsiteY115" fmla="*/ 168194 h 171450"/>
                <a:gd name="connsiteX116" fmla="*/ 282501 w 447675"/>
                <a:gd name="connsiteY116" fmla="*/ 160812 h 171450"/>
                <a:gd name="connsiteX117" fmla="*/ 289879 w 447675"/>
                <a:gd name="connsiteY117" fmla="*/ 157126 h 171450"/>
                <a:gd name="connsiteX118" fmla="*/ 293568 w 447675"/>
                <a:gd name="connsiteY118" fmla="*/ 164508 h 171450"/>
                <a:gd name="connsiteX119" fmla="*/ 297257 w 447675"/>
                <a:gd name="connsiteY119" fmla="*/ 164508 h 171450"/>
                <a:gd name="connsiteX120" fmla="*/ 297257 w 447675"/>
                <a:gd name="connsiteY120" fmla="*/ 160812 h 171450"/>
                <a:gd name="connsiteX121" fmla="*/ 300946 w 447675"/>
                <a:gd name="connsiteY121" fmla="*/ 160812 h 171450"/>
                <a:gd name="connsiteX122" fmla="*/ 304635 w 447675"/>
                <a:gd name="connsiteY122" fmla="*/ 160812 h 171450"/>
                <a:gd name="connsiteX123" fmla="*/ 308325 w 447675"/>
                <a:gd name="connsiteY123" fmla="*/ 157126 h 171450"/>
                <a:gd name="connsiteX124" fmla="*/ 308325 w 447675"/>
                <a:gd name="connsiteY124" fmla="*/ 153430 h 171450"/>
                <a:gd name="connsiteX125" fmla="*/ 315703 w 447675"/>
                <a:gd name="connsiteY125" fmla="*/ 153430 h 171450"/>
                <a:gd name="connsiteX126" fmla="*/ 319392 w 447675"/>
                <a:gd name="connsiteY126" fmla="*/ 146048 h 171450"/>
                <a:gd name="connsiteX127" fmla="*/ 323081 w 447675"/>
                <a:gd name="connsiteY127" fmla="*/ 146048 h 171450"/>
                <a:gd name="connsiteX128" fmla="*/ 326770 w 447675"/>
                <a:gd name="connsiteY128" fmla="*/ 142362 h 171450"/>
                <a:gd name="connsiteX129" fmla="*/ 334149 w 447675"/>
                <a:gd name="connsiteY129" fmla="*/ 138666 h 171450"/>
                <a:gd name="connsiteX130" fmla="*/ 337838 w 447675"/>
                <a:gd name="connsiteY130" fmla="*/ 138666 h 171450"/>
                <a:gd name="connsiteX131" fmla="*/ 337838 w 447675"/>
                <a:gd name="connsiteY131" fmla="*/ 142362 h 171450"/>
                <a:gd name="connsiteX132" fmla="*/ 341527 w 447675"/>
                <a:gd name="connsiteY132" fmla="*/ 142362 h 171450"/>
                <a:gd name="connsiteX133" fmla="*/ 345216 w 447675"/>
                <a:gd name="connsiteY133" fmla="*/ 138666 h 171450"/>
                <a:gd name="connsiteX134" fmla="*/ 345216 w 447675"/>
                <a:gd name="connsiteY134" fmla="*/ 142362 h 171450"/>
                <a:gd name="connsiteX135" fmla="*/ 352595 w 447675"/>
                <a:gd name="connsiteY135" fmla="*/ 142362 h 171450"/>
                <a:gd name="connsiteX136" fmla="*/ 356284 w 447675"/>
                <a:gd name="connsiteY136" fmla="*/ 138666 h 171450"/>
                <a:gd name="connsiteX137" fmla="*/ 359973 w 447675"/>
                <a:gd name="connsiteY137" fmla="*/ 138666 h 171450"/>
                <a:gd name="connsiteX138" fmla="*/ 363662 w 447675"/>
                <a:gd name="connsiteY138" fmla="*/ 134980 h 171450"/>
                <a:gd name="connsiteX139" fmla="*/ 371040 w 447675"/>
                <a:gd name="connsiteY139" fmla="*/ 127598 h 171450"/>
                <a:gd name="connsiteX140" fmla="*/ 378419 w 447675"/>
                <a:gd name="connsiteY140" fmla="*/ 123912 h 171450"/>
                <a:gd name="connsiteX141" fmla="*/ 385798 w 447675"/>
                <a:gd name="connsiteY141" fmla="*/ 120216 h 171450"/>
                <a:gd name="connsiteX142" fmla="*/ 404244 w 447675"/>
                <a:gd name="connsiteY142" fmla="*/ 105453 h 171450"/>
                <a:gd name="connsiteX143" fmla="*/ 407933 w 447675"/>
                <a:gd name="connsiteY143" fmla="*/ 101766 h 171450"/>
                <a:gd name="connsiteX144" fmla="*/ 444825 w 447675"/>
                <a:gd name="connsiteY144" fmla="*/ 57475 h 171450"/>
                <a:gd name="connsiteX145" fmla="*/ 441135 w 447675"/>
                <a:gd name="connsiteY145" fmla="*/ 57475 h 171450"/>
                <a:gd name="connsiteX146" fmla="*/ 441135 w 447675"/>
                <a:gd name="connsiteY146" fmla="*/ 53789 h 171450"/>
                <a:gd name="connsiteX147" fmla="*/ 437446 w 447675"/>
                <a:gd name="connsiteY147" fmla="*/ 53789 h 171450"/>
                <a:gd name="connsiteX148" fmla="*/ 437446 w 447675"/>
                <a:gd name="connsiteY148" fmla="*/ 50093 h 171450"/>
                <a:gd name="connsiteX149" fmla="*/ 437446 w 447675"/>
                <a:gd name="connsiteY149" fmla="*/ 46407 h 171450"/>
                <a:gd name="connsiteX150" fmla="*/ 433757 w 447675"/>
                <a:gd name="connsiteY150" fmla="*/ 50093 h 171450"/>
                <a:gd name="connsiteX151" fmla="*/ 433757 w 447675"/>
                <a:gd name="connsiteY151" fmla="*/ 46407 h 171450"/>
                <a:gd name="connsiteX152" fmla="*/ 433757 w 447675"/>
                <a:gd name="connsiteY152" fmla="*/ 42711 h 171450"/>
                <a:gd name="connsiteX153" fmla="*/ 430068 w 447675"/>
                <a:gd name="connsiteY153" fmla="*/ 39025 h 171450"/>
                <a:gd name="connsiteX154" fmla="*/ 426379 w 447675"/>
                <a:gd name="connsiteY154" fmla="*/ 39025 h 171450"/>
                <a:gd name="connsiteX155" fmla="*/ 422690 w 447675"/>
                <a:gd name="connsiteY155" fmla="*/ 39025 h 171450"/>
                <a:gd name="connsiteX156" fmla="*/ 426379 w 447675"/>
                <a:gd name="connsiteY156" fmla="*/ 35339 h 171450"/>
                <a:gd name="connsiteX157" fmla="*/ 422690 w 447675"/>
                <a:gd name="connsiteY157" fmla="*/ 35339 h 171450"/>
                <a:gd name="connsiteX158" fmla="*/ 419000 w 447675"/>
                <a:gd name="connsiteY158" fmla="*/ 35339 h 171450"/>
                <a:gd name="connsiteX159" fmla="*/ 419000 w 447675"/>
                <a:gd name="connsiteY159" fmla="*/ 39025 h 171450"/>
                <a:gd name="connsiteX160" fmla="*/ 415311 w 447675"/>
                <a:gd name="connsiteY160" fmla="*/ 42711 h 171450"/>
                <a:gd name="connsiteX161" fmla="*/ 415311 w 447675"/>
                <a:gd name="connsiteY161" fmla="*/ 46407 h 171450"/>
                <a:gd name="connsiteX162" fmla="*/ 419000 w 447675"/>
                <a:gd name="connsiteY162" fmla="*/ 50093 h 171450"/>
                <a:gd name="connsiteX163" fmla="*/ 422690 w 447675"/>
                <a:gd name="connsiteY163" fmla="*/ 50093 h 171450"/>
                <a:gd name="connsiteX164" fmla="*/ 422690 w 447675"/>
                <a:gd name="connsiteY164" fmla="*/ 53789 h 171450"/>
                <a:gd name="connsiteX165" fmla="*/ 422690 w 447675"/>
                <a:gd name="connsiteY165" fmla="*/ 57475 h 171450"/>
                <a:gd name="connsiteX166" fmla="*/ 419000 w 447675"/>
                <a:gd name="connsiteY166" fmla="*/ 53789 h 171450"/>
                <a:gd name="connsiteX167" fmla="*/ 415311 w 447675"/>
                <a:gd name="connsiteY167" fmla="*/ 57475 h 171450"/>
                <a:gd name="connsiteX168" fmla="*/ 419000 w 447675"/>
                <a:gd name="connsiteY168" fmla="*/ 57475 h 171450"/>
                <a:gd name="connsiteX169" fmla="*/ 415311 w 447675"/>
                <a:gd name="connsiteY169" fmla="*/ 61171 h 171450"/>
                <a:gd name="connsiteX170" fmla="*/ 419000 w 447675"/>
                <a:gd name="connsiteY170" fmla="*/ 61171 h 171450"/>
                <a:gd name="connsiteX171" fmla="*/ 419000 w 447675"/>
                <a:gd name="connsiteY171" fmla="*/ 64857 h 171450"/>
                <a:gd name="connsiteX172" fmla="*/ 415311 w 447675"/>
                <a:gd name="connsiteY172" fmla="*/ 61171 h 171450"/>
                <a:gd name="connsiteX173" fmla="*/ 407933 w 447675"/>
                <a:gd name="connsiteY173" fmla="*/ 61171 h 171450"/>
                <a:gd name="connsiteX174" fmla="*/ 411622 w 447675"/>
                <a:gd name="connsiteY174" fmla="*/ 64857 h 171450"/>
                <a:gd name="connsiteX175" fmla="*/ 411622 w 447675"/>
                <a:gd name="connsiteY175" fmla="*/ 68553 h 171450"/>
                <a:gd name="connsiteX176" fmla="*/ 407933 w 447675"/>
                <a:gd name="connsiteY176" fmla="*/ 61171 h 171450"/>
                <a:gd name="connsiteX177" fmla="*/ 404244 w 447675"/>
                <a:gd name="connsiteY177" fmla="*/ 57475 h 171450"/>
                <a:gd name="connsiteX178" fmla="*/ 400555 w 447675"/>
                <a:gd name="connsiteY178" fmla="*/ 57475 h 171450"/>
                <a:gd name="connsiteX179" fmla="*/ 404244 w 447675"/>
                <a:gd name="connsiteY179" fmla="*/ 61171 h 171450"/>
                <a:gd name="connsiteX180" fmla="*/ 407933 w 447675"/>
                <a:gd name="connsiteY180" fmla="*/ 64857 h 171450"/>
                <a:gd name="connsiteX181" fmla="*/ 404244 w 447675"/>
                <a:gd name="connsiteY181" fmla="*/ 64857 h 171450"/>
                <a:gd name="connsiteX182" fmla="*/ 404244 w 447675"/>
                <a:gd name="connsiteY182" fmla="*/ 61171 h 171450"/>
                <a:gd name="connsiteX183" fmla="*/ 400555 w 447675"/>
                <a:gd name="connsiteY183" fmla="*/ 61171 h 171450"/>
                <a:gd name="connsiteX184" fmla="*/ 396865 w 447675"/>
                <a:gd name="connsiteY184" fmla="*/ 61171 h 171450"/>
                <a:gd name="connsiteX185" fmla="*/ 393176 w 447675"/>
                <a:gd name="connsiteY185" fmla="*/ 61171 h 171450"/>
                <a:gd name="connsiteX186" fmla="*/ 393176 w 447675"/>
                <a:gd name="connsiteY186" fmla="*/ 64857 h 171450"/>
                <a:gd name="connsiteX187" fmla="*/ 396865 w 447675"/>
                <a:gd name="connsiteY187" fmla="*/ 64857 h 171450"/>
                <a:gd name="connsiteX188" fmla="*/ 396865 w 447675"/>
                <a:gd name="connsiteY188" fmla="*/ 68553 h 171450"/>
                <a:gd name="connsiteX189" fmla="*/ 393176 w 447675"/>
                <a:gd name="connsiteY189" fmla="*/ 68553 h 171450"/>
                <a:gd name="connsiteX190" fmla="*/ 385798 w 447675"/>
                <a:gd name="connsiteY190" fmla="*/ 53789 h 171450"/>
                <a:gd name="connsiteX191" fmla="*/ 382109 w 447675"/>
                <a:gd name="connsiteY191" fmla="*/ 53789 h 171450"/>
                <a:gd name="connsiteX192" fmla="*/ 371040 w 447675"/>
                <a:gd name="connsiteY192" fmla="*/ 46407 h 171450"/>
                <a:gd name="connsiteX193" fmla="*/ 371040 w 447675"/>
                <a:gd name="connsiteY193" fmla="*/ 42711 h 171450"/>
                <a:gd name="connsiteX194" fmla="*/ 367351 w 447675"/>
                <a:gd name="connsiteY194" fmla="*/ 42711 h 171450"/>
                <a:gd name="connsiteX195" fmla="*/ 367351 w 447675"/>
                <a:gd name="connsiteY195" fmla="*/ 46407 h 171450"/>
                <a:gd name="connsiteX196" fmla="*/ 352595 w 447675"/>
                <a:gd name="connsiteY196" fmla="*/ 42711 h 171450"/>
                <a:gd name="connsiteX197" fmla="*/ 348905 w 447675"/>
                <a:gd name="connsiteY197" fmla="*/ 39025 h 171450"/>
                <a:gd name="connsiteX198" fmla="*/ 348905 w 447675"/>
                <a:gd name="connsiteY198" fmla="*/ 35339 h 171450"/>
                <a:gd name="connsiteX199" fmla="*/ 345216 w 447675"/>
                <a:gd name="connsiteY199" fmla="*/ 31643 h 171450"/>
                <a:gd name="connsiteX200" fmla="*/ 345216 w 447675"/>
                <a:gd name="connsiteY200" fmla="*/ 27957 h 171450"/>
                <a:gd name="connsiteX201" fmla="*/ 341527 w 447675"/>
                <a:gd name="connsiteY201" fmla="*/ 24262 h 171450"/>
                <a:gd name="connsiteX202" fmla="*/ 345216 w 447675"/>
                <a:gd name="connsiteY202" fmla="*/ 20575 h 171450"/>
                <a:gd name="connsiteX203" fmla="*/ 341527 w 447675"/>
                <a:gd name="connsiteY203" fmla="*/ 20575 h 171450"/>
                <a:gd name="connsiteX204" fmla="*/ 337838 w 447675"/>
                <a:gd name="connsiteY204" fmla="*/ 16880 h 171450"/>
                <a:gd name="connsiteX205" fmla="*/ 337838 w 447675"/>
                <a:gd name="connsiteY205" fmla="*/ 13194 h 171450"/>
                <a:gd name="connsiteX206" fmla="*/ 330460 w 447675"/>
                <a:gd name="connsiteY206" fmla="*/ 13194 h 171450"/>
                <a:gd name="connsiteX207" fmla="*/ 326770 w 447675"/>
                <a:gd name="connsiteY207" fmla="*/ 13194 h 171450"/>
                <a:gd name="connsiteX208" fmla="*/ 323081 w 447675"/>
                <a:gd name="connsiteY208" fmla="*/ 9498 h 171450"/>
                <a:gd name="connsiteX209" fmla="*/ 315703 w 447675"/>
                <a:gd name="connsiteY209" fmla="*/ 9498 h 171450"/>
                <a:gd name="connsiteX210" fmla="*/ 312014 w 447675"/>
                <a:gd name="connsiteY210" fmla="*/ 16880 h 171450"/>
                <a:gd name="connsiteX211" fmla="*/ 312014 w 447675"/>
                <a:gd name="connsiteY211" fmla="*/ 20575 h 171450"/>
                <a:gd name="connsiteX212" fmla="*/ 308325 w 447675"/>
                <a:gd name="connsiteY212" fmla="*/ 20575 h 171450"/>
                <a:gd name="connsiteX213" fmla="*/ 308325 w 447675"/>
                <a:gd name="connsiteY213" fmla="*/ 27957 h 171450"/>
                <a:gd name="connsiteX214" fmla="*/ 308325 w 447675"/>
                <a:gd name="connsiteY214" fmla="*/ 31643 h 171450"/>
                <a:gd name="connsiteX215" fmla="*/ 308325 w 447675"/>
                <a:gd name="connsiteY215" fmla="*/ 35339 h 171450"/>
                <a:gd name="connsiteX216" fmla="*/ 308325 w 447675"/>
                <a:gd name="connsiteY216" fmla="*/ 39025 h 171450"/>
                <a:gd name="connsiteX217" fmla="*/ 304635 w 447675"/>
                <a:gd name="connsiteY217" fmla="*/ 42711 h 171450"/>
                <a:gd name="connsiteX218" fmla="*/ 297257 w 447675"/>
                <a:gd name="connsiteY218" fmla="*/ 42711 h 171450"/>
                <a:gd name="connsiteX219" fmla="*/ 286190 w 447675"/>
                <a:gd name="connsiteY219" fmla="*/ 46407 h 171450"/>
                <a:gd name="connsiteX220" fmla="*/ 278811 w 447675"/>
                <a:gd name="connsiteY220" fmla="*/ 50093 h 171450"/>
                <a:gd name="connsiteX221" fmla="*/ 275122 w 447675"/>
                <a:gd name="connsiteY221" fmla="*/ 53789 h 171450"/>
                <a:gd name="connsiteX222" fmla="*/ 271433 w 447675"/>
                <a:gd name="connsiteY222" fmla="*/ 53789 h 171450"/>
                <a:gd name="connsiteX223" fmla="*/ 271433 w 447675"/>
                <a:gd name="connsiteY223" fmla="*/ 57475 h 171450"/>
                <a:gd name="connsiteX224" fmla="*/ 264055 w 447675"/>
                <a:gd name="connsiteY224" fmla="*/ 57475 h 171450"/>
                <a:gd name="connsiteX225" fmla="*/ 264055 w 447675"/>
                <a:gd name="connsiteY225" fmla="*/ 61171 h 171450"/>
                <a:gd name="connsiteX226" fmla="*/ 260366 w 447675"/>
                <a:gd name="connsiteY226" fmla="*/ 64857 h 171450"/>
                <a:gd name="connsiteX227" fmla="*/ 256676 w 447675"/>
                <a:gd name="connsiteY227" fmla="*/ 64857 h 171450"/>
                <a:gd name="connsiteX228" fmla="*/ 249298 w 447675"/>
                <a:gd name="connsiteY228" fmla="*/ 64857 h 171450"/>
                <a:gd name="connsiteX229" fmla="*/ 245609 w 447675"/>
                <a:gd name="connsiteY229" fmla="*/ 64857 h 171450"/>
                <a:gd name="connsiteX230" fmla="*/ 241920 w 447675"/>
                <a:gd name="connsiteY230" fmla="*/ 61171 h 171450"/>
                <a:gd name="connsiteX231" fmla="*/ 238231 w 447675"/>
                <a:gd name="connsiteY231" fmla="*/ 61171 h 171450"/>
                <a:gd name="connsiteX232" fmla="*/ 238231 w 447675"/>
                <a:gd name="connsiteY232" fmla="*/ 64857 h 171450"/>
                <a:gd name="connsiteX233" fmla="*/ 234541 w 447675"/>
                <a:gd name="connsiteY233" fmla="*/ 61171 h 171450"/>
                <a:gd name="connsiteX234" fmla="*/ 234541 w 447675"/>
                <a:gd name="connsiteY234" fmla="*/ 64857 h 171450"/>
                <a:gd name="connsiteX235" fmla="*/ 234541 w 447675"/>
                <a:gd name="connsiteY235" fmla="*/ 68553 h 171450"/>
                <a:gd name="connsiteX236" fmla="*/ 230852 w 447675"/>
                <a:gd name="connsiteY236" fmla="*/ 61171 h 171450"/>
                <a:gd name="connsiteX237" fmla="*/ 230852 w 447675"/>
                <a:gd name="connsiteY237" fmla="*/ 57475 h 171450"/>
                <a:gd name="connsiteX238" fmla="*/ 227162 w 447675"/>
                <a:gd name="connsiteY238" fmla="*/ 57475 h 171450"/>
                <a:gd name="connsiteX239" fmla="*/ 223473 w 447675"/>
                <a:gd name="connsiteY239" fmla="*/ 57475 h 171450"/>
                <a:gd name="connsiteX240" fmla="*/ 223473 w 447675"/>
                <a:gd name="connsiteY240" fmla="*/ 53789 h 171450"/>
                <a:gd name="connsiteX241" fmla="*/ 212406 w 447675"/>
                <a:gd name="connsiteY241" fmla="*/ 53789 h 171450"/>
                <a:gd name="connsiteX242" fmla="*/ 212406 w 447675"/>
                <a:gd name="connsiteY242" fmla="*/ 64857 h 171450"/>
                <a:gd name="connsiteX243" fmla="*/ 205027 w 447675"/>
                <a:gd name="connsiteY243" fmla="*/ 61171 h 171450"/>
                <a:gd name="connsiteX244" fmla="*/ 205027 w 447675"/>
                <a:gd name="connsiteY244" fmla="*/ 57475 h 171450"/>
                <a:gd name="connsiteX245" fmla="*/ 208716 w 447675"/>
                <a:gd name="connsiteY245" fmla="*/ 53789 h 171450"/>
                <a:gd name="connsiteX246" fmla="*/ 205027 w 447675"/>
                <a:gd name="connsiteY246" fmla="*/ 53789 h 171450"/>
                <a:gd name="connsiteX247" fmla="*/ 197649 w 447675"/>
                <a:gd name="connsiteY247" fmla="*/ 53789 h 171450"/>
                <a:gd name="connsiteX248" fmla="*/ 193960 w 447675"/>
                <a:gd name="connsiteY248" fmla="*/ 53789 h 171450"/>
                <a:gd name="connsiteX249" fmla="*/ 190271 w 447675"/>
                <a:gd name="connsiteY249" fmla="*/ 53789 h 171450"/>
                <a:gd name="connsiteX250" fmla="*/ 186581 w 447675"/>
                <a:gd name="connsiteY250" fmla="*/ 53789 h 171450"/>
                <a:gd name="connsiteX251" fmla="*/ 186581 w 447675"/>
                <a:gd name="connsiteY251" fmla="*/ 50093 h 171450"/>
                <a:gd name="connsiteX252" fmla="*/ 182892 w 447675"/>
                <a:gd name="connsiteY252" fmla="*/ 46407 h 171450"/>
                <a:gd name="connsiteX253" fmla="*/ 179203 w 447675"/>
                <a:gd name="connsiteY253" fmla="*/ 42711 h 171450"/>
                <a:gd name="connsiteX254" fmla="*/ 175514 w 447675"/>
                <a:gd name="connsiteY254" fmla="*/ 42711 h 171450"/>
                <a:gd name="connsiteX255" fmla="*/ 175514 w 447675"/>
                <a:gd name="connsiteY255" fmla="*/ 39025 h 171450"/>
                <a:gd name="connsiteX256" fmla="*/ 171825 w 447675"/>
                <a:gd name="connsiteY256" fmla="*/ 35339 h 171450"/>
                <a:gd name="connsiteX257" fmla="*/ 160757 w 447675"/>
                <a:gd name="connsiteY257" fmla="*/ 35339 h 171450"/>
                <a:gd name="connsiteX258" fmla="*/ 153379 w 447675"/>
                <a:gd name="connsiteY258" fmla="*/ 31643 h 171450"/>
                <a:gd name="connsiteX259" fmla="*/ 149690 w 447675"/>
                <a:gd name="connsiteY259" fmla="*/ 31643 h 171450"/>
                <a:gd name="connsiteX260" fmla="*/ 138622 w 447675"/>
                <a:gd name="connsiteY260" fmla="*/ 27957 h 171450"/>
                <a:gd name="connsiteX261" fmla="*/ 134933 w 447675"/>
                <a:gd name="connsiteY261" fmla="*/ 27957 h 171450"/>
                <a:gd name="connsiteX262" fmla="*/ 134933 w 447675"/>
                <a:gd name="connsiteY262" fmla="*/ 24262 h 171450"/>
                <a:gd name="connsiteX263" fmla="*/ 131244 w 447675"/>
                <a:gd name="connsiteY263" fmla="*/ 24262 h 171450"/>
                <a:gd name="connsiteX264" fmla="*/ 123866 w 447675"/>
                <a:gd name="connsiteY264" fmla="*/ 20575 h 171450"/>
                <a:gd name="connsiteX265" fmla="*/ 120177 w 447675"/>
                <a:gd name="connsiteY265" fmla="*/ 20575 h 171450"/>
                <a:gd name="connsiteX266" fmla="*/ 116487 w 447675"/>
                <a:gd name="connsiteY266" fmla="*/ 16880 h 171450"/>
                <a:gd name="connsiteX267" fmla="*/ 112798 w 447675"/>
                <a:gd name="connsiteY267" fmla="*/ 13194 h 171450"/>
                <a:gd name="connsiteX268" fmla="*/ 109109 w 447675"/>
                <a:gd name="connsiteY268" fmla="*/ 13194 h 171450"/>
                <a:gd name="connsiteX269" fmla="*/ 105420 w 447675"/>
                <a:gd name="connsiteY269" fmla="*/ 9498 h 171450"/>
                <a:gd name="connsiteX270" fmla="*/ 101731 w 447675"/>
                <a:gd name="connsiteY270" fmla="*/ 9498 h 171450"/>
                <a:gd name="connsiteX271" fmla="*/ 101731 w 447675"/>
                <a:gd name="connsiteY271" fmla="*/ 5812 h 171450"/>
                <a:gd name="connsiteX272" fmla="*/ 90663 w 447675"/>
                <a:gd name="connsiteY272" fmla="*/ 5812 h 171450"/>
                <a:gd name="connsiteX273" fmla="*/ 86974 w 447675"/>
                <a:gd name="connsiteY273" fmla="*/ 5812 h 171450"/>
                <a:gd name="connsiteX274" fmla="*/ 79595 w 447675"/>
                <a:gd name="connsiteY274" fmla="*/ 5812 h 171450"/>
                <a:gd name="connsiteX275" fmla="*/ 415311 w 447675"/>
                <a:gd name="connsiteY275" fmla="*/ 57475 h 171450"/>
                <a:gd name="connsiteX276" fmla="*/ 411622 w 447675"/>
                <a:gd name="connsiteY276" fmla="*/ 53789 h 171450"/>
                <a:gd name="connsiteX277" fmla="*/ 407933 w 447675"/>
                <a:gd name="connsiteY277" fmla="*/ 57475 h 171450"/>
                <a:gd name="connsiteX278" fmla="*/ 415311 w 447675"/>
                <a:gd name="connsiteY278" fmla="*/ 57475 h 171450"/>
                <a:gd name="connsiteX279" fmla="*/ 411622 w 447675"/>
                <a:gd name="connsiteY279" fmla="*/ 53789 h 171450"/>
                <a:gd name="connsiteX280" fmla="*/ 415311 w 447675"/>
                <a:gd name="connsiteY280" fmla="*/ 53789 h 171450"/>
                <a:gd name="connsiteX281" fmla="*/ 419000 w 447675"/>
                <a:gd name="connsiteY281" fmla="*/ 53789 h 171450"/>
                <a:gd name="connsiteX282" fmla="*/ 422690 w 447675"/>
                <a:gd name="connsiteY282" fmla="*/ 53789 h 171450"/>
                <a:gd name="connsiteX283" fmla="*/ 419000 w 447675"/>
                <a:gd name="connsiteY283" fmla="*/ 50093 h 171450"/>
                <a:gd name="connsiteX284" fmla="*/ 415311 w 447675"/>
                <a:gd name="connsiteY284" fmla="*/ 50093 h 171450"/>
                <a:gd name="connsiteX285" fmla="*/ 411622 w 447675"/>
                <a:gd name="connsiteY285" fmla="*/ 50093 h 171450"/>
                <a:gd name="connsiteX286" fmla="*/ 411622 w 447675"/>
                <a:gd name="connsiteY286" fmla="*/ 53789 h 171450"/>
                <a:gd name="connsiteX287" fmla="*/ 419000 w 447675"/>
                <a:gd name="connsiteY287" fmla="*/ 42711 h 171450"/>
                <a:gd name="connsiteX288" fmla="*/ 422690 w 447675"/>
                <a:gd name="connsiteY288" fmla="*/ 46407 h 171450"/>
                <a:gd name="connsiteX289" fmla="*/ 419000 w 447675"/>
                <a:gd name="connsiteY289" fmla="*/ 46407 h 171450"/>
                <a:gd name="connsiteX290" fmla="*/ 419000 w 447675"/>
                <a:gd name="connsiteY290" fmla="*/ 42711 h 171450"/>
                <a:gd name="connsiteX291" fmla="*/ 426379 w 447675"/>
                <a:gd name="connsiteY291" fmla="*/ 42711 h 171450"/>
                <a:gd name="connsiteX292" fmla="*/ 430068 w 447675"/>
                <a:gd name="connsiteY292" fmla="*/ 42711 h 171450"/>
                <a:gd name="connsiteX293" fmla="*/ 426379 w 447675"/>
                <a:gd name="connsiteY293" fmla="*/ 46407 h 171450"/>
                <a:gd name="connsiteX294" fmla="*/ 426379 w 447675"/>
                <a:gd name="connsiteY294" fmla="*/ 42711 h 171450"/>
                <a:gd name="connsiteX295" fmla="*/ 400555 w 447675"/>
                <a:gd name="connsiteY295" fmla="*/ 68553 h 171450"/>
                <a:gd name="connsiteX296" fmla="*/ 404244 w 447675"/>
                <a:gd name="connsiteY296" fmla="*/ 68553 h 171450"/>
                <a:gd name="connsiteX297" fmla="*/ 404244 w 447675"/>
                <a:gd name="connsiteY297" fmla="*/ 72239 h 171450"/>
                <a:gd name="connsiteX298" fmla="*/ 400555 w 447675"/>
                <a:gd name="connsiteY298" fmla="*/ 72239 h 171450"/>
                <a:gd name="connsiteX299" fmla="*/ 400555 w 447675"/>
                <a:gd name="connsiteY299" fmla="*/ 6855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Lst>
              <a:rect l="l" t="t" r="r" b="b"/>
              <a:pathLst>
                <a:path w="447675" h="171450">
                  <a:moveTo>
                    <a:pt x="79595" y="5812"/>
                  </a:moveTo>
                  <a:lnTo>
                    <a:pt x="79595" y="9498"/>
                  </a:lnTo>
                  <a:lnTo>
                    <a:pt x="75906" y="9498"/>
                  </a:lnTo>
                  <a:lnTo>
                    <a:pt x="72217" y="9498"/>
                  </a:lnTo>
                  <a:lnTo>
                    <a:pt x="64839" y="13194"/>
                  </a:lnTo>
                  <a:lnTo>
                    <a:pt x="61149" y="13194"/>
                  </a:lnTo>
                  <a:lnTo>
                    <a:pt x="57460" y="13194"/>
                  </a:lnTo>
                  <a:lnTo>
                    <a:pt x="53771" y="16880"/>
                  </a:lnTo>
                  <a:lnTo>
                    <a:pt x="50082" y="16880"/>
                  </a:lnTo>
                  <a:lnTo>
                    <a:pt x="46393" y="16880"/>
                  </a:lnTo>
                  <a:lnTo>
                    <a:pt x="42703" y="16880"/>
                  </a:lnTo>
                  <a:lnTo>
                    <a:pt x="39014" y="16880"/>
                  </a:lnTo>
                  <a:lnTo>
                    <a:pt x="35325" y="16880"/>
                  </a:lnTo>
                  <a:lnTo>
                    <a:pt x="35325" y="20575"/>
                  </a:lnTo>
                  <a:lnTo>
                    <a:pt x="31636" y="20575"/>
                  </a:lnTo>
                  <a:lnTo>
                    <a:pt x="27947" y="24262"/>
                  </a:lnTo>
                  <a:lnTo>
                    <a:pt x="24258" y="24262"/>
                  </a:lnTo>
                  <a:lnTo>
                    <a:pt x="20568" y="24262"/>
                  </a:lnTo>
                  <a:lnTo>
                    <a:pt x="16879" y="27957"/>
                  </a:lnTo>
                  <a:lnTo>
                    <a:pt x="13190" y="27957"/>
                  </a:lnTo>
                  <a:lnTo>
                    <a:pt x="13190" y="31643"/>
                  </a:lnTo>
                  <a:lnTo>
                    <a:pt x="16879" y="35339"/>
                  </a:lnTo>
                  <a:lnTo>
                    <a:pt x="16879" y="42711"/>
                  </a:lnTo>
                  <a:lnTo>
                    <a:pt x="16879" y="46407"/>
                  </a:lnTo>
                  <a:lnTo>
                    <a:pt x="16879" y="50093"/>
                  </a:lnTo>
                  <a:lnTo>
                    <a:pt x="20568" y="53789"/>
                  </a:lnTo>
                  <a:lnTo>
                    <a:pt x="20568" y="61171"/>
                  </a:lnTo>
                  <a:lnTo>
                    <a:pt x="9501" y="72239"/>
                  </a:lnTo>
                  <a:lnTo>
                    <a:pt x="5812" y="75935"/>
                  </a:lnTo>
                  <a:lnTo>
                    <a:pt x="9501" y="79621"/>
                  </a:lnTo>
                  <a:lnTo>
                    <a:pt x="16879" y="87003"/>
                  </a:lnTo>
                  <a:lnTo>
                    <a:pt x="13190" y="87003"/>
                  </a:lnTo>
                  <a:lnTo>
                    <a:pt x="9501" y="87003"/>
                  </a:lnTo>
                  <a:lnTo>
                    <a:pt x="9501" y="90689"/>
                  </a:lnTo>
                  <a:lnTo>
                    <a:pt x="13190" y="94385"/>
                  </a:lnTo>
                  <a:lnTo>
                    <a:pt x="16879" y="98071"/>
                  </a:lnTo>
                  <a:lnTo>
                    <a:pt x="16879" y="101766"/>
                  </a:lnTo>
                  <a:lnTo>
                    <a:pt x="13190" y="105453"/>
                  </a:lnTo>
                  <a:lnTo>
                    <a:pt x="16879" y="109148"/>
                  </a:lnTo>
                  <a:lnTo>
                    <a:pt x="20568" y="109148"/>
                  </a:lnTo>
                  <a:lnTo>
                    <a:pt x="24258" y="116530"/>
                  </a:lnTo>
                  <a:lnTo>
                    <a:pt x="27947" y="116530"/>
                  </a:lnTo>
                  <a:lnTo>
                    <a:pt x="31636" y="123912"/>
                  </a:lnTo>
                  <a:lnTo>
                    <a:pt x="35325" y="120216"/>
                  </a:lnTo>
                  <a:lnTo>
                    <a:pt x="39014" y="123912"/>
                  </a:lnTo>
                  <a:lnTo>
                    <a:pt x="39014" y="127598"/>
                  </a:lnTo>
                  <a:lnTo>
                    <a:pt x="39014" y="131294"/>
                  </a:lnTo>
                  <a:lnTo>
                    <a:pt x="42703" y="131294"/>
                  </a:lnTo>
                  <a:lnTo>
                    <a:pt x="46393" y="134980"/>
                  </a:lnTo>
                  <a:lnTo>
                    <a:pt x="50082" y="134980"/>
                  </a:lnTo>
                  <a:lnTo>
                    <a:pt x="61149" y="134980"/>
                  </a:lnTo>
                  <a:lnTo>
                    <a:pt x="90663" y="131294"/>
                  </a:lnTo>
                  <a:lnTo>
                    <a:pt x="86974" y="105453"/>
                  </a:lnTo>
                  <a:lnTo>
                    <a:pt x="83284" y="101766"/>
                  </a:lnTo>
                  <a:lnTo>
                    <a:pt x="90663" y="98071"/>
                  </a:lnTo>
                  <a:lnTo>
                    <a:pt x="94352" y="101766"/>
                  </a:lnTo>
                  <a:lnTo>
                    <a:pt x="98042" y="101766"/>
                  </a:lnTo>
                  <a:lnTo>
                    <a:pt x="98042" y="98071"/>
                  </a:lnTo>
                  <a:lnTo>
                    <a:pt x="101731" y="98071"/>
                  </a:lnTo>
                  <a:lnTo>
                    <a:pt x="105420" y="98071"/>
                  </a:lnTo>
                  <a:lnTo>
                    <a:pt x="105420" y="94385"/>
                  </a:lnTo>
                  <a:lnTo>
                    <a:pt x="109109" y="94385"/>
                  </a:lnTo>
                  <a:lnTo>
                    <a:pt x="112798" y="98071"/>
                  </a:lnTo>
                  <a:lnTo>
                    <a:pt x="116487" y="101766"/>
                  </a:lnTo>
                  <a:lnTo>
                    <a:pt x="120177" y="98071"/>
                  </a:lnTo>
                  <a:lnTo>
                    <a:pt x="116487" y="90689"/>
                  </a:lnTo>
                  <a:lnTo>
                    <a:pt x="123866" y="87003"/>
                  </a:lnTo>
                  <a:lnTo>
                    <a:pt x="127555" y="90689"/>
                  </a:lnTo>
                  <a:lnTo>
                    <a:pt x="134933" y="94385"/>
                  </a:lnTo>
                  <a:lnTo>
                    <a:pt x="138622" y="98071"/>
                  </a:lnTo>
                  <a:lnTo>
                    <a:pt x="146001" y="101766"/>
                  </a:lnTo>
                  <a:lnTo>
                    <a:pt x="149690" y="101766"/>
                  </a:lnTo>
                  <a:lnTo>
                    <a:pt x="149690" y="98071"/>
                  </a:lnTo>
                  <a:lnTo>
                    <a:pt x="157068" y="98071"/>
                  </a:lnTo>
                  <a:lnTo>
                    <a:pt x="164446" y="105453"/>
                  </a:lnTo>
                  <a:lnTo>
                    <a:pt x="168136" y="105453"/>
                  </a:lnTo>
                  <a:lnTo>
                    <a:pt x="171825" y="109148"/>
                  </a:lnTo>
                  <a:lnTo>
                    <a:pt x="171825" y="112835"/>
                  </a:lnTo>
                  <a:lnTo>
                    <a:pt x="182892" y="112835"/>
                  </a:lnTo>
                  <a:lnTo>
                    <a:pt x="186581" y="116530"/>
                  </a:lnTo>
                  <a:lnTo>
                    <a:pt x="186581" y="112835"/>
                  </a:lnTo>
                  <a:lnTo>
                    <a:pt x="201338" y="116530"/>
                  </a:lnTo>
                  <a:lnTo>
                    <a:pt x="205027" y="116530"/>
                  </a:lnTo>
                  <a:lnTo>
                    <a:pt x="208716" y="123912"/>
                  </a:lnTo>
                  <a:lnTo>
                    <a:pt x="212406" y="123912"/>
                  </a:lnTo>
                  <a:lnTo>
                    <a:pt x="212406" y="120216"/>
                  </a:lnTo>
                  <a:lnTo>
                    <a:pt x="216095" y="123912"/>
                  </a:lnTo>
                  <a:lnTo>
                    <a:pt x="219784" y="127598"/>
                  </a:lnTo>
                  <a:lnTo>
                    <a:pt x="223473" y="127598"/>
                  </a:lnTo>
                  <a:lnTo>
                    <a:pt x="223473" y="131294"/>
                  </a:lnTo>
                  <a:lnTo>
                    <a:pt x="219784" y="134980"/>
                  </a:lnTo>
                  <a:lnTo>
                    <a:pt x="219784" y="142362"/>
                  </a:lnTo>
                  <a:lnTo>
                    <a:pt x="219784" y="153430"/>
                  </a:lnTo>
                  <a:lnTo>
                    <a:pt x="219784" y="160812"/>
                  </a:lnTo>
                  <a:lnTo>
                    <a:pt x="223473" y="164508"/>
                  </a:lnTo>
                  <a:lnTo>
                    <a:pt x="227162" y="164508"/>
                  </a:lnTo>
                  <a:lnTo>
                    <a:pt x="227162" y="160812"/>
                  </a:lnTo>
                  <a:lnTo>
                    <a:pt x="230852" y="164508"/>
                  </a:lnTo>
                  <a:lnTo>
                    <a:pt x="234541" y="164508"/>
                  </a:lnTo>
                  <a:lnTo>
                    <a:pt x="238231" y="164508"/>
                  </a:lnTo>
                  <a:lnTo>
                    <a:pt x="241920" y="164508"/>
                  </a:lnTo>
                  <a:lnTo>
                    <a:pt x="245609" y="164508"/>
                  </a:lnTo>
                  <a:lnTo>
                    <a:pt x="249298" y="164508"/>
                  </a:lnTo>
                  <a:lnTo>
                    <a:pt x="252987" y="164508"/>
                  </a:lnTo>
                  <a:lnTo>
                    <a:pt x="256676" y="164508"/>
                  </a:lnTo>
                  <a:lnTo>
                    <a:pt x="264055" y="157126"/>
                  </a:lnTo>
                  <a:lnTo>
                    <a:pt x="267744" y="157126"/>
                  </a:lnTo>
                  <a:lnTo>
                    <a:pt x="271433" y="157126"/>
                  </a:lnTo>
                  <a:lnTo>
                    <a:pt x="271433" y="164508"/>
                  </a:lnTo>
                  <a:lnTo>
                    <a:pt x="267744" y="164508"/>
                  </a:lnTo>
                  <a:lnTo>
                    <a:pt x="264055" y="168194"/>
                  </a:lnTo>
                  <a:lnTo>
                    <a:pt x="267744" y="171890"/>
                  </a:lnTo>
                  <a:lnTo>
                    <a:pt x="271433" y="171890"/>
                  </a:lnTo>
                  <a:lnTo>
                    <a:pt x="275122" y="171890"/>
                  </a:lnTo>
                  <a:lnTo>
                    <a:pt x="282501" y="168194"/>
                  </a:lnTo>
                  <a:lnTo>
                    <a:pt x="286190" y="168194"/>
                  </a:lnTo>
                  <a:lnTo>
                    <a:pt x="282501" y="160812"/>
                  </a:lnTo>
                  <a:lnTo>
                    <a:pt x="289879" y="157126"/>
                  </a:lnTo>
                  <a:lnTo>
                    <a:pt x="293568" y="164508"/>
                  </a:lnTo>
                  <a:lnTo>
                    <a:pt x="297257" y="164508"/>
                  </a:lnTo>
                  <a:lnTo>
                    <a:pt x="297257" y="160812"/>
                  </a:lnTo>
                  <a:lnTo>
                    <a:pt x="300946" y="160812"/>
                  </a:lnTo>
                  <a:lnTo>
                    <a:pt x="304635" y="160812"/>
                  </a:lnTo>
                  <a:lnTo>
                    <a:pt x="308325" y="157126"/>
                  </a:lnTo>
                  <a:lnTo>
                    <a:pt x="308325" y="153430"/>
                  </a:lnTo>
                  <a:lnTo>
                    <a:pt x="315703" y="153430"/>
                  </a:lnTo>
                  <a:lnTo>
                    <a:pt x="319392" y="146048"/>
                  </a:lnTo>
                  <a:lnTo>
                    <a:pt x="323081" y="146048"/>
                  </a:lnTo>
                  <a:lnTo>
                    <a:pt x="326770" y="142362"/>
                  </a:lnTo>
                  <a:lnTo>
                    <a:pt x="334149" y="138666"/>
                  </a:lnTo>
                  <a:lnTo>
                    <a:pt x="337838" y="138666"/>
                  </a:lnTo>
                  <a:lnTo>
                    <a:pt x="337838" y="142362"/>
                  </a:lnTo>
                  <a:lnTo>
                    <a:pt x="341527" y="142362"/>
                  </a:lnTo>
                  <a:lnTo>
                    <a:pt x="345216" y="138666"/>
                  </a:lnTo>
                  <a:lnTo>
                    <a:pt x="345216" y="142362"/>
                  </a:lnTo>
                  <a:lnTo>
                    <a:pt x="352595" y="142362"/>
                  </a:lnTo>
                  <a:lnTo>
                    <a:pt x="356284" y="138666"/>
                  </a:lnTo>
                  <a:lnTo>
                    <a:pt x="359973" y="138666"/>
                  </a:lnTo>
                  <a:lnTo>
                    <a:pt x="363662" y="134980"/>
                  </a:lnTo>
                  <a:lnTo>
                    <a:pt x="371040" y="127598"/>
                  </a:lnTo>
                  <a:lnTo>
                    <a:pt x="378419" y="123912"/>
                  </a:lnTo>
                  <a:lnTo>
                    <a:pt x="385798" y="120216"/>
                  </a:lnTo>
                  <a:lnTo>
                    <a:pt x="404244" y="105453"/>
                  </a:lnTo>
                  <a:lnTo>
                    <a:pt x="407933" y="101766"/>
                  </a:lnTo>
                  <a:lnTo>
                    <a:pt x="444825" y="57475"/>
                  </a:lnTo>
                  <a:lnTo>
                    <a:pt x="441135" y="57475"/>
                  </a:lnTo>
                  <a:lnTo>
                    <a:pt x="441135" y="53789"/>
                  </a:lnTo>
                  <a:lnTo>
                    <a:pt x="437446" y="53789"/>
                  </a:lnTo>
                  <a:lnTo>
                    <a:pt x="437446" y="50093"/>
                  </a:lnTo>
                  <a:lnTo>
                    <a:pt x="437446" y="46407"/>
                  </a:lnTo>
                  <a:lnTo>
                    <a:pt x="433757" y="50093"/>
                  </a:lnTo>
                  <a:lnTo>
                    <a:pt x="433757" y="46407"/>
                  </a:lnTo>
                  <a:lnTo>
                    <a:pt x="433757" y="42711"/>
                  </a:lnTo>
                  <a:lnTo>
                    <a:pt x="430068" y="39025"/>
                  </a:lnTo>
                  <a:lnTo>
                    <a:pt x="426379" y="39025"/>
                  </a:lnTo>
                  <a:lnTo>
                    <a:pt x="422690" y="39025"/>
                  </a:lnTo>
                  <a:lnTo>
                    <a:pt x="426379" y="35339"/>
                  </a:lnTo>
                  <a:lnTo>
                    <a:pt x="422690" y="35339"/>
                  </a:lnTo>
                  <a:lnTo>
                    <a:pt x="419000" y="35339"/>
                  </a:lnTo>
                  <a:lnTo>
                    <a:pt x="419000" y="39025"/>
                  </a:lnTo>
                  <a:lnTo>
                    <a:pt x="415311" y="42711"/>
                  </a:lnTo>
                  <a:lnTo>
                    <a:pt x="415311" y="46407"/>
                  </a:lnTo>
                  <a:lnTo>
                    <a:pt x="419000" y="50093"/>
                  </a:lnTo>
                  <a:lnTo>
                    <a:pt x="422690" y="50093"/>
                  </a:lnTo>
                  <a:lnTo>
                    <a:pt x="422690" y="53789"/>
                  </a:lnTo>
                  <a:lnTo>
                    <a:pt x="422690" y="57475"/>
                  </a:lnTo>
                  <a:lnTo>
                    <a:pt x="419000" y="53789"/>
                  </a:lnTo>
                  <a:lnTo>
                    <a:pt x="415311" y="57475"/>
                  </a:lnTo>
                  <a:lnTo>
                    <a:pt x="419000" y="57475"/>
                  </a:lnTo>
                  <a:lnTo>
                    <a:pt x="415311" y="61171"/>
                  </a:lnTo>
                  <a:lnTo>
                    <a:pt x="419000" y="61171"/>
                  </a:lnTo>
                  <a:lnTo>
                    <a:pt x="419000" y="64857"/>
                  </a:lnTo>
                  <a:lnTo>
                    <a:pt x="415311" y="61171"/>
                  </a:lnTo>
                  <a:lnTo>
                    <a:pt x="407933" y="61171"/>
                  </a:lnTo>
                  <a:lnTo>
                    <a:pt x="411622" y="64857"/>
                  </a:lnTo>
                  <a:lnTo>
                    <a:pt x="411622" y="68553"/>
                  </a:lnTo>
                  <a:lnTo>
                    <a:pt x="407933" y="61171"/>
                  </a:lnTo>
                  <a:lnTo>
                    <a:pt x="404244" y="57475"/>
                  </a:lnTo>
                  <a:lnTo>
                    <a:pt x="400555" y="57475"/>
                  </a:lnTo>
                  <a:lnTo>
                    <a:pt x="404244" y="61171"/>
                  </a:lnTo>
                  <a:lnTo>
                    <a:pt x="407933" y="64857"/>
                  </a:lnTo>
                  <a:lnTo>
                    <a:pt x="404244" y="64857"/>
                  </a:lnTo>
                  <a:lnTo>
                    <a:pt x="404244" y="61171"/>
                  </a:lnTo>
                  <a:lnTo>
                    <a:pt x="400555" y="61171"/>
                  </a:lnTo>
                  <a:lnTo>
                    <a:pt x="396865" y="61171"/>
                  </a:lnTo>
                  <a:lnTo>
                    <a:pt x="393176" y="61171"/>
                  </a:lnTo>
                  <a:lnTo>
                    <a:pt x="393176" y="64857"/>
                  </a:lnTo>
                  <a:lnTo>
                    <a:pt x="396865" y="64857"/>
                  </a:lnTo>
                  <a:lnTo>
                    <a:pt x="396865" y="68553"/>
                  </a:lnTo>
                  <a:lnTo>
                    <a:pt x="393176" y="68553"/>
                  </a:lnTo>
                  <a:lnTo>
                    <a:pt x="385798" y="53789"/>
                  </a:lnTo>
                  <a:lnTo>
                    <a:pt x="382109" y="53789"/>
                  </a:lnTo>
                  <a:lnTo>
                    <a:pt x="371040" y="46407"/>
                  </a:lnTo>
                  <a:lnTo>
                    <a:pt x="371040" y="42711"/>
                  </a:lnTo>
                  <a:lnTo>
                    <a:pt x="367351" y="42711"/>
                  </a:lnTo>
                  <a:lnTo>
                    <a:pt x="367351" y="46407"/>
                  </a:lnTo>
                  <a:lnTo>
                    <a:pt x="352595" y="42711"/>
                  </a:lnTo>
                  <a:lnTo>
                    <a:pt x="348905" y="39025"/>
                  </a:lnTo>
                  <a:lnTo>
                    <a:pt x="348905" y="35339"/>
                  </a:lnTo>
                  <a:lnTo>
                    <a:pt x="345216" y="31643"/>
                  </a:lnTo>
                  <a:lnTo>
                    <a:pt x="345216" y="27957"/>
                  </a:lnTo>
                  <a:lnTo>
                    <a:pt x="341527" y="24262"/>
                  </a:lnTo>
                  <a:lnTo>
                    <a:pt x="345216" y="20575"/>
                  </a:lnTo>
                  <a:lnTo>
                    <a:pt x="341527" y="20575"/>
                  </a:lnTo>
                  <a:lnTo>
                    <a:pt x="337838" y="16880"/>
                  </a:lnTo>
                  <a:lnTo>
                    <a:pt x="337838" y="13194"/>
                  </a:lnTo>
                  <a:lnTo>
                    <a:pt x="330460" y="13194"/>
                  </a:lnTo>
                  <a:lnTo>
                    <a:pt x="326770" y="13194"/>
                  </a:lnTo>
                  <a:lnTo>
                    <a:pt x="323081" y="9498"/>
                  </a:lnTo>
                  <a:lnTo>
                    <a:pt x="315703" y="9498"/>
                  </a:lnTo>
                  <a:lnTo>
                    <a:pt x="312014" y="16880"/>
                  </a:lnTo>
                  <a:lnTo>
                    <a:pt x="312014" y="20575"/>
                  </a:lnTo>
                  <a:lnTo>
                    <a:pt x="308325" y="20575"/>
                  </a:lnTo>
                  <a:lnTo>
                    <a:pt x="308325" y="27957"/>
                  </a:lnTo>
                  <a:lnTo>
                    <a:pt x="308325" y="31643"/>
                  </a:lnTo>
                  <a:lnTo>
                    <a:pt x="308325" y="35339"/>
                  </a:lnTo>
                  <a:lnTo>
                    <a:pt x="308325" y="39025"/>
                  </a:lnTo>
                  <a:lnTo>
                    <a:pt x="304635" y="42711"/>
                  </a:lnTo>
                  <a:lnTo>
                    <a:pt x="297257" y="42711"/>
                  </a:lnTo>
                  <a:lnTo>
                    <a:pt x="286190" y="46407"/>
                  </a:lnTo>
                  <a:lnTo>
                    <a:pt x="278811" y="50093"/>
                  </a:lnTo>
                  <a:lnTo>
                    <a:pt x="275122" y="53789"/>
                  </a:lnTo>
                  <a:lnTo>
                    <a:pt x="271433" y="53789"/>
                  </a:lnTo>
                  <a:lnTo>
                    <a:pt x="271433" y="57475"/>
                  </a:lnTo>
                  <a:lnTo>
                    <a:pt x="264055" y="57475"/>
                  </a:lnTo>
                  <a:lnTo>
                    <a:pt x="264055" y="61171"/>
                  </a:lnTo>
                  <a:lnTo>
                    <a:pt x="260366" y="64857"/>
                  </a:lnTo>
                  <a:lnTo>
                    <a:pt x="256676" y="64857"/>
                  </a:lnTo>
                  <a:lnTo>
                    <a:pt x="249298" y="64857"/>
                  </a:lnTo>
                  <a:lnTo>
                    <a:pt x="245609" y="64857"/>
                  </a:lnTo>
                  <a:lnTo>
                    <a:pt x="241920" y="61171"/>
                  </a:lnTo>
                  <a:lnTo>
                    <a:pt x="238231" y="61171"/>
                  </a:lnTo>
                  <a:lnTo>
                    <a:pt x="238231" y="64857"/>
                  </a:lnTo>
                  <a:lnTo>
                    <a:pt x="234541" y="61171"/>
                  </a:lnTo>
                  <a:lnTo>
                    <a:pt x="234541" y="64857"/>
                  </a:lnTo>
                  <a:lnTo>
                    <a:pt x="234541" y="68553"/>
                  </a:lnTo>
                  <a:lnTo>
                    <a:pt x="230852" y="61171"/>
                  </a:lnTo>
                  <a:lnTo>
                    <a:pt x="230852" y="57475"/>
                  </a:lnTo>
                  <a:lnTo>
                    <a:pt x="227162" y="57475"/>
                  </a:lnTo>
                  <a:lnTo>
                    <a:pt x="223473" y="57475"/>
                  </a:lnTo>
                  <a:lnTo>
                    <a:pt x="223473" y="53789"/>
                  </a:lnTo>
                  <a:lnTo>
                    <a:pt x="212406" y="53789"/>
                  </a:lnTo>
                  <a:lnTo>
                    <a:pt x="212406" y="64857"/>
                  </a:lnTo>
                  <a:lnTo>
                    <a:pt x="205027" y="61171"/>
                  </a:lnTo>
                  <a:lnTo>
                    <a:pt x="205027" y="57475"/>
                  </a:lnTo>
                  <a:lnTo>
                    <a:pt x="208716" y="53789"/>
                  </a:lnTo>
                  <a:lnTo>
                    <a:pt x="205027" y="53789"/>
                  </a:lnTo>
                  <a:lnTo>
                    <a:pt x="197649" y="53789"/>
                  </a:lnTo>
                  <a:lnTo>
                    <a:pt x="193960" y="53789"/>
                  </a:lnTo>
                  <a:lnTo>
                    <a:pt x="190271" y="53789"/>
                  </a:lnTo>
                  <a:lnTo>
                    <a:pt x="186581" y="53789"/>
                  </a:lnTo>
                  <a:lnTo>
                    <a:pt x="186581" y="50093"/>
                  </a:lnTo>
                  <a:lnTo>
                    <a:pt x="182892" y="46407"/>
                  </a:lnTo>
                  <a:lnTo>
                    <a:pt x="179203" y="42711"/>
                  </a:lnTo>
                  <a:lnTo>
                    <a:pt x="175514" y="42711"/>
                  </a:lnTo>
                  <a:lnTo>
                    <a:pt x="175514" y="39025"/>
                  </a:lnTo>
                  <a:lnTo>
                    <a:pt x="171825" y="35339"/>
                  </a:lnTo>
                  <a:lnTo>
                    <a:pt x="160757" y="35339"/>
                  </a:lnTo>
                  <a:lnTo>
                    <a:pt x="153379" y="31643"/>
                  </a:lnTo>
                  <a:lnTo>
                    <a:pt x="149690" y="31643"/>
                  </a:lnTo>
                  <a:lnTo>
                    <a:pt x="138622" y="27957"/>
                  </a:lnTo>
                  <a:lnTo>
                    <a:pt x="134933" y="27957"/>
                  </a:lnTo>
                  <a:lnTo>
                    <a:pt x="134933" y="24262"/>
                  </a:lnTo>
                  <a:lnTo>
                    <a:pt x="131244" y="24262"/>
                  </a:lnTo>
                  <a:lnTo>
                    <a:pt x="123866" y="20575"/>
                  </a:lnTo>
                  <a:lnTo>
                    <a:pt x="120177" y="20575"/>
                  </a:lnTo>
                  <a:lnTo>
                    <a:pt x="116487" y="16880"/>
                  </a:lnTo>
                  <a:lnTo>
                    <a:pt x="112798" y="13194"/>
                  </a:lnTo>
                  <a:lnTo>
                    <a:pt x="109109" y="13194"/>
                  </a:lnTo>
                  <a:lnTo>
                    <a:pt x="105420" y="9498"/>
                  </a:lnTo>
                  <a:lnTo>
                    <a:pt x="101731" y="9498"/>
                  </a:lnTo>
                  <a:lnTo>
                    <a:pt x="101731" y="5812"/>
                  </a:lnTo>
                  <a:lnTo>
                    <a:pt x="90663" y="5812"/>
                  </a:lnTo>
                  <a:lnTo>
                    <a:pt x="86974" y="5812"/>
                  </a:lnTo>
                  <a:lnTo>
                    <a:pt x="79595" y="5812"/>
                  </a:lnTo>
                  <a:close/>
                  <a:moveTo>
                    <a:pt x="415311" y="57475"/>
                  </a:moveTo>
                  <a:lnTo>
                    <a:pt x="411622" y="53789"/>
                  </a:lnTo>
                  <a:lnTo>
                    <a:pt x="407933" y="57475"/>
                  </a:lnTo>
                  <a:lnTo>
                    <a:pt x="415311" y="57475"/>
                  </a:lnTo>
                  <a:close/>
                  <a:moveTo>
                    <a:pt x="411622" y="53789"/>
                  </a:moveTo>
                  <a:lnTo>
                    <a:pt x="415311" y="53789"/>
                  </a:lnTo>
                  <a:lnTo>
                    <a:pt x="419000" y="53789"/>
                  </a:lnTo>
                  <a:lnTo>
                    <a:pt x="422690" y="53789"/>
                  </a:lnTo>
                  <a:lnTo>
                    <a:pt x="419000" y="50093"/>
                  </a:lnTo>
                  <a:lnTo>
                    <a:pt x="415311" y="50093"/>
                  </a:lnTo>
                  <a:lnTo>
                    <a:pt x="411622" y="50093"/>
                  </a:lnTo>
                  <a:lnTo>
                    <a:pt x="411622" y="53789"/>
                  </a:lnTo>
                  <a:close/>
                  <a:moveTo>
                    <a:pt x="419000" y="42711"/>
                  </a:moveTo>
                  <a:lnTo>
                    <a:pt x="422690" y="46407"/>
                  </a:lnTo>
                  <a:lnTo>
                    <a:pt x="419000" y="46407"/>
                  </a:lnTo>
                  <a:lnTo>
                    <a:pt x="419000" y="42711"/>
                  </a:lnTo>
                  <a:close/>
                  <a:moveTo>
                    <a:pt x="426379" y="42711"/>
                  </a:moveTo>
                  <a:lnTo>
                    <a:pt x="430068" y="42711"/>
                  </a:lnTo>
                  <a:lnTo>
                    <a:pt x="426379" y="46407"/>
                  </a:lnTo>
                  <a:lnTo>
                    <a:pt x="426379" y="42711"/>
                  </a:lnTo>
                  <a:close/>
                  <a:moveTo>
                    <a:pt x="400555" y="68553"/>
                  </a:moveTo>
                  <a:lnTo>
                    <a:pt x="404244" y="68553"/>
                  </a:lnTo>
                  <a:lnTo>
                    <a:pt x="404244" y="72239"/>
                  </a:lnTo>
                  <a:lnTo>
                    <a:pt x="400555" y="72239"/>
                  </a:lnTo>
                  <a:lnTo>
                    <a:pt x="400555" y="68553"/>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94" name="Freeform: Shape 93">
              <a:extLst>
                <a:ext uri="{FF2B5EF4-FFF2-40B4-BE49-F238E27FC236}">
                  <a16:creationId xmlns:a16="http://schemas.microsoft.com/office/drawing/2014/main" id="{0FFC3AB9-2E59-490F-AE11-EE27024873A5}"/>
                </a:ext>
              </a:extLst>
            </p:cNvPr>
            <p:cNvSpPr/>
            <p:nvPr/>
          </p:nvSpPr>
          <p:spPr>
            <a:xfrm>
              <a:off x="1065497" y="4974536"/>
              <a:ext cx="15373" cy="30745"/>
            </a:xfrm>
            <a:custGeom>
              <a:avLst/>
              <a:gdLst>
                <a:gd name="connsiteX0" fmla="*/ 9501 w 9525"/>
                <a:gd name="connsiteY0" fmla="*/ 13184 h 19050"/>
                <a:gd name="connsiteX1" fmla="*/ 9501 w 9525"/>
                <a:gd name="connsiteY1" fmla="*/ 13184 h 19050"/>
                <a:gd name="connsiteX2" fmla="*/ 5812 w 9525"/>
                <a:gd name="connsiteY2" fmla="*/ 9498 h 19050"/>
                <a:gd name="connsiteX3" fmla="*/ 5812 w 9525"/>
                <a:gd name="connsiteY3" fmla="*/ 5812 h 19050"/>
                <a:gd name="connsiteX4" fmla="*/ 5812 w 9525"/>
                <a:gd name="connsiteY4" fmla="*/ 5812 h 19050"/>
                <a:gd name="connsiteX5" fmla="*/ 9501 w 9525"/>
                <a:gd name="connsiteY5" fmla="*/ 5812 h 19050"/>
                <a:gd name="connsiteX6" fmla="*/ 13190 w 9525"/>
                <a:gd name="connsiteY6" fmla="*/ 9498 h 19050"/>
                <a:gd name="connsiteX7" fmla="*/ 13190 w 9525"/>
                <a:gd name="connsiteY7" fmla="*/ 13184 h 19050"/>
                <a:gd name="connsiteX8" fmla="*/ 9501 w 9525"/>
                <a:gd name="connsiteY8" fmla="*/ 16879 h 19050"/>
                <a:gd name="connsiteX9" fmla="*/ 9501 w 9525"/>
                <a:gd name="connsiteY9" fmla="*/ 16879 h 19050"/>
                <a:gd name="connsiteX10" fmla="*/ 9501 w 9525"/>
                <a:gd name="connsiteY10" fmla="*/ 13184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25" h="19050">
                  <a:moveTo>
                    <a:pt x="9501" y="13184"/>
                  </a:moveTo>
                  <a:lnTo>
                    <a:pt x="9501" y="13184"/>
                  </a:lnTo>
                  <a:lnTo>
                    <a:pt x="5812" y="9498"/>
                  </a:lnTo>
                  <a:lnTo>
                    <a:pt x="5812" y="5812"/>
                  </a:lnTo>
                  <a:lnTo>
                    <a:pt x="5812" y="5812"/>
                  </a:lnTo>
                  <a:lnTo>
                    <a:pt x="9501" y="5812"/>
                  </a:lnTo>
                  <a:lnTo>
                    <a:pt x="13190" y="9498"/>
                  </a:lnTo>
                  <a:lnTo>
                    <a:pt x="13190" y="13184"/>
                  </a:lnTo>
                  <a:lnTo>
                    <a:pt x="9501" y="16879"/>
                  </a:lnTo>
                  <a:lnTo>
                    <a:pt x="9501" y="16879"/>
                  </a:lnTo>
                  <a:lnTo>
                    <a:pt x="9501" y="13184"/>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95" name="Freeform: Shape 94">
              <a:extLst>
                <a:ext uri="{FF2B5EF4-FFF2-40B4-BE49-F238E27FC236}">
                  <a16:creationId xmlns:a16="http://schemas.microsoft.com/office/drawing/2014/main" id="{F8E5AB5B-5620-4EB5-83EE-5F934F22A4BC}"/>
                </a:ext>
              </a:extLst>
            </p:cNvPr>
            <p:cNvSpPr/>
            <p:nvPr/>
          </p:nvSpPr>
          <p:spPr>
            <a:xfrm>
              <a:off x="1059543" y="4849451"/>
              <a:ext cx="61491" cy="76864"/>
            </a:xfrm>
            <a:custGeom>
              <a:avLst/>
              <a:gdLst>
                <a:gd name="connsiteX0" fmla="*/ 31636 w 38100"/>
                <a:gd name="connsiteY0" fmla="*/ 5812 h 47625"/>
                <a:gd name="connsiteX1" fmla="*/ 31636 w 38100"/>
                <a:gd name="connsiteY1" fmla="*/ 5812 h 47625"/>
                <a:gd name="connsiteX2" fmla="*/ 31636 w 38100"/>
                <a:gd name="connsiteY2" fmla="*/ 5812 h 47625"/>
                <a:gd name="connsiteX3" fmla="*/ 27947 w 38100"/>
                <a:gd name="connsiteY3" fmla="*/ 9498 h 47625"/>
                <a:gd name="connsiteX4" fmla="*/ 27947 w 38100"/>
                <a:gd name="connsiteY4" fmla="*/ 16880 h 47625"/>
                <a:gd name="connsiteX5" fmla="*/ 27947 w 38100"/>
                <a:gd name="connsiteY5" fmla="*/ 20575 h 47625"/>
                <a:gd name="connsiteX6" fmla="*/ 27947 w 38100"/>
                <a:gd name="connsiteY6" fmla="*/ 20575 h 47625"/>
                <a:gd name="connsiteX7" fmla="*/ 31636 w 38100"/>
                <a:gd name="connsiteY7" fmla="*/ 24261 h 47625"/>
                <a:gd name="connsiteX8" fmla="*/ 35325 w 38100"/>
                <a:gd name="connsiteY8" fmla="*/ 20575 h 47625"/>
                <a:gd name="connsiteX9" fmla="*/ 31636 w 38100"/>
                <a:gd name="connsiteY9" fmla="*/ 16880 h 47625"/>
                <a:gd name="connsiteX10" fmla="*/ 31636 w 38100"/>
                <a:gd name="connsiteY10" fmla="*/ 16880 h 47625"/>
                <a:gd name="connsiteX11" fmla="*/ 35325 w 38100"/>
                <a:gd name="connsiteY11" fmla="*/ 20575 h 47625"/>
                <a:gd name="connsiteX12" fmla="*/ 31636 w 38100"/>
                <a:gd name="connsiteY12" fmla="*/ 24261 h 47625"/>
                <a:gd name="connsiteX13" fmla="*/ 31636 w 38100"/>
                <a:gd name="connsiteY13" fmla="*/ 24261 h 47625"/>
                <a:gd name="connsiteX14" fmla="*/ 24257 w 38100"/>
                <a:gd name="connsiteY14" fmla="*/ 20575 h 47625"/>
                <a:gd name="connsiteX15" fmla="*/ 24257 w 38100"/>
                <a:gd name="connsiteY15" fmla="*/ 24261 h 47625"/>
                <a:gd name="connsiteX16" fmla="*/ 24257 w 38100"/>
                <a:gd name="connsiteY16" fmla="*/ 27957 h 47625"/>
                <a:gd name="connsiteX17" fmla="*/ 24257 w 38100"/>
                <a:gd name="connsiteY17" fmla="*/ 27957 h 47625"/>
                <a:gd name="connsiteX18" fmla="*/ 24257 w 38100"/>
                <a:gd name="connsiteY18" fmla="*/ 27957 h 47625"/>
                <a:gd name="connsiteX19" fmla="*/ 20568 w 38100"/>
                <a:gd name="connsiteY19" fmla="*/ 24261 h 47625"/>
                <a:gd name="connsiteX20" fmla="*/ 20568 w 38100"/>
                <a:gd name="connsiteY20" fmla="*/ 24261 h 47625"/>
                <a:gd name="connsiteX21" fmla="*/ 20568 w 38100"/>
                <a:gd name="connsiteY21" fmla="*/ 24261 h 47625"/>
                <a:gd name="connsiteX22" fmla="*/ 16879 w 38100"/>
                <a:gd name="connsiteY22" fmla="*/ 27957 h 47625"/>
                <a:gd name="connsiteX23" fmla="*/ 16879 w 38100"/>
                <a:gd name="connsiteY23" fmla="*/ 27957 h 47625"/>
                <a:gd name="connsiteX24" fmla="*/ 20568 w 38100"/>
                <a:gd name="connsiteY24" fmla="*/ 27957 h 47625"/>
                <a:gd name="connsiteX25" fmla="*/ 20568 w 38100"/>
                <a:gd name="connsiteY25" fmla="*/ 31643 h 47625"/>
                <a:gd name="connsiteX26" fmla="*/ 16879 w 38100"/>
                <a:gd name="connsiteY26" fmla="*/ 31643 h 47625"/>
                <a:gd name="connsiteX27" fmla="*/ 16879 w 38100"/>
                <a:gd name="connsiteY27" fmla="*/ 27957 h 47625"/>
                <a:gd name="connsiteX28" fmla="*/ 13190 w 38100"/>
                <a:gd name="connsiteY28" fmla="*/ 31643 h 47625"/>
                <a:gd name="connsiteX29" fmla="*/ 13190 w 38100"/>
                <a:gd name="connsiteY29" fmla="*/ 31643 h 47625"/>
                <a:gd name="connsiteX30" fmla="*/ 13190 w 38100"/>
                <a:gd name="connsiteY30" fmla="*/ 35339 h 47625"/>
                <a:gd name="connsiteX31" fmla="*/ 13190 w 38100"/>
                <a:gd name="connsiteY31" fmla="*/ 42711 h 47625"/>
                <a:gd name="connsiteX32" fmla="*/ 9501 w 38100"/>
                <a:gd name="connsiteY32" fmla="*/ 42711 h 47625"/>
                <a:gd name="connsiteX33" fmla="*/ 9501 w 38100"/>
                <a:gd name="connsiteY33" fmla="*/ 42711 h 47625"/>
                <a:gd name="connsiteX34" fmla="*/ 13190 w 38100"/>
                <a:gd name="connsiteY34" fmla="*/ 35339 h 47625"/>
                <a:gd name="connsiteX35" fmla="*/ 13190 w 38100"/>
                <a:gd name="connsiteY35" fmla="*/ 31643 h 47625"/>
                <a:gd name="connsiteX36" fmla="*/ 9501 w 38100"/>
                <a:gd name="connsiteY36" fmla="*/ 27957 h 47625"/>
                <a:gd name="connsiteX37" fmla="*/ 9501 w 38100"/>
                <a:gd name="connsiteY37" fmla="*/ 27957 h 47625"/>
                <a:gd name="connsiteX38" fmla="*/ 5812 w 38100"/>
                <a:gd name="connsiteY38" fmla="*/ 27957 h 47625"/>
                <a:gd name="connsiteX39" fmla="*/ 5812 w 38100"/>
                <a:gd name="connsiteY39" fmla="*/ 27957 h 47625"/>
                <a:gd name="connsiteX40" fmla="*/ 5812 w 38100"/>
                <a:gd name="connsiteY40" fmla="*/ 27957 h 47625"/>
                <a:gd name="connsiteX41" fmla="*/ 5812 w 38100"/>
                <a:gd name="connsiteY41" fmla="*/ 27957 h 47625"/>
                <a:gd name="connsiteX42" fmla="*/ 9501 w 38100"/>
                <a:gd name="connsiteY42" fmla="*/ 27957 h 47625"/>
                <a:gd name="connsiteX43" fmla="*/ 13190 w 38100"/>
                <a:gd name="connsiteY43" fmla="*/ 20575 h 47625"/>
                <a:gd name="connsiteX44" fmla="*/ 20568 w 38100"/>
                <a:gd name="connsiteY44" fmla="*/ 16880 h 47625"/>
                <a:gd name="connsiteX45" fmla="*/ 20568 w 38100"/>
                <a:gd name="connsiteY45" fmla="*/ 13194 h 47625"/>
                <a:gd name="connsiteX46" fmla="*/ 20568 w 38100"/>
                <a:gd name="connsiteY46" fmla="*/ 13194 h 47625"/>
                <a:gd name="connsiteX47" fmla="*/ 20568 w 38100"/>
                <a:gd name="connsiteY47" fmla="*/ 9498 h 47625"/>
                <a:gd name="connsiteX48" fmla="*/ 20568 w 38100"/>
                <a:gd name="connsiteY48" fmla="*/ 9498 h 47625"/>
                <a:gd name="connsiteX49" fmla="*/ 20568 w 38100"/>
                <a:gd name="connsiteY49" fmla="*/ 9498 h 47625"/>
                <a:gd name="connsiteX50" fmla="*/ 20568 w 38100"/>
                <a:gd name="connsiteY50" fmla="*/ 13194 h 47625"/>
                <a:gd name="connsiteX51" fmla="*/ 20568 w 38100"/>
                <a:gd name="connsiteY51" fmla="*/ 13194 h 47625"/>
                <a:gd name="connsiteX52" fmla="*/ 20568 w 38100"/>
                <a:gd name="connsiteY52" fmla="*/ 13194 h 47625"/>
                <a:gd name="connsiteX53" fmla="*/ 24257 w 38100"/>
                <a:gd name="connsiteY53" fmla="*/ 13194 h 47625"/>
                <a:gd name="connsiteX54" fmla="*/ 24257 w 38100"/>
                <a:gd name="connsiteY54" fmla="*/ 13194 h 47625"/>
                <a:gd name="connsiteX55" fmla="*/ 24257 w 38100"/>
                <a:gd name="connsiteY55" fmla="*/ 13194 h 47625"/>
                <a:gd name="connsiteX56" fmla="*/ 24257 w 38100"/>
                <a:gd name="connsiteY56" fmla="*/ 13194 h 47625"/>
                <a:gd name="connsiteX57" fmla="*/ 27947 w 38100"/>
                <a:gd name="connsiteY57" fmla="*/ 13194 h 47625"/>
                <a:gd name="connsiteX58" fmla="*/ 27947 w 38100"/>
                <a:gd name="connsiteY58" fmla="*/ 9498 h 47625"/>
                <a:gd name="connsiteX59" fmla="*/ 31636 w 38100"/>
                <a:gd name="connsiteY59" fmla="*/ 5812 h 47625"/>
                <a:gd name="connsiteX60" fmla="*/ 31636 w 38100"/>
                <a:gd name="connsiteY60" fmla="*/ 581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100" h="47625">
                  <a:moveTo>
                    <a:pt x="31636" y="5812"/>
                  </a:moveTo>
                  <a:lnTo>
                    <a:pt x="31636" y="5812"/>
                  </a:lnTo>
                  <a:lnTo>
                    <a:pt x="31636" y="5812"/>
                  </a:lnTo>
                  <a:lnTo>
                    <a:pt x="27947" y="9498"/>
                  </a:lnTo>
                  <a:lnTo>
                    <a:pt x="27947" y="16880"/>
                  </a:lnTo>
                  <a:lnTo>
                    <a:pt x="27947" y="20575"/>
                  </a:lnTo>
                  <a:lnTo>
                    <a:pt x="27947" y="20575"/>
                  </a:lnTo>
                  <a:lnTo>
                    <a:pt x="31636" y="24261"/>
                  </a:lnTo>
                  <a:lnTo>
                    <a:pt x="35325" y="20575"/>
                  </a:lnTo>
                  <a:lnTo>
                    <a:pt x="31636" y="16880"/>
                  </a:lnTo>
                  <a:lnTo>
                    <a:pt x="31636" y="16880"/>
                  </a:lnTo>
                  <a:lnTo>
                    <a:pt x="35325" y="20575"/>
                  </a:lnTo>
                  <a:lnTo>
                    <a:pt x="31636" y="24261"/>
                  </a:lnTo>
                  <a:lnTo>
                    <a:pt x="31636" y="24261"/>
                  </a:lnTo>
                  <a:lnTo>
                    <a:pt x="24257" y="20575"/>
                  </a:lnTo>
                  <a:lnTo>
                    <a:pt x="24257" y="24261"/>
                  </a:lnTo>
                  <a:lnTo>
                    <a:pt x="24257" y="27957"/>
                  </a:lnTo>
                  <a:lnTo>
                    <a:pt x="24257" y="27957"/>
                  </a:lnTo>
                  <a:lnTo>
                    <a:pt x="24257" y="27957"/>
                  </a:lnTo>
                  <a:lnTo>
                    <a:pt x="20568" y="24261"/>
                  </a:lnTo>
                  <a:lnTo>
                    <a:pt x="20568" y="24261"/>
                  </a:lnTo>
                  <a:lnTo>
                    <a:pt x="20568" y="24261"/>
                  </a:lnTo>
                  <a:lnTo>
                    <a:pt x="16879" y="27957"/>
                  </a:lnTo>
                  <a:lnTo>
                    <a:pt x="16879" y="27957"/>
                  </a:lnTo>
                  <a:lnTo>
                    <a:pt x="20568" y="27957"/>
                  </a:lnTo>
                  <a:lnTo>
                    <a:pt x="20568" y="31643"/>
                  </a:lnTo>
                  <a:lnTo>
                    <a:pt x="16879" y="31643"/>
                  </a:lnTo>
                  <a:lnTo>
                    <a:pt x="16879" y="27957"/>
                  </a:lnTo>
                  <a:lnTo>
                    <a:pt x="13190" y="31643"/>
                  </a:lnTo>
                  <a:lnTo>
                    <a:pt x="13190" y="31643"/>
                  </a:lnTo>
                  <a:lnTo>
                    <a:pt x="13190" y="35339"/>
                  </a:lnTo>
                  <a:lnTo>
                    <a:pt x="13190" y="42711"/>
                  </a:lnTo>
                  <a:lnTo>
                    <a:pt x="9501" y="42711"/>
                  </a:lnTo>
                  <a:lnTo>
                    <a:pt x="9501" y="42711"/>
                  </a:lnTo>
                  <a:lnTo>
                    <a:pt x="13190" y="35339"/>
                  </a:lnTo>
                  <a:lnTo>
                    <a:pt x="13190" y="31643"/>
                  </a:lnTo>
                  <a:lnTo>
                    <a:pt x="9501" y="27957"/>
                  </a:lnTo>
                  <a:lnTo>
                    <a:pt x="9501" y="27957"/>
                  </a:lnTo>
                  <a:lnTo>
                    <a:pt x="5812" y="27957"/>
                  </a:lnTo>
                  <a:lnTo>
                    <a:pt x="5812" y="27957"/>
                  </a:lnTo>
                  <a:lnTo>
                    <a:pt x="5812" y="27957"/>
                  </a:lnTo>
                  <a:lnTo>
                    <a:pt x="5812" y="27957"/>
                  </a:lnTo>
                  <a:lnTo>
                    <a:pt x="9501" y="27957"/>
                  </a:lnTo>
                  <a:lnTo>
                    <a:pt x="13190" y="20575"/>
                  </a:lnTo>
                  <a:lnTo>
                    <a:pt x="20568" y="16880"/>
                  </a:lnTo>
                  <a:lnTo>
                    <a:pt x="20568" y="13194"/>
                  </a:lnTo>
                  <a:lnTo>
                    <a:pt x="20568" y="13194"/>
                  </a:lnTo>
                  <a:lnTo>
                    <a:pt x="20568" y="9498"/>
                  </a:lnTo>
                  <a:lnTo>
                    <a:pt x="20568" y="9498"/>
                  </a:lnTo>
                  <a:lnTo>
                    <a:pt x="20568" y="9498"/>
                  </a:lnTo>
                  <a:lnTo>
                    <a:pt x="20568" y="13194"/>
                  </a:lnTo>
                  <a:lnTo>
                    <a:pt x="20568" y="13194"/>
                  </a:lnTo>
                  <a:lnTo>
                    <a:pt x="20568" y="13194"/>
                  </a:lnTo>
                  <a:lnTo>
                    <a:pt x="24257" y="13194"/>
                  </a:lnTo>
                  <a:lnTo>
                    <a:pt x="24257" y="13194"/>
                  </a:lnTo>
                  <a:lnTo>
                    <a:pt x="24257" y="13194"/>
                  </a:lnTo>
                  <a:lnTo>
                    <a:pt x="24257" y="13194"/>
                  </a:lnTo>
                  <a:lnTo>
                    <a:pt x="27947" y="13194"/>
                  </a:lnTo>
                  <a:lnTo>
                    <a:pt x="27947" y="9498"/>
                  </a:lnTo>
                  <a:lnTo>
                    <a:pt x="31636" y="5812"/>
                  </a:lnTo>
                  <a:lnTo>
                    <a:pt x="31636" y="5812"/>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96" name="Freeform: Shape 95">
              <a:extLst>
                <a:ext uri="{FF2B5EF4-FFF2-40B4-BE49-F238E27FC236}">
                  <a16:creationId xmlns:a16="http://schemas.microsoft.com/office/drawing/2014/main" id="{8000BCE7-C8F8-4758-A3B1-572DF2039ED4}"/>
                </a:ext>
              </a:extLst>
            </p:cNvPr>
            <p:cNvSpPr/>
            <p:nvPr/>
          </p:nvSpPr>
          <p:spPr>
            <a:xfrm>
              <a:off x="1059543" y="5093659"/>
              <a:ext cx="30745" cy="46118"/>
            </a:xfrm>
            <a:custGeom>
              <a:avLst/>
              <a:gdLst>
                <a:gd name="connsiteX0" fmla="*/ 20568 w 19050"/>
                <a:gd name="connsiteY0" fmla="*/ 24261 h 28575"/>
                <a:gd name="connsiteX1" fmla="*/ 9501 w 19050"/>
                <a:gd name="connsiteY1" fmla="*/ 16880 h 28575"/>
                <a:gd name="connsiteX2" fmla="*/ 5812 w 19050"/>
                <a:gd name="connsiteY2" fmla="*/ 13193 h 28575"/>
                <a:gd name="connsiteX3" fmla="*/ 5812 w 19050"/>
                <a:gd name="connsiteY3" fmla="*/ 13193 h 28575"/>
                <a:gd name="connsiteX4" fmla="*/ 9501 w 19050"/>
                <a:gd name="connsiteY4" fmla="*/ 5812 h 28575"/>
                <a:gd name="connsiteX5" fmla="*/ 13190 w 19050"/>
                <a:gd name="connsiteY5" fmla="*/ 9498 h 28575"/>
                <a:gd name="connsiteX6" fmla="*/ 20568 w 19050"/>
                <a:gd name="connsiteY6" fmla="*/ 13193 h 28575"/>
                <a:gd name="connsiteX7" fmla="*/ 16879 w 19050"/>
                <a:gd name="connsiteY7" fmla="*/ 16880 h 28575"/>
                <a:gd name="connsiteX8" fmla="*/ 16879 w 19050"/>
                <a:gd name="connsiteY8" fmla="*/ 20575 h 28575"/>
                <a:gd name="connsiteX9" fmla="*/ 20568 w 19050"/>
                <a:gd name="connsiteY9" fmla="*/ 24261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28575">
                  <a:moveTo>
                    <a:pt x="20568" y="24261"/>
                  </a:moveTo>
                  <a:lnTo>
                    <a:pt x="9501" y="16880"/>
                  </a:lnTo>
                  <a:lnTo>
                    <a:pt x="5812" y="13193"/>
                  </a:lnTo>
                  <a:lnTo>
                    <a:pt x="5812" y="13193"/>
                  </a:lnTo>
                  <a:lnTo>
                    <a:pt x="9501" y="5812"/>
                  </a:lnTo>
                  <a:lnTo>
                    <a:pt x="13190" y="9498"/>
                  </a:lnTo>
                  <a:lnTo>
                    <a:pt x="20568" y="13193"/>
                  </a:lnTo>
                  <a:lnTo>
                    <a:pt x="16879" y="16880"/>
                  </a:lnTo>
                  <a:lnTo>
                    <a:pt x="16879" y="20575"/>
                  </a:lnTo>
                  <a:lnTo>
                    <a:pt x="20568" y="24261"/>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97" name="Freeform: Shape 96">
              <a:extLst>
                <a:ext uri="{FF2B5EF4-FFF2-40B4-BE49-F238E27FC236}">
                  <a16:creationId xmlns:a16="http://schemas.microsoft.com/office/drawing/2014/main" id="{183EFBA0-D4AD-43FE-BA62-6D11F414748D}"/>
                </a:ext>
              </a:extLst>
            </p:cNvPr>
            <p:cNvSpPr/>
            <p:nvPr/>
          </p:nvSpPr>
          <p:spPr>
            <a:xfrm>
              <a:off x="1071451" y="5087694"/>
              <a:ext cx="30745" cy="15373"/>
            </a:xfrm>
            <a:custGeom>
              <a:avLst/>
              <a:gdLst>
                <a:gd name="connsiteX0" fmla="*/ 16879 w 19050"/>
                <a:gd name="connsiteY0" fmla="*/ 13193 h 9525"/>
                <a:gd name="connsiteX1" fmla="*/ 13190 w 19050"/>
                <a:gd name="connsiteY1" fmla="*/ 13193 h 9525"/>
                <a:gd name="connsiteX2" fmla="*/ 5812 w 19050"/>
                <a:gd name="connsiteY2" fmla="*/ 9507 h 9525"/>
                <a:gd name="connsiteX3" fmla="*/ 5812 w 19050"/>
                <a:gd name="connsiteY3" fmla="*/ 9507 h 9525"/>
                <a:gd name="connsiteX4" fmla="*/ 13190 w 19050"/>
                <a:gd name="connsiteY4" fmla="*/ 5812 h 9525"/>
                <a:gd name="connsiteX5" fmla="*/ 16879 w 19050"/>
                <a:gd name="connsiteY5" fmla="*/ 5812 h 9525"/>
                <a:gd name="connsiteX6" fmla="*/ 16879 w 19050"/>
                <a:gd name="connsiteY6" fmla="*/ 5812 h 9525"/>
                <a:gd name="connsiteX7" fmla="*/ 16879 w 19050"/>
                <a:gd name="connsiteY7" fmla="*/ 13193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 h="9525">
                  <a:moveTo>
                    <a:pt x="16879" y="13193"/>
                  </a:moveTo>
                  <a:lnTo>
                    <a:pt x="13190" y="13193"/>
                  </a:lnTo>
                  <a:lnTo>
                    <a:pt x="5812" y="9507"/>
                  </a:lnTo>
                  <a:lnTo>
                    <a:pt x="5812" y="9507"/>
                  </a:lnTo>
                  <a:lnTo>
                    <a:pt x="13190" y="5812"/>
                  </a:lnTo>
                  <a:lnTo>
                    <a:pt x="16879" y="5812"/>
                  </a:lnTo>
                  <a:lnTo>
                    <a:pt x="16879" y="5812"/>
                  </a:lnTo>
                  <a:lnTo>
                    <a:pt x="16879" y="13193"/>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98" name="Freeform: Shape 97">
              <a:extLst>
                <a:ext uri="{FF2B5EF4-FFF2-40B4-BE49-F238E27FC236}">
                  <a16:creationId xmlns:a16="http://schemas.microsoft.com/office/drawing/2014/main" id="{88D6BBC0-1422-434A-9F78-E3F6005E90C6}"/>
                </a:ext>
              </a:extLst>
            </p:cNvPr>
            <p:cNvSpPr/>
            <p:nvPr/>
          </p:nvSpPr>
          <p:spPr>
            <a:xfrm>
              <a:off x="1256029" y="4736276"/>
              <a:ext cx="30745" cy="15373"/>
            </a:xfrm>
            <a:custGeom>
              <a:avLst/>
              <a:gdLst>
                <a:gd name="connsiteX0" fmla="*/ 5812 w 19050"/>
                <a:gd name="connsiteY0" fmla="*/ 9507 h 9525"/>
                <a:gd name="connsiteX1" fmla="*/ 5812 w 19050"/>
                <a:gd name="connsiteY1" fmla="*/ 9507 h 9525"/>
                <a:gd name="connsiteX2" fmla="*/ 5812 w 19050"/>
                <a:gd name="connsiteY2" fmla="*/ 9507 h 9525"/>
                <a:gd name="connsiteX3" fmla="*/ 5812 w 19050"/>
                <a:gd name="connsiteY3" fmla="*/ 5812 h 9525"/>
                <a:gd name="connsiteX4" fmla="*/ 9501 w 19050"/>
                <a:gd name="connsiteY4" fmla="*/ 5812 h 9525"/>
                <a:gd name="connsiteX5" fmla="*/ 16879 w 19050"/>
                <a:gd name="connsiteY5" fmla="*/ 9507 h 9525"/>
                <a:gd name="connsiteX6" fmla="*/ 13190 w 19050"/>
                <a:gd name="connsiteY6" fmla="*/ 9507 h 9525"/>
                <a:gd name="connsiteX7" fmla="*/ 5812 w 19050"/>
                <a:gd name="connsiteY7" fmla="*/ 9507 h 9525"/>
                <a:gd name="connsiteX8" fmla="*/ 5812 w 19050"/>
                <a:gd name="connsiteY8" fmla="*/ 9507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 h="9525">
                  <a:moveTo>
                    <a:pt x="5812" y="9507"/>
                  </a:moveTo>
                  <a:lnTo>
                    <a:pt x="5812" y="9507"/>
                  </a:lnTo>
                  <a:lnTo>
                    <a:pt x="5812" y="9507"/>
                  </a:lnTo>
                  <a:lnTo>
                    <a:pt x="5812" y="5812"/>
                  </a:lnTo>
                  <a:lnTo>
                    <a:pt x="9501" y="5812"/>
                  </a:lnTo>
                  <a:lnTo>
                    <a:pt x="16879" y="9507"/>
                  </a:lnTo>
                  <a:lnTo>
                    <a:pt x="13190" y="9507"/>
                  </a:lnTo>
                  <a:lnTo>
                    <a:pt x="5812" y="9507"/>
                  </a:lnTo>
                  <a:lnTo>
                    <a:pt x="5812" y="9507"/>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99" name="Freeform: Shape 98">
              <a:extLst>
                <a:ext uri="{FF2B5EF4-FFF2-40B4-BE49-F238E27FC236}">
                  <a16:creationId xmlns:a16="http://schemas.microsoft.com/office/drawing/2014/main" id="{C304524C-CDB9-44BD-98CE-2F6E1B8E8546}"/>
                </a:ext>
              </a:extLst>
            </p:cNvPr>
            <p:cNvSpPr/>
            <p:nvPr/>
          </p:nvSpPr>
          <p:spPr>
            <a:xfrm>
              <a:off x="1434650" y="4843485"/>
              <a:ext cx="46118" cy="46118"/>
            </a:xfrm>
            <a:custGeom>
              <a:avLst/>
              <a:gdLst>
                <a:gd name="connsiteX0" fmla="*/ 31636 w 28575"/>
                <a:gd name="connsiteY0" fmla="*/ 24271 h 28575"/>
                <a:gd name="connsiteX1" fmla="*/ 31636 w 28575"/>
                <a:gd name="connsiteY1" fmla="*/ 20575 h 28575"/>
                <a:gd name="connsiteX2" fmla="*/ 27947 w 28575"/>
                <a:gd name="connsiteY2" fmla="*/ 16889 h 28575"/>
                <a:gd name="connsiteX3" fmla="*/ 24257 w 28575"/>
                <a:gd name="connsiteY3" fmla="*/ 13194 h 28575"/>
                <a:gd name="connsiteX4" fmla="*/ 24257 w 28575"/>
                <a:gd name="connsiteY4" fmla="*/ 16889 h 28575"/>
                <a:gd name="connsiteX5" fmla="*/ 20568 w 28575"/>
                <a:gd name="connsiteY5" fmla="*/ 16889 h 28575"/>
                <a:gd name="connsiteX6" fmla="*/ 13190 w 28575"/>
                <a:gd name="connsiteY6" fmla="*/ 9507 h 28575"/>
                <a:gd name="connsiteX7" fmla="*/ 16879 w 28575"/>
                <a:gd name="connsiteY7" fmla="*/ 5812 h 28575"/>
                <a:gd name="connsiteX8" fmla="*/ 16879 w 28575"/>
                <a:gd name="connsiteY8" fmla="*/ 5812 h 28575"/>
                <a:gd name="connsiteX9" fmla="*/ 13190 w 28575"/>
                <a:gd name="connsiteY9" fmla="*/ 5812 h 28575"/>
                <a:gd name="connsiteX10" fmla="*/ 13190 w 28575"/>
                <a:gd name="connsiteY10" fmla="*/ 9507 h 28575"/>
                <a:gd name="connsiteX11" fmla="*/ 5812 w 28575"/>
                <a:gd name="connsiteY11" fmla="*/ 9507 h 28575"/>
                <a:gd name="connsiteX12" fmla="*/ 5812 w 28575"/>
                <a:gd name="connsiteY12" fmla="*/ 5812 h 28575"/>
                <a:gd name="connsiteX13" fmla="*/ 13190 w 28575"/>
                <a:gd name="connsiteY13" fmla="*/ 5812 h 28575"/>
                <a:gd name="connsiteX14" fmla="*/ 13190 w 28575"/>
                <a:gd name="connsiteY14" fmla="*/ 5812 h 28575"/>
                <a:gd name="connsiteX15" fmla="*/ 24257 w 28575"/>
                <a:gd name="connsiteY15" fmla="*/ 5812 h 28575"/>
                <a:gd name="connsiteX16" fmla="*/ 27947 w 28575"/>
                <a:gd name="connsiteY16" fmla="*/ 5812 h 28575"/>
                <a:gd name="connsiteX17" fmla="*/ 27947 w 28575"/>
                <a:gd name="connsiteY17" fmla="*/ 5812 h 28575"/>
                <a:gd name="connsiteX18" fmla="*/ 24257 w 28575"/>
                <a:gd name="connsiteY18" fmla="*/ 5812 h 28575"/>
                <a:gd name="connsiteX19" fmla="*/ 24257 w 28575"/>
                <a:gd name="connsiteY19" fmla="*/ 5812 h 28575"/>
                <a:gd name="connsiteX20" fmla="*/ 20568 w 28575"/>
                <a:gd name="connsiteY20" fmla="*/ 5812 h 28575"/>
                <a:gd name="connsiteX21" fmla="*/ 20568 w 28575"/>
                <a:gd name="connsiteY21" fmla="*/ 5812 h 28575"/>
                <a:gd name="connsiteX22" fmla="*/ 20568 w 28575"/>
                <a:gd name="connsiteY22" fmla="*/ 9507 h 28575"/>
                <a:gd name="connsiteX23" fmla="*/ 20568 w 28575"/>
                <a:gd name="connsiteY23" fmla="*/ 9507 h 28575"/>
                <a:gd name="connsiteX24" fmla="*/ 27947 w 28575"/>
                <a:gd name="connsiteY24" fmla="*/ 9507 h 28575"/>
                <a:gd name="connsiteX25" fmla="*/ 27947 w 28575"/>
                <a:gd name="connsiteY25" fmla="*/ 13194 h 28575"/>
                <a:gd name="connsiteX26" fmla="*/ 31636 w 28575"/>
                <a:gd name="connsiteY26" fmla="*/ 16889 h 28575"/>
                <a:gd name="connsiteX27" fmla="*/ 31636 w 28575"/>
                <a:gd name="connsiteY27" fmla="*/ 20575 h 28575"/>
                <a:gd name="connsiteX28" fmla="*/ 31636 w 28575"/>
                <a:gd name="connsiteY28" fmla="*/ 24271 h 28575"/>
                <a:gd name="connsiteX29" fmla="*/ 31636 w 28575"/>
                <a:gd name="connsiteY29" fmla="*/ 24271 h 28575"/>
                <a:gd name="connsiteX30" fmla="*/ 31636 w 28575"/>
                <a:gd name="connsiteY30" fmla="*/ 24271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8575" h="28575">
                  <a:moveTo>
                    <a:pt x="31636" y="24271"/>
                  </a:moveTo>
                  <a:lnTo>
                    <a:pt x="31636" y="20575"/>
                  </a:lnTo>
                  <a:lnTo>
                    <a:pt x="27947" y="16889"/>
                  </a:lnTo>
                  <a:lnTo>
                    <a:pt x="24257" y="13194"/>
                  </a:lnTo>
                  <a:lnTo>
                    <a:pt x="24257" y="16889"/>
                  </a:lnTo>
                  <a:lnTo>
                    <a:pt x="20568" y="16889"/>
                  </a:lnTo>
                  <a:lnTo>
                    <a:pt x="13190" y="9507"/>
                  </a:lnTo>
                  <a:lnTo>
                    <a:pt x="16879" y="5812"/>
                  </a:lnTo>
                  <a:lnTo>
                    <a:pt x="16879" y="5812"/>
                  </a:lnTo>
                  <a:lnTo>
                    <a:pt x="13190" y="5812"/>
                  </a:lnTo>
                  <a:lnTo>
                    <a:pt x="13190" y="9507"/>
                  </a:lnTo>
                  <a:lnTo>
                    <a:pt x="5812" y="9507"/>
                  </a:lnTo>
                  <a:lnTo>
                    <a:pt x="5812" y="5812"/>
                  </a:lnTo>
                  <a:lnTo>
                    <a:pt x="13190" y="5812"/>
                  </a:lnTo>
                  <a:lnTo>
                    <a:pt x="13190" y="5812"/>
                  </a:lnTo>
                  <a:lnTo>
                    <a:pt x="24257" y="5812"/>
                  </a:lnTo>
                  <a:lnTo>
                    <a:pt x="27947" y="5812"/>
                  </a:lnTo>
                  <a:lnTo>
                    <a:pt x="27947" y="5812"/>
                  </a:lnTo>
                  <a:lnTo>
                    <a:pt x="24257" y="5812"/>
                  </a:lnTo>
                  <a:lnTo>
                    <a:pt x="24257" y="5812"/>
                  </a:lnTo>
                  <a:lnTo>
                    <a:pt x="20568" y="5812"/>
                  </a:lnTo>
                  <a:lnTo>
                    <a:pt x="20568" y="5812"/>
                  </a:lnTo>
                  <a:lnTo>
                    <a:pt x="20568" y="9507"/>
                  </a:lnTo>
                  <a:lnTo>
                    <a:pt x="20568" y="9507"/>
                  </a:lnTo>
                  <a:lnTo>
                    <a:pt x="27947" y="9507"/>
                  </a:lnTo>
                  <a:lnTo>
                    <a:pt x="27947" y="13194"/>
                  </a:lnTo>
                  <a:lnTo>
                    <a:pt x="31636" y="16889"/>
                  </a:lnTo>
                  <a:lnTo>
                    <a:pt x="31636" y="20575"/>
                  </a:lnTo>
                  <a:lnTo>
                    <a:pt x="31636" y="24271"/>
                  </a:lnTo>
                  <a:lnTo>
                    <a:pt x="31636" y="24271"/>
                  </a:lnTo>
                  <a:lnTo>
                    <a:pt x="31636" y="24271"/>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100" name="Freeform: Shape 99">
              <a:extLst>
                <a:ext uri="{FF2B5EF4-FFF2-40B4-BE49-F238E27FC236}">
                  <a16:creationId xmlns:a16="http://schemas.microsoft.com/office/drawing/2014/main" id="{B22861E2-6B72-4550-8A12-D65DAE1432BA}"/>
                </a:ext>
              </a:extLst>
            </p:cNvPr>
            <p:cNvSpPr/>
            <p:nvPr/>
          </p:nvSpPr>
          <p:spPr>
            <a:xfrm>
              <a:off x="1208396" y="4986434"/>
              <a:ext cx="15373" cy="15373"/>
            </a:xfrm>
            <a:custGeom>
              <a:avLst/>
              <a:gdLst>
                <a:gd name="connsiteX0" fmla="*/ 9501 w 9525"/>
                <a:gd name="connsiteY0" fmla="*/ 9507 h 9525"/>
                <a:gd name="connsiteX1" fmla="*/ 9501 w 9525"/>
                <a:gd name="connsiteY1" fmla="*/ 5812 h 9525"/>
                <a:gd name="connsiteX2" fmla="*/ 5812 w 9525"/>
                <a:gd name="connsiteY2" fmla="*/ 5812 h 9525"/>
                <a:gd name="connsiteX3" fmla="*/ 9501 w 9525"/>
                <a:gd name="connsiteY3" fmla="*/ 5812 h 9525"/>
                <a:gd name="connsiteX4" fmla="*/ 9501 w 9525"/>
                <a:gd name="connsiteY4" fmla="*/ 5812 h 9525"/>
                <a:gd name="connsiteX5" fmla="*/ 9501 w 9525"/>
                <a:gd name="connsiteY5" fmla="*/ 9507 h 9525"/>
                <a:gd name="connsiteX6" fmla="*/ 9501 w 9525"/>
                <a:gd name="connsiteY6" fmla="*/ 9507 h 9525"/>
                <a:gd name="connsiteX7" fmla="*/ 9501 w 9525"/>
                <a:gd name="connsiteY7" fmla="*/ 9507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 h="9525">
                  <a:moveTo>
                    <a:pt x="9501" y="9507"/>
                  </a:moveTo>
                  <a:lnTo>
                    <a:pt x="9501" y="5812"/>
                  </a:lnTo>
                  <a:lnTo>
                    <a:pt x="5812" y="5812"/>
                  </a:lnTo>
                  <a:lnTo>
                    <a:pt x="9501" y="5812"/>
                  </a:lnTo>
                  <a:lnTo>
                    <a:pt x="9501" y="5812"/>
                  </a:lnTo>
                  <a:lnTo>
                    <a:pt x="9501" y="9507"/>
                  </a:lnTo>
                  <a:lnTo>
                    <a:pt x="9501" y="9507"/>
                  </a:lnTo>
                  <a:lnTo>
                    <a:pt x="9501" y="9507"/>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101" name="Freeform: Shape 100">
              <a:extLst>
                <a:ext uri="{FF2B5EF4-FFF2-40B4-BE49-F238E27FC236}">
                  <a16:creationId xmlns:a16="http://schemas.microsoft.com/office/drawing/2014/main" id="{06B3DD5C-43F9-4E9B-B74D-18C110A87325}"/>
                </a:ext>
              </a:extLst>
            </p:cNvPr>
            <p:cNvSpPr/>
            <p:nvPr/>
          </p:nvSpPr>
          <p:spPr>
            <a:xfrm>
              <a:off x="1029775" y="4909004"/>
              <a:ext cx="215217" cy="107609"/>
            </a:xfrm>
            <a:custGeom>
              <a:avLst/>
              <a:gdLst>
                <a:gd name="connsiteX0" fmla="*/ 109108 w 133350"/>
                <a:gd name="connsiteY0" fmla="*/ 5812 h 66675"/>
                <a:gd name="connsiteX1" fmla="*/ 109108 w 133350"/>
                <a:gd name="connsiteY1" fmla="*/ 5812 h 66675"/>
                <a:gd name="connsiteX2" fmla="*/ 112797 w 133350"/>
                <a:gd name="connsiteY2" fmla="*/ 5812 h 66675"/>
                <a:gd name="connsiteX3" fmla="*/ 112797 w 133350"/>
                <a:gd name="connsiteY3" fmla="*/ 5812 h 66675"/>
                <a:gd name="connsiteX4" fmla="*/ 112797 w 133350"/>
                <a:gd name="connsiteY4" fmla="*/ 9507 h 66675"/>
                <a:gd name="connsiteX5" fmla="*/ 116487 w 133350"/>
                <a:gd name="connsiteY5" fmla="*/ 9507 h 66675"/>
                <a:gd name="connsiteX6" fmla="*/ 120176 w 133350"/>
                <a:gd name="connsiteY6" fmla="*/ 9507 h 66675"/>
                <a:gd name="connsiteX7" fmla="*/ 123865 w 133350"/>
                <a:gd name="connsiteY7" fmla="*/ 13193 h 66675"/>
                <a:gd name="connsiteX8" fmla="*/ 123865 w 133350"/>
                <a:gd name="connsiteY8" fmla="*/ 16889 h 66675"/>
                <a:gd name="connsiteX9" fmla="*/ 127554 w 133350"/>
                <a:gd name="connsiteY9" fmla="*/ 24271 h 66675"/>
                <a:gd name="connsiteX10" fmla="*/ 131243 w 133350"/>
                <a:gd name="connsiteY10" fmla="*/ 27957 h 66675"/>
                <a:gd name="connsiteX11" fmla="*/ 131243 w 133350"/>
                <a:gd name="connsiteY11" fmla="*/ 31653 h 66675"/>
                <a:gd name="connsiteX12" fmla="*/ 131243 w 133350"/>
                <a:gd name="connsiteY12" fmla="*/ 31653 h 66675"/>
                <a:gd name="connsiteX13" fmla="*/ 134932 w 133350"/>
                <a:gd name="connsiteY13" fmla="*/ 31653 h 66675"/>
                <a:gd name="connsiteX14" fmla="*/ 134932 w 133350"/>
                <a:gd name="connsiteY14" fmla="*/ 35339 h 66675"/>
                <a:gd name="connsiteX15" fmla="*/ 134932 w 133350"/>
                <a:gd name="connsiteY15" fmla="*/ 39035 h 66675"/>
                <a:gd name="connsiteX16" fmla="*/ 134932 w 133350"/>
                <a:gd name="connsiteY16" fmla="*/ 39035 h 66675"/>
                <a:gd name="connsiteX17" fmla="*/ 134932 w 133350"/>
                <a:gd name="connsiteY17" fmla="*/ 42721 h 66675"/>
                <a:gd name="connsiteX18" fmla="*/ 134932 w 133350"/>
                <a:gd name="connsiteY18" fmla="*/ 42721 h 66675"/>
                <a:gd name="connsiteX19" fmla="*/ 131243 w 133350"/>
                <a:gd name="connsiteY19" fmla="*/ 46417 h 66675"/>
                <a:gd name="connsiteX20" fmla="*/ 123865 w 133350"/>
                <a:gd name="connsiteY20" fmla="*/ 46417 h 66675"/>
                <a:gd name="connsiteX21" fmla="*/ 123865 w 133350"/>
                <a:gd name="connsiteY21" fmla="*/ 46417 h 66675"/>
                <a:gd name="connsiteX22" fmla="*/ 123865 w 133350"/>
                <a:gd name="connsiteY22" fmla="*/ 46417 h 66675"/>
                <a:gd name="connsiteX23" fmla="*/ 120176 w 133350"/>
                <a:gd name="connsiteY23" fmla="*/ 53789 h 66675"/>
                <a:gd name="connsiteX24" fmla="*/ 120176 w 133350"/>
                <a:gd name="connsiteY24" fmla="*/ 53789 h 66675"/>
                <a:gd name="connsiteX25" fmla="*/ 112797 w 133350"/>
                <a:gd name="connsiteY25" fmla="*/ 53789 h 66675"/>
                <a:gd name="connsiteX26" fmla="*/ 109108 w 133350"/>
                <a:gd name="connsiteY26" fmla="*/ 50103 h 66675"/>
                <a:gd name="connsiteX27" fmla="*/ 105419 w 133350"/>
                <a:gd name="connsiteY27" fmla="*/ 46417 h 66675"/>
                <a:gd name="connsiteX28" fmla="*/ 105419 w 133350"/>
                <a:gd name="connsiteY28" fmla="*/ 46417 h 66675"/>
                <a:gd name="connsiteX29" fmla="*/ 98041 w 133350"/>
                <a:gd name="connsiteY29" fmla="*/ 46417 h 66675"/>
                <a:gd name="connsiteX30" fmla="*/ 94352 w 133350"/>
                <a:gd name="connsiteY30" fmla="*/ 46417 h 66675"/>
                <a:gd name="connsiteX31" fmla="*/ 94352 w 133350"/>
                <a:gd name="connsiteY31" fmla="*/ 50103 h 66675"/>
                <a:gd name="connsiteX32" fmla="*/ 90662 w 133350"/>
                <a:gd name="connsiteY32" fmla="*/ 50103 h 66675"/>
                <a:gd name="connsiteX33" fmla="*/ 90662 w 133350"/>
                <a:gd name="connsiteY33" fmla="*/ 50103 h 66675"/>
                <a:gd name="connsiteX34" fmla="*/ 86973 w 133350"/>
                <a:gd name="connsiteY34" fmla="*/ 50103 h 66675"/>
                <a:gd name="connsiteX35" fmla="*/ 79595 w 133350"/>
                <a:gd name="connsiteY35" fmla="*/ 50103 h 66675"/>
                <a:gd name="connsiteX36" fmla="*/ 75906 w 133350"/>
                <a:gd name="connsiteY36" fmla="*/ 46417 h 66675"/>
                <a:gd name="connsiteX37" fmla="*/ 68528 w 133350"/>
                <a:gd name="connsiteY37" fmla="*/ 46417 h 66675"/>
                <a:gd name="connsiteX38" fmla="*/ 53771 w 133350"/>
                <a:gd name="connsiteY38" fmla="*/ 50103 h 66675"/>
                <a:gd name="connsiteX39" fmla="*/ 50082 w 133350"/>
                <a:gd name="connsiteY39" fmla="*/ 53789 h 66675"/>
                <a:gd name="connsiteX40" fmla="*/ 46393 w 133350"/>
                <a:gd name="connsiteY40" fmla="*/ 61171 h 66675"/>
                <a:gd name="connsiteX41" fmla="*/ 42703 w 133350"/>
                <a:gd name="connsiteY41" fmla="*/ 61171 h 66675"/>
                <a:gd name="connsiteX42" fmla="*/ 39014 w 133350"/>
                <a:gd name="connsiteY42" fmla="*/ 68553 h 66675"/>
                <a:gd name="connsiteX43" fmla="*/ 39014 w 133350"/>
                <a:gd name="connsiteY43" fmla="*/ 68553 h 66675"/>
                <a:gd name="connsiteX44" fmla="*/ 39014 w 133350"/>
                <a:gd name="connsiteY44" fmla="*/ 64867 h 66675"/>
                <a:gd name="connsiteX45" fmla="*/ 35325 w 133350"/>
                <a:gd name="connsiteY45" fmla="*/ 61171 h 66675"/>
                <a:gd name="connsiteX46" fmla="*/ 39014 w 133350"/>
                <a:gd name="connsiteY46" fmla="*/ 57485 h 66675"/>
                <a:gd name="connsiteX47" fmla="*/ 39014 w 133350"/>
                <a:gd name="connsiteY47" fmla="*/ 53789 h 66675"/>
                <a:gd name="connsiteX48" fmla="*/ 39014 w 133350"/>
                <a:gd name="connsiteY48" fmla="*/ 50103 h 66675"/>
                <a:gd name="connsiteX49" fmla="*/ 31636 w 133350"/>
                <a:gd name="connsiteY49" fmla="*/ 42721 h 66675"/>
                <a:gd name="connsiteX50" fmla="*/ 35325 w 133350"/>
                <a:gd name="connsiteY50" fmla="*/ 42721 h 66675"/>
                <a:gd name="connsiteX51" fmla="*/ 35325 w 133350"/>
                <a:gd name="connsiteY51" fmla="*/ 39035 h 66675"/>
                <a:gd name="connsiteX52" fmla="*/ 39014 w 133350"/>
                <a:gd name="connsiteY52" fmla="*/ 35339 h 66675"/>
                <a:gd name="connsiteX53" fmla="*/ 39014 w 133350"/>
                <a:gd name="connsiteY53" fmla="*/ 35339 h 66675"/>
                <a:gd name="connsiteX54" fmla="*/ 35325 w 133350"/>
                <a:gd name="connsiteY54" fmla="*/ 39035 h 66675"/>
                <a:gd name="connsiteX55" fmla="*/ 35325 w 133350"/>
                <a:gd name="connsiteY55" fmla="*/ 39035 h 66675"/>
                <a:gd name="connsiteX56" fmla="*/ 31636 w 133350"/>
                <a:gd name="connsiteY56" fmla="*/ 42721 h 66675"/>
                <a:gd name="connsiteX57" fmla="*/ 31636 w 133350"/>
                <a:gd name="connsiteY57" fmla="*/ 42721 h 66675"/>
                <a:gd name="connsiteX58" fmla="*/ 27947 w 133350"/>
                <a:gd name="connsiteY58" fmla="*/ 39035 h 66675"/>
                <a:gd name="connsiteX59" fmla="*/ 24258 w 133350"/>
                <a:gd name="connsiteY59" fmla="*/ 35339 h 66675"/>
                <a:gd name="connsiteX60" fmla="*/ 20568 w 133350"/>
                <a:gd name="connsiteY60" fmla="*/ 35339 h 66675"/>
                <a:gd name="connsiteX61" fmla="*/ 16879 w 133350"/>
                <a:gd name="connsiteY61" fmla="*/ 31653 h 66675"/>
                <a:gd name="connsiteX62" fmla="*/ 13190 w 133350"/>
                <a:gd name="connsiteY62" fmla="*/ 31653 h 66675"/>
                <a:gd name="connsiteX63" fmla="*/ 13190 w 133350"/>
                <a:gd name="connsiteY63" fmla="*/ 24271 h 66675"/>
                <a:gd name="connsiteX64" fmla="*/ 9501 w 133350"/>
                <a:gd name="connsiteY64" fmla="*/ 24271 h 66675"/>
                <a:gd name="connsiteX65" fmla="*/ 9501 w 133350"/>
                <a:gd name="connsiteY65" fmla="*/ 20575 h 66675"/>
                <a:gd name="connsiteX66" fmla="*/ 9501 w 133350"/>
                <a:gd name="connsiteY66" fmla="*/ 16889 h 66675"/>
                <a:gd name="connsiteX67" fmla="*/ 13190 w 133350"/>
                <a:gd name="connsiteY67" fmla="*/ 16889 h 66675"/>
                <a:gd name="connsiteX68" fmla="*/ 13190 w 133350"/>
                <a:gd name="connsiteY68" fmla="*/ 16889 h 66675"/>
                <a:gd name="connsiteX69" fmla="*/ 9501 w 133350"/>
                <a:gd name="connsiteY69" fmla="*/ 16889 h 66675"/>
                <a:gd name="connsiteX70" fmla="*/ 5812 w 133350"/>
                <a:gd name="connsiteY70" fmla="*/ 16889 h 66675"/>
                <a:gd name="connsiteX71" fmla="*/ 5812 w 133350"/>
                <a:gd name="connsiteY71" fmla="*/ 16889 h 66675"/>
                <a:gd name="connsiteX72" fmla="*/ 5812 w 133350"/>
                <a:gd name="connsiteY72" fmla="*/ 16889 h 66675"/>
                <a:gd name="connsiteX73" fmla="*/ 16879 w 133350"/>
                <a:gd name="connsiteY73" fmla="*/ 13193 h 66675"/>
                <a:gd name="connsiteX74" fmla="*/ 27947 w 133350"/>
                <a:gd name="connsiteY74" fmla="*/ 9507 h 66675"/>
                <a:gd name="connsiteX75" fmla="*/ 27947 w 133350"/>
                <a:gd name="connsiteY75" fmla="*/ 5812 h 66675"/>
                <a:gd name="connsiteX76" fmla="*/ 27947 w 133350"/>
                <a:gd name="connsiteY76" fmla="*/ 5812 h 66675"/>
                <a:gd name="connsiteX77" fmla="*/ 31636 w 133350"/>
                <a:gd name="connsiteY77" fmla="*/ 5812 h 66675"/>
                <a:gd name="connsiteX78" fmla="*/ 31636 w 133350"/>
                <a:gd name="connsiteY78" fmla="*/ 5812 h 66675"/>
                <a:gd name="connsiteX79" fmla="*/ 31636 w 133350"/>
                <a:gd name="connsiteY79" fmla="*/ 9507 h 66675"/>
                <a:gd name="connsiteX80" fmla="*/ 35325 w 133350"/>
                <a:gd name="connsiteY80" fmla="*/ 9507 h 66675"/>
                <a:gd name="connsiteX81" fmla="*/ 39014 w 133350"/>
                <a:gd name="connsiteY81" fmla="*/ 9507 h 66675"/>
                <a:gd name="connsiteX82" fmla="*/ 42703 w 133350"/>
                <a:gd name="connsiteY82" fmla="*/ 13193 h 66675"/>
                <a:gd name="connsiteX83" fmla="*/ 46393 w 133350"/>
                <a:gd name="connsiteY83" fmla="*/ 13193 h 66675"/>
                <a:gd name="connsiteX84" fmla="*/ 50082 w 133350"/>
                <a:gd name="connsiteY84" fmla="*/ 16889 h 66675"/>
                <a:gd name="connsiteX85" fmla="*/ 50082 w 133350"/>
                <a:gd name="connsiteY85" fmla="*/ 16889 h 66675"/>
                <a:gd name="connsiteX86" fmla="*/ 53771 w 133350"/>
                <a:gd name="connsiteY86" fmla="*/ 16889 h 66675"/>
                <a:gd name="connsiteX87" fmla="*/ 57460 w 133350"/>
                <a:gd name="connsiteY87" fmla="*/ 13193 h 66675"/>
                <a:gd name="connsiteX88" fmla="*/ 61149 w 133350"/>
                <a:gd name="connsiteY88" fmla="*/ 13193 h 66675"/>
                <a:gd name="connsiteX89" fmla="*/ 68528 w 133350"/>
                <a:gd name="connsiteY89" fmla="*/ 9507 h 66675"/>
                <a:gd name="connsiteX90" fmla="*/ 68528 w 133350"/>
                <a:gd name="connsiteY90" fmla="*/ 9507 h 66675"/>
                <a:gd name="connsiteX91" fmla="*/ 75906 w 133350"/>
                <a:gd name="connsiteY91" fmla="*/ 13193 h 66675"/>
                <a:gd name="connsiteX92" fmla="*/ 79595 w 133350"/>
                <a:gd name="connsiteY92" fmla="*/ 9507 h 66675"/>
                <a:gd name="connsiteX93" fmla="*/ 79595 w 133350"/>
                <a:gd name="connsiteY93" fmla="*/ 9507 h 66675"/>
                <a:gd name="connsiteX94" fmla="*/ 86973 w 133350"/>
                <a:gd name="connsiteY94" fmla="*/ 5812 h 66675"/>
                <a:gd name="connsiteX95" fmla="*/ 86973 w 133350"/>
                <a:gd name="connsiteY95" fmla="*/ 5812 h 66675"/>
                <a:gd name="connsiteX96" fmla="*/ 94352 w 133350"/>
                <a:gd name="connsiteY96" fmla="*/ 5812 h 66675"/>
                <a:gd name="connsiteX97" fmla="*/ 98041 w 133350"/>
                <a:gd name="connsiteY97" fmla="*/ 9507 h 66675"/>
                <a:gd name="connsiteX98" fmla="*/ 105419 w 133350"/>
                <a:gd name="connsiteY98" fmla="*/ 5812 h 66675"/>
                <a:gd name="connsiteX99" fmla="*/ 109108 w 133350"/>
                <a:gd name="connsiteY99" fmla="*/ 5812 h 66675"/>
                <a:gd name="connsiteX100" fmla="*/ 109108 w 133350"/>
                <a:gd name="connsiteY100" fmla="*/ 5812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33350" h="66675">
                  <a:moveTo>
                    <a:pt x="109108" y="5812"/>
                  </a:moveTo>
                  <a:lnTo>
                    <a:pt x="109108" y="5812"/>
                  </a:lnTo>
                  <a:lnTo>
                    <a:pt x="112797" y="5812"/>
                  </a:lnTo>
                  <a:lnTo>
                    <a:pt x="112797" y="5812"/>
                  </a:lnTo>
                  <a:lnTo>
                    <a:pt x="112797" y="9507"/>
                  </a:lnTo>
                  <a:lnTo>
                    <a:pt x="116487" y="9507"/>
                  </a:lnTo>
                  <a:lnTo>
                    <a:pt x="120176" y="9507"/>
                  </a:lnTo>
                  <a:lnTo>
                    <a:pt x="123865" y="13193"/>
                  </a:lnTo>
                  <a:lnTo>
                    <a:pt x="123865" y="16889"/>
                  </a:lnTo>
                  <a:lnTo>
                    <a:pt x="127554" y="24271"/>
                  </a:lnTo>
                  <a:lnTo>
                    <a:pt x="131243" y="27957"/>
                  </a:lnTo>
                  <a:lnTo>
                    <a:pt x="131243" y="31653"/>
                  </a:lnTo>
                  <a:lnTo>
                    <a:pt x="131243" y="31653"/>
                  </a:lnTo>
                  <a:lnTo>
                    <a:pt x="134932" y="31653"/>
                  </a:lnTo>
                  <a:lnTo>
                    <a:pt x="134932" y="35339"/>
                  </a:lnTo>
                  <a:lnTo>
                    <a:pt x="134932" y="39035"/>
                  </a:lnTo>
                  <a:lnTo>
                    <a:pt x="134932" y="39035"/>
                  </a:lnTo>
                  <a:lnTo>
                    <a:pt x="134932" y="42721"/>
                  </a:lnTo>
                  <a:lnTo>
                    <a:pt x="134932" y="42721"/>
                  </a:lnTo>
                  <a:lnTo>
                    <a:pt x="131243" y="46417"/>
                  </a:lnTo>
                  <a:lnTo>
                    <a:pt x="123865" y="46417"/>
                  </a:lnTo>
                  <a:lnTo>
                    <a:pt x="123865" y="46417"/>
                  </a:lnTo>
                  <a:lnTo>
                    <a:pt x="123865" y="46417"/>
                  </a:lnTo>
                  <a:lnTo>
                    <a:pt x="120176" y="53789"/>
                  </a:lnTo>
                  <a:lnTo>
                    <a:pt x="120176" y="53789"/>
                  </a:lnTo>
                  <a:lnTo>
                    <a:pt x="112797" y="53789"/>
                  </a:lnTo>
                  <a:lnTo>
                    <a:pt x="109108" y="50103"/>
                  </a:lnTo>
                  <a:lnTo>
                    <a:pt x="105419" y="46417"/>
                  </a:lnTo>
                  <a:lnTo>
                    <a:pt x="105419" y="46417"/>
                  </a:lnTo>
                  <a:lnTo>
                    <a:pt x="98041" y="46417"/>
                  </a:lnTo>
                  <a:lnTo>
                    <a:pt x="94352" y="46417"/>
                  </a:lnTo>
                  <a:lnTo>
                    <a:pt x="94352" y="50103"/>
                  </a:lnTo>
                  <a:lnTo>
                    <a:pt x="90662" y="50103"/>
                  </a:lnTo>
                  <a:lnTo>
                    <a:pt x="90662" y="50103"/>
                  </a:lnTo>
                  <a:lnTo>
                    <a:pt x="86973" y="50103"/>
                  </a:lnTo>
                  <a:lnTo>
                    <a:pt x="79595" y="50103"/>
                  </a:lnTo>
                  <a:lnTo>
                    <a:pt x="75906" y="46417"/>
                  </a:lnTo>
                  <a:lnTo>
                    <a:pt x="68528" y="46417"/>
                  </a:lnTo>
                  <a:lnTo>
                    <a:pt x="53771" y="50103"/>
                  </a:lnTo>
                  <a:lnTo>
                    <a:pt x="50082" y="53789"/>
                  </a:lnTo>
                  <a:lnTo>
                    <a:pt x="46393" y="61171"/>
                  </a:lnTo>
                  <a:lnTo>
                    <a:pt x="42703" y="61171"/>
                  </a:lnTo>
                  <a:lnTo>
                    <a:pt x="39014" y="68553"/>
                  </a:lnTo>
                  <a:lnTo>
                    <a:pt x="39014" y="68553"/>
                  </a:lnTo>
                  <a:lnTo>
                    <a:pt x="39014" y="64867"/>
                  </a:lnTo>
                  <a:lnTo>
                    <a:pt x="35325" y="61171"/>
                  </a:lnTo>
                  <a:lnTo>
                    <a:pt x="39014" y="57485"/>
                  </a:lnTo>
                  <a:lnTo>
                    <a:pt x="39014" y="53789"/>
                  </a:lnTo>
                  <a:lnTo>
                    <a:pt x="39014" y="50103"/>
                  </a:lnTo>
                  <a:lnTo>
                    <a:pt x="31636" y="42721"/>
                  </a:lnTo>
                  <a:lnTo>
                    <a:pt x="35325" y="42721"/>
                  </a:lnTo>
                  <a:lnTo>
                    <a:pt x="35325" y="39035"/>
                  </a:lnTo>
                  <a:lnTo>
                    <a:pt x="39014" y="35339"/>
                  </a:lnTo>
                  <a:lnTo>
                    <a:pt x="39014" y="35339"/>
                  </a:lnTo>
                  <a:lnTo>
                    <a:pt x="35325" y="39035"/>
                  </a:lnTo>
                  <a:lnTo>
                    <a:pt x="35325" y="39035"/>
                  </a:lnTo>
                  <a:lnTo>
                    <a:pt x="31636" y="42721"/>
                  </a:lnTo>
                  <a:lnTo>
                    <a:pt x="31636" y="42721"/>
                  </a:lnTo>
                  <a:lnTo>
                    <a:pt x="27947" y="39035"/>
                  </a:lnTo>
                  <a:lnTo>
                    <a:pt x="24258" y="35339"/>
                  </a:lnTo>
                  <a:lnTo>
                    <a:pt x="20568" y="35339"/>
                  </a:lnTo>
                  <a:lnTo>
                    <a:pt x="16879" y="31653"/>
                  </a:lnTo>
                  <a:lnTo>
                    <a:pt x="13190" y="31653"/>
                  </a:lnTo>
                  <a:lnTo>
                    <a:pt x="13190" y="24271"/>
                  </a:lnTo>
                  <a:lnTo>
                    <a:pt x="9501" y="24271"/>
                  </a:lnTo>
                  <a:lnTo>
                    <a:pt x="9501" y="20575"/>
                  </a:lnTo>
                  <a:lnTo>
                    <a:pt x="9501" y="16889"/>
                  </a:lnTo>
                  <a:lnTo>
                    <a:pt x="13190" y="16889"/>
                  </a:lnTo>
                  <a:lnTo>
                    <a:pt x="13190" y="16889"/>
                  </a:lnTo>
                  <a:lnTo>
                    <a:pt x="9501" y="16889"/>
                  </a:lnTo>
                  <a:lnTo>
                    <a:pt x="5812" y="16889"/>
                  </a:lnTo>
                  <a:lnTo>
                    <a:pt x="5812" y="16889"/>
                  </a:lnTo>
                  <a:lnTo>
                    <a:pt x="5812" y="16889"/>
                  </a:lnTo>
                  <a:lnTo>
                    <a:pt x="16879" y="13193"/>
                  </a:lnTo>
                  <a:lnTo>
                    <a:pt x="27947" y="9507"/>
                  </a:lnTo>
                  <a:lnTo>
                    <a:pt x="27947" y="5812"/>
                  </a:lnTo>
                  <a:lnTo>
                    <a:pt x="27947" y="5812"/>
                  </a:lnTo>
                  <a:lnTo>
                    <a:pt x="31636" y="5812"/>
                  </a:lnTo>
                  <a:lnTo>
                    <a:pt x="31636" y="5812"/>
                  </a:lnTo>
                  <a:lnTo>
                    <a:pt x="31636" y="9507"/>
                  </a:lnTo>
                  <a:lnTo>
                    <a:pt x="35325" y="9507"/>
                  </a:lnTo>
                  <a:lnTo>
                    <a:pt x="39014" y="9507"/>
                  </a:lnTo>
                  <a:lnTo>
                    <a:pt x="42703" y="13193"/>
                  </a:lnTo>
                  <a:lnTo>
                    <a:pt x="46393" y="13193"/>
                  </a:lnTo>
                  <a:lnTo>
                    <a:pt x="50082" y="16889"/>
                  </a:lnTo>
                  <a:lnTo>
                    <a:pt x="50082" y="16889"/>
                  </a:lnTo>
                  <a:lnTo>
                    <a:pt x="53771" y="16889"/>
                  </a:lnTo>
                  <a:lnTo>
                    <a:pt x="57460" y="13193"/>
                  </a:lnTo>
                  <a:lnTo>
                    <a:pt x="61149" y="13193"/>
                  </a:lnTo>
                  <a:lnTo>
                    <a:pt x="68528" y="9507"/>
                  </a:lnTo>
                  <a:lnTo>
                    <a:pt x="68528" y="9507"/>
                  </a:lnTo>
                  <a:lnTo>
                    <a:pt x="75906" y="13193"/>
                  </a:lnTo>
                  <a:lnTo>
                    <a:pt x="79595" y="9507"/>
                  </a:lnTo>
                  <a:lnTo>
                    <a:pt x="79595" y="9507"/>
                  </a:lnTo>
                  <a:lnTo>
                    <a:pt x="86973" y="5812"/>
                  </a:lnTo>
                  <a:lnTo>
                    <a:pt x="86973" y="5812"/>
                  </a:lnTo>
                  <a:lnTo>
                    <a:pt x="94352" y="5812"/>
                  </a:lnTo>
                  <a:lnTo>
                    <a:pt x="98041" y="9507"/>
                  </a:lnTo>
                  <a:lnTo>
                    <a:pt x="105419" y="5812"/>
                  </a:lnTo>
                  <a:lnTo>
                    <a:pt x="109108" y="5812"/>
                  </a:lnTo>
                  <a:lnTo>
                    <a:pt x="109108" y="5812"/>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102" name="Freeform: Shape 101">
              <a:extLst>
                <a:ext uri="{FF2B5EF4-FFF2-40B4-BE49-F238E27FC236}">
                  <a16:creationId xmlns:a16="http://schemas.microsoft.com/office/drawing/2014/main" id="{4E4894A1-E6A4-4EC9-A5B6-730A476B9A12}"/>
                </a:ext>
              </a:extLst>
            </p:cNvPr>
            <p:cNvSpPr/>
            <p:nvPr/>
          </p:nvSpPr>
          <p:spPr>
            <a:xfrm>
              <a:off x="869015" y="4849451"/>
              <a:ext cx="676397" cy="368945"/>
            </a:xfrm>
            <a:custGeom>
              <a:avLst/>
              <a:gdLst>
                <a:gd name="connsiteX0" fmla="*/ 345216 w 419100"/>
                <a:gd name="connsiteY0" fmla="*/ 5812 h 228600"/>
                <a:gd name="connsiteX1" fmla="*/ 345216 w 419100"/>
                <a:gd name="connsiteY1" fmla="*/ 9498 h 228600"/>
                <a:gd name="connsiteX2" fmla="*/ 337838 w 419100"/>
                <a:gd name="connsiteY2" fmla="*/ 16880 h 228600"/>
                <a:gd name="connsiteX3" fmla="*/ 334149 w 419100"/>
                <a:gd name="connsiteY3" fmla="*/ 16880 h 228600"/>
                <a:gd name="connsiteX4" fmla="*/ 337838 w 419100"/>
                <a:gd name="connsiteY4" fmla="*/ 24261 h 228600"/>
                <a:gd name="connsiteX5" fmla="*/ 341527 w 419100"/>
                <a:gd name="connsiteY5" fmla="*/ 24261 h 228600"/>
                <a:gd name="connsiteX6" fmla="*/ 345216 w 419100"/>
                <a:gd name="connsiteY6" fmla="*/ 31643 h 228600"/>
                <a:gd name="connsiteX7" fmla="*/ 348905 w 419100"/>
                <a:gd name="connsiteY7" fmla="*/ 39025 h 228600"/>
                <a:gd name="connsiteX8" fmla="*/ 356284 w 419100"/>
                <a:gd name="connsiteY8" fmla="*/ 39025 h 228600"/>
                <a:gd name="connsiteX9" fmla="*/ 363662 w 419100"/>
                <a:gd name="connsiteY9" fmla="*/ 39025 h 228600"/>
                <a:gd name="connsiteX10" fmla="*/ 367351 w 419100"/>
                <a:gd name="connsiteY10" fmla="*/ 39025 h 228600"/>
                <a:gd name="connsiteX11" fmla="*/ 371040 w 419100"/>
                <a:gd name="connsiteY11" fmla="*/ 39025 h 228600"/>
                <a:gd name="connsiteX12" fmla="*/ 371040 w 419100"/>
                <a:gd name="connsiteY12" fmla="*/ 35339 h 228600"/>
                <a:gd name="connsiteX13" fmla="*/ 374730 w 419100"/>
                <a:gd name="connsiteY13" fmla="*/ 35339 h 228600"/>
                <a:gd name="connsiteX14" fmla="*/ 374730 w 419100"/>
                <a:gd name="connsiteY14" fmla="*/ 39025 h 228600"/>
                <a:gd name="connsiteX15" fmla="*/ 374730 w 419100"/>
                <a:gd name="connsiteY15" fmla="*/ 42711 h 228600"/>
                <a:gd name="connsiteX16" fmla="*/ 371040 w 419100"/>
                <a:gd name="connsiteY16" fmla="*/ 46407 h 228600"/>
                <a:gd name="connsiteX17" fmla="*/ 367351 w 419100"/>
                <a:gd name="connsiteY17" fmla="*/ 46407 h 228600"/>
                <a:gd name="connsiteX18" fmla="*/ 363662 w 419100"/>
                <a:gd name="connsiteY18" fmla="*/ 46407 h 228600"/>
                <a:gd name="connsiteX19" fmla="*/ 359973 w 419100"/>
                <a:gd name="connsiteY19" fmla="*/ 46407 h 228600"/>
                <a:gd name="connsiteX20" fmla="*/ 356284 w 419100"/>
                <a:gd name="connsiteY20" fmla="*/ 46407 h 228600"/>
                <a:gd name="connsiteX21" fmla="*/ 352594 w 419100"/>
                <a:gd name="connsiteY21" fmla="*/ 46407 h 228600"/>
                <a:gd name="connsiteX22" fmla="*/ 348905 w 419100"/>
                <a:gd name="connsiteY22" fmla="*/ 50093 h 228600"/>
                <a:gd name="connsiteX23" fmla="*/ 345216 w 419100"/>
                <a:gd name="connsiteY23" fmla="*/ 50093 h 228600"/>
                <a:gd name="connsiteX24" fmla="*/ 337838 w 419100"/>
                <a:gd name="connsiteY24" fmla="*/ 42711 h 228600"/>
                <a:gd name="connsiteX25" fmla="*/ 323081 w 419100"/>
                <a:gd name="connsiteY25" fmla="*/ 39025 h 228600"/>
                <a:gd name="connsiteX26" fmla="*/ 319392 w 419100"/>
                <a:gd name="connsiteY26" fmla="*/ 39025 h 228600"/>
                <a:gd name="connsiteX27" fmla="*/ 312014 w 419100"/>
                <a:gd name="connsiteY27" fmla="*/ 42711 h 228600"/>
                <a:gd name="connsiteX28" fmla="*/ 308325 w 419100"/>
                <a:gd name="connsiteY28" fmla="*/ 46407 h 228600"/>
                <a:gd name="connsiteX29" fmla="*/ 304635 w 419100"/>
                <a:gd name="connsiteY29" fmla="*/ 46407 h 228600"/>
                <a:gd name="connsiteX30" fmla="*/ 297257 w 419100"/>
                <a:gd name="connsiteY30" fmla="*/ 50093 h 228600"/>
                <a:gd name="connsiteX31" fmla="*/ 293568 w 419100"/>
                <a:gd name="connsiteY31" fmla="*/ 53789 h 228600"/>
                <a:gd name="connsiteX32" fmla="*/ 289879 w 419100"/>
                <a:gd name="connsiteY32" fmla="*/ 50093 h 228600"/>
                <a:gd name="connsiteX33" fmla="*/ 282500 w 419100"/>
                <a:gd name="connsiteY33" fmla="*/ 53789 h 228600"/>
                <a:gd name="connsiteX34" fmla="*/ 278811 w 419100"/>
                <a:gd name="connsiteY34" fmla="*/ 57475 h 228600"/>
                <a:gd name="connsiteX35" fmla="*/ 278811 w 419100"/>
                <a:gd name="connsiteY35" fmla="*/ 64857 h 228600"/>
                <a:gd name="connsiteX36" fmla="*/ 282500 w 419100"/>
                <a:gd name="connsiteY36" fmla="*/ 64857 h 228600"/>
                <a:gd name="connsiteX37" fmla="*/ 282500 w 419100"/>
                <a:gd name="connsiteY37" fmla="*/ 68553 h 228600"/>
                <a:gd name="connsiteX38" fmla="*/ 286190 w 419100"/>
                <a:gd name="connsiteY38" fmla="*/ 68553 h 228600"/>
                <a:gd name="connsiteX39" fmla="*/ 289879 w 419100"/>
                <a:gd name="connsiteY39" fmla="*/ 68553 h 228600"/>
                <a:gd name="connsiteX40" fmla="*/ 293568 w 419100"/>
                <a:gd name="connsiteY40" fmla="*/ 72239 h 228600"/>
                <a:gd name="connsiteX41" fmla="*/ 297257 w 419100"/>
                <a:gd name="connsiteY41" fmla="*/ 75935 h 228600"/>
                <a:gd name="connsiteX42" fmla="*/ 300946 w 419100"/>
                <a:gd name="connsiteY42" fmla="*/ 75935 h 228600"/>
                <a:gd name="connsiteX43" fmla="*/ 300946 w 419100"/>
                <a:gd name="connsiteY43" fmla="*/ 79621 h 228600"/>
                <a:gd name="connsiteX44" fmla="*/ 300946 w 419100"/>
                <a:gd name="connsiteY44" fmla="*/ 83317 h 228600"/>
                <a:gd name="connsiteX45" fmla="*/ 304635 w 419100"/>
                <a:gd name="connsiteY45" fmla="*/ 87003 h 228600"/>
                <a:gd name="connsiteX46" fmla="*/ 308325 w 419100"/>
                <a:gd name="connsiteY46" fmla="*/ 87003 h 228600"/>
                <a:gd name="connsiteX47" fmla="*/ 312014 w 419100"/>
                <a:gd name="connsiteY47" fmla="*/ 90689 h 228600"/>
                <a:gd name="connsiteX48" fmla="*/ 315703 w 419100"/>
                <a:gd name="connsiteY48" fmla="*/ 94384 h 228600"/>
                <a:gd name="connsiteX49" fmla="*/ 315703 w 419100"/>
                <a:gd name="connsiteY49" fmla="*/ 101766 h 228600"/>
                <a:gd name="connsiteX50" fmla="*/ 319392 w 419100"/>
                <a:gd name="connsiteY50" fmla="*/ 105453 h 228600"/>
                <a:gd name="connsiteX51" fmla="*/ 323081 w 419100"/>
                <a:gd name="connsiteY51" fmla="*/ 105453 h 228600"/>
                <a:gd name="connsiteX52" fmla="*/ 323081 w 419100"/>
                <a:gd name="connsiteY52" fmla="*/ 109148 h 228600"/>
                <a:gd name="connsiteX53" fmla="*/ 326770 w 419100"/>
                <a:gd name="connsiteY53" fmla="*/ 109148 h 228600"/>
                <a:gd name="connsiteX54" fmla="*/ 330460 w 419100"/>
                <a:gd name="connsiteY54" fmla="*/ 109148 h 228600"/>
                <a:gd name="connsiteX55" fmla="*/ 345216 w 419100"/>
                <a:gd name="connsiteY55" fmla="*/ 109148 h 228600"/>
                <a:gd name="connsiteX56" fmla="*/ 348905 w 419100"/>
                <a:gd name="connsiteY56" fmla="*/ 109148 h 228600"/>
                <a:gd name="connsiteX57" fmla="*/ 352594 w 419100"/>
                <a:gd name="connsiteY57" fmla="*/ 109148 h 228600"/>
                <a:gd name="connsiteX58" fmla="*/ 356284 w 419100"/>
                <a:gd name="connsiteY58" fmla="*/ 112835 h 228600"/>
                <a:gd name="connsiteX59" fmla="*/ 359973 w 419100"/>
                <a:gd name="connsiteY59" fmla="*/ 112835 h 228600"/>
                <a:gd name="connsiteX60" fmla="*/ 359973 w 419100"/>
                <a:gd name="connsiteY60" fmla="*/ 109148 h 228600"/>
                <a:gd name="connsiteX61" fmla="*/ 367351 w 419100"/>
                <a:gd name="connsiteY61" fmla="*/ 112835 h 228600"/>
                <a:gd name="connsiteX62" fmla="*/ 374730 w 419100"/>
                <a:gd name="connsiteY62" fmla="*/ 116530 h 228600"/>
                <a:gd name="connsiteX63" fmla="*/ 371040 w 419100"/>
                <a:gd name="connsiteY63" fmla="*/ 120216 h 228600"/>
                <a:gd name="connsiteX64" fmla="*/ 371040 w 419100"/>
                <a:gd name="connsiteY64" fmla="*/ 123912 h 228600"/>
                <a:gd name="connsiteX65" fmla="*/ 371040 w 419100"/>
                <a:gd name="connsiteY65" fmla="*/ 127598 h 228600"/>
                <a:gd name="connsiteX66" fmla="*/ 374730 w 419100"/>
                <a:gd name="connsiteY66" fmla="*/ 127598 h 228600"/>
                <a:gd name="connsiteX67" fmla="*/ 389487 w 419100"/>
                <a:gd name="connsiteY67" fmla="*/ 134980 h 228600"/>
                <a:gd name="connsiteX68" fmla="*/ 393176 w 419100"/>
                <a:gd name="connsiteY68" fmla="*/ 138666 h 228600"/>
                <a:gd name="connsiteX69" fmla="*/ 393176 w 419100"/>
                <a:gd name="connsiteY69" fmla="*/ 160812 h 228600"/>
                <a:gd name="connsiteX70" fmla="*/ 393176 w 419100"/>
                <a:gd name="connsiteY70" fmla="*/ 164508 h 228600"/>
                <a:gd name="connsiteX71" fmla="*/ 396865 w 419100"/>
                <a:gd name="connsiteY71" fmla="*/ 179271 h 228600"/>
                <a:gd name="connsiteX72" fmla="*/ 393176 w 419100"/>
                <a:gd name="connsiteY72" fmla="*/ 179271 h 228600"/>
                <a:gd name="connsiteX73" fmla="*/ 389487 w 419100"/>
                <a:gd name="connsiteY73" fmla="*/ 179271 h 228600"/>
                <a:gd name="connsiteX74" fmla="*/ 385798 w 419100"/>
                <a:gd name="connsiteY74" fmla="*/ 179271 h 228600"/>
                <a:gd name="connsiteX75" fmla="*/ 382109 w 419100"/>
                <a:gd name="connsiteY75" fmla="*/ 175576 h 228600"/>
                <a:gd name="connsiteX76" fmla="*/ 378419 w 419100"/>
                <a:gd name="connsiteY76" fmla="*/ 175576 h 228600"/>
                <a:gd name="connsiteX77" fmla="*/ 374730 w 419100"/>
                <a:gd name="connsiteY77" fmla="*/ 175576 h 228600"/>
                <a:gd name="connsiteX78" fmla="*/ 371040 w 419100"/>
                <a:gd name="connsiteY78" fmla="*/ 175576 h 228600"/>
                <a:gd name="connsiteX79" fmla="*/ 367351 w 419100"/>
                <a:gd name="connsiteY79" fmla="*/ 179271 h 228600"/>
                <a:gd name="connsiteX80" fmla="*/ 363662 w 419100"/>
                <a:gd name="connsiteY80" fmla="*/ 179271 h 228600"/>
                <a:gd name="connsiteX81" fmla="*/ 359973 w 419100"/>
                <a:gd name="connsiteY81" fmla="*/ 182958 h 228600"/>
                <a:gd name="connsiteX82" fmla="*/ 356284 w 419100"/>
                <a:gd name="connsiteY82" fmla="*/ 182958 h 228600"/>
                <a:gd name="connsiteX83" fmla="*/ 352594 w 419100"/>
                <a:gd name="connsiteY83" fmla="*/ 182958 h 228600"/>
                <a:gd name="connsiteX84" fmla="*/ 348905 w 419100"/>
                <a:gd name="connsiteY84" fmla="*/ 182958 h 228600"/>
                <a:gd name="connsiteX85" fmla="*/ 348905 w 419100"/>
                <a:gd name="connsiteY85" fmla="*/ 179271 h 228600"/>
                <a:gd name="connsiteX86" fmla="*/ 345216 w 419100"/>
                <a:gd name="connsiteY86" fmla="*/ 179271 h 228600"/>
                <a:gd name="connsiteX87" fmla="*/ 334149 w 419100"/>
                <a:gd name="connsiteY87" fmla="*/ 171890 h 228600"/>
                <a:gd name="connsiteX88" fmla="*/ 330460 w 419100"/>
                <a:gd name="connsiteY88" fmla="*/ 171890 h 228600"/>
                <a:gd name="connsiteX89" fmla="*/ 326770 w 419100"/>
                <a:gd name="connsiteY89" fmla="*/ 160812 h 228600"/>
                <a:gd name="connsiteX90" fmla="*/ 323081 w 419100"/>
                <a:gd name="connsiteY90" fmla="*/ 160812 h 228600"/>
                <a:gd name="connsiteX91" fmla="*/ 315703 w 419100"/>
                <a:gd name="connsiteY91" fmla="*/ 149744 h 228600"/>
                <a:gd name="connsiteX92" fmla="*/ 315703 w 419100"/>
                <a:gd name="connsiteY92" fmla="*/ 146048 h 228600"/>
                <a:gd name="connsiteX93" fmla="*/ 312014 w 419100"/>
                <a:gd name="connsiteY93" fmla="*/ 142362 h 228600"/>
                <a:gd name="connsiteX94" fmla="*/ 315703 w 419100"/>
                <a:gd name="connsiteY94" fmla="*/ 138666 h 228600"/>
                <a:gd name="connsiteX95" fmla="*/ 312014 w 419100"/>
                <a:gd name="connsiteY95" fmla="*/ 134980 h 228600"/>
                <a:gd name="connsiteX96" fmla="*/ 312014 w 419100"/>
                <a:gd name="connsiteY96" fmla="*/ 131294 h 228600"/>
                <a:gd name="connsiteX97" fmla="*/ 312014 w 419100"/>
                <a:gd name="connsiteY97" fmla="*/ 127598 h 228600"/>
                <a:gd name="connsiteX98" fmla="*/ 308325 w 419100"/>
                <a:gd name="connsiteY98" fmla="*/ 127598 h 228600"/>
                <a:gd name="connsiteX99" fmla="*/ 304635 w 419100"/>
                <a:gd name="connsiteY99" fmla="*/ 123912 h 228600"/>
                <a:gd name="connsiteX100" fmla="*/ 297257 w 419100"/>
                <a:gd name="connsiteY100" fmla="*/ 116530 h 228600"/>
                <a:gd name="connsiteX101" fmla="*/ 293568 w 419100"/>
                <a:gd name="connsiteY101" fmla="*/ 112835 h 228600"/>
                <a:gd name="connsiteX102" fmla="*/ 289879 w 419100"/>
                <a:gd name="connsiteY102" fmla="*/ 112835 h 228600"/>
                <a:gd name="connsiteX103" fmla="*/ 286190 w 419100"/>
                <a:gd name="connsiteY103" fmla="*/ 112835 h 228600"/>
                <a:gd name="connsiteX104" fmla="*/ 282500 w 419100"/>
                <a:gd name="connsiteY104" fmla="*/ 109148 h 228600"/>
                <a:gd name="connsiteX105" fmla="*/ 278811 w 419100"/>
                <a:gd name="connsiteY105" fmla="*/ 109148 h 228600"/>
                <a:gd name="connsiteX106" fmla="*/ 271433 w 419100"/>
                <a:gd name="connsiteY106" fmla="*/ 105453 h 228600"/>
                <a:gd name="connsiteX107" fmla="*/ 267744 w 419100"/>
                <a:gd name="connsiteY107" fmla="*/ 105453 h 228600"/>
                <a:gd name="connsiteX108" fmla="*/ 264055 w 419100"/>
                <a:gd name="connsiteY108" fmla="*/ 101766 h 228600"/>
                <a:gd name="connsiteX109" fmla="*/ 260365 w 419100"/>
                <a:gd name="connsiteY109" fmla="*/ 105453 h 228600"/>
                <a:gd name="connsiteX110" fmla="*/ 256676 w 419100"/>
                <a:gd name="connsiteY110" fmla="*/ 105453 h 228600"/>
                <a:gd name="connsiteX111" fmla="*/ 256676 w 419100"/>
                <a:gd name="connsiteY111" fmla="*/ 109148 h 228600"/>
                <a:gd name="connsiteX112" fmla="*/ 249298 w 419100"/>
                <a:gd name="connsiteY112" fmla="*/ 98071 h 228600"/>
                <a:gd name="connsiteX113" fmla="*/ 252987 w 419100"/>
                <a:gd name="connsiteY113" fmla="*/ 98071 h 228600"/>
                <a:gd name="connsiteX114" fmla="*/ 249298 w 419100"/>
                <a:gd name="connsiteY114" fmla="*/ 94384 h 228600"/>
                <a:gd name="connsiteX115" fmla="*/ 249298 w 419100"/>
                <a:gd name="connsiteY115" fmla="*/ 90689 h 228600"/>
                <a:gd name="connsiteX116" fmla="*/ 245609 w 419100"/>
                <a:gd name="connsiteY116" fmla="*/ 90689 h 228600"/>
                <a:gd name="connsiteX117" fmla="*/ 241920 w 419100"/>
                <a:gd name="connsiteY117" fmla="*/ 90689 h 228600"/>
                <a:gd name="connsiteX118" fmla="*/ 238231 w 419100"/>
                <a:gd name="connsiteY118" fmla="*/ 90689 h 228600"/>
                <a:gd name="connsiteX119" fmla="*/ 234541 w 419100"/>
                <a:gd name="connsiteY119" fmla="*/ 94384 h 228600"/>
                <a:gd name="connsiteX120" fmla="*/ 230852 w 419100"/>
                <a:gd name="connsiteY120" fmla="*/ 94384 h 228600"/>
                <a:gd name="connsiteX121" fmla="*/ 227162 w 419100"/>
                <a:gd name="connsiteY121" fmla="*/ 94384 h 228600"/>
                <a:gd name="connsiteX122" fmla="*/ 219784 w 419100"/>
                <a:gd name="connsiteY122" fmla="*/ 94384 h 228600"/>
                <a:gd name="connsiteX123" fmla="*/ 216095 w 419100"/>
                <a:gd name="connsiteY123" fmla="*/ 94384 h 228600"/>
                <a:gd name="connsiteX124" fmla="*/ 212405 w 419100"/>
                <a:gd name="connsiteY124" fmla="*/ 94384 h 228600"/>
                <a:gd name="connsiteX125" fmla="*/ 208716 w 419100"/>
                <a:gd name="connsiteY125" fmla="*/ 94384 h 228600"/>
                <a:gd name="connsiteX126" fmla="*/ 208716 w 419100"/>
                <a:gd name="connsiteY126" fmla="*/ 90689 h 228600"/>
                <a:gd name="connsiteX127" fmla="*/ 205027 w 419100"/>
                <a:gd name="connsiteY127" fmla="*/ 87003 h 228600"/>
                <a:gd name="connsiteX128" fmla="*/ 197649 w 419100"/>
                <a:gd name="connsiteY128" fmla="*/ 87003 h 228600"/>
                <a:gd name="connsiteX129" fmla="*/ 190270 w 419100"/>
                <a:gd name="connsiteY129" fmla="*/ 90689 h 228600"/>
                <a:gd name="connsiteX130" fmla="*/ 186581 w 419100"/>
                <a:gd name="connsiteY130" fmla="*/ 90689 h 228600"/>
                <a:gd name="connsiteX131" fmla="*/ 182892 w 419100"/>
                <a:gd name="connsiteY131" fmla="*/ 94384 h 228600"/>
                <a:gd name="connsiteX132" fmla="*/ 171825 w 419100"/>
                <a:gd name="connsiteY132" fmla="*/ 90689 h 228600"/>
                <a:gd name="connsiteX133" fmla="*/ 168136 w 419100"/>
                <a:gd name="connsiteY133" fmla="*/ 90689 h 228600"/>
                <a:gd name="connsiteX134" fmla="*/ 164446 w 419100"/>
                <a:gd name="connsiteY134" fmla="*/ 87003 h 228600"/>
                <a:gd name="connsiteX135" fmla="*/ 160757 w 419100"/>
                <a:gd name="connsiteY135" fmla="*/ 90689 h 228600"/>
                <a:gd name="connsiteX136" fmla="*/ 153379 w 419100"/>
                <a:gd name="connsiteY136" fmla="*/ 94384 h 228600"/>
                <a:gd name="connsiteX137" fmla="*/ 153379 w 419100"/>
                <a:gd name="connsiteY137" fmla="*/ 98071 h 228600"/>
                <a:gd name="connsiteX138" fmla="*/ 149690 w 419100"/>
                <a:gd name="connsiteY138" fmla="*/ 101766 h 228600"/>
                <a:gd name="connsiteX139" fmla="*/ 149690 w 419100"/>
                <a:gd name="connsiteY139" fmla="*/ 105453 h 228600"/>
                <a:gd name="connsiteX140" fmla="*/ 146001 w 419100"/>
                <a:gd name="connsiteY140" fmla="*/ 109148 h 228600"/>
                <a:gd name="connsiteX141" fmla="*/ 142311 w 419100"/>
                <a:gd name="connsiteY141" fmla="*/ 109148 h 228600"/>
                <a:gd name="connsiteX142" fmla="*/ 138622 w 419100"/>
                <a:gd name="connsiteY142" fmla="*/ 112835 h 228600"/>
                <a:gd name="connsiteX143" fmla="*/ 142311 w 419100"/>
                <a:gd name="connsiteY143" fmla="*/ 112835 h 228600"/>
                <a:gd name="connsiteX144" fmla="*/ 146001 w 419100"/>
                <a:gd name="connsiteY144" fmla="*/ 112835 h 228600"/>
                <a:gd name="connsiteX145" fmla="*/ 138622 w 419100"/>
                <a:gd name="connsiteY145" fmla="*/ 116530 h 228600"/>
                <a:gd name="connsiteX146" fmla="*/ 138622 w 419100"/>
                <a:gd name="connsiteY146" fmla="*/ 112835 h 228600"/>
                <a:gd name="connsiteX147" fmla="*/ 131244 w 419100"/>
                <a:gd name="connsiteY147" fmla="*/ 105453 h 228600"/>
                <a:gd name="connsiteX148" fmla="*/ 127555 w 419100"/>
                <a:gd name="connsiteY148" fmla="*/ 101766 h 228600"/>
                <a:gd name="connsiteX149" fmla="*/ 127555 w 419100"/>
                <a:gd name="connsiteY149" fmla="*/ 98071 h 228600"/>
                <a:gd name="connsiteX150" fmla="*/ 123866 w 419100"/>
                <a:gd name="connsiteY150" fmla="*/ 87003 h 228600"/>
                <a:gd name="connsiteX151" fmla="*/ 123866 w 419100"/>
                <a:gd name="connsiteY151" fmla="*/ 83317 h 228600"/>
                <a:gd name="connsiteX152" fmla="*/ 120176 w 419100"/>
                <a:gd name="connsiteY152" fmla="*/ 83317 h 228600"/>
                <a:gd name="connsiteX153" fmla="*/ 116487 w 419100"/>
                <a:gd name="connsiteY153" fmla="*/ 79621 h 228600"/>
                <a:gd name="connsiteX154" fmla="*/ 109109 w 419100"/>
                <a:gd name="connsiteY154" fmla="*/ 75935 h 228600"/>
                <a:gd name="connsiteX155" fmla="*/ 105420 w 419100"/>
                <a:gd name="connsiteY155" fmla="*/ 72239 h 228600"/>
                <a:gd name="connsiteX156" fmla="*/ 101731 w 419100"/>
                <a:gd name="connsiteY156" fmla="*/ 68553 h 228600"/>
                <a:gd name="connsiteX157" fmla="*/ 101731 w 419100"/>
                <a:gd name="connsiteY157" fmla="*/ 64857 h 228600"/>
                <a:gd name="connsiteX158" fmla="*/ 101731 w 419100"/>
                <a:gd name="connsiteY158" fmla="*/ 57475 h 228600"/>
                <a:gd name="connsiteX159" fmla="*/ 105420 w 419100"/>
                <a:gd name="connsiteY159" fmla="*/ 53789 h 228600"/>
                <a:gd name="connsiteX160" fmla="*/ 101731 w 419100"/>
                <a:gd name="connsiteY160" fmla="*/ 53789 h 228600"/>
                <a:gd name="connsiteX161" fmla="*/ 98041 w 419100"/>
                <a:gd name="connsiteY161" fmla="*/ 53789 h 228600"/>
                <a:gd name="connsiteX162" fmla="*/ 94352 w 419100"/>
                <a:gd name="connsiteY162" fmla="*/ 50093 h 228600"/>
                <a:gd name="connsiteX163" fmla="*/ 83284 w 419100"/>
                <a:gd name="connsiteY163" fmla="*/ 50093 h 228600"/>
                <a:gd name="connsiteX164" fmla="*/ 79595 w 419100"/>
                <a:gd name="connsiteY164" fmla="*/ 50093 h 228600"/>
                <a:gd name="connsiteX165" fmla="*/ 75906 w 419100"/>
                <a:gd name="connsiteY165" fmla="*/ 50093 h 228600"/>
                <a:gd name="connsiteX166" fmla="*/ 68527 w 419100"/>
                <a:gd name="connsiteY166" fmla="*/ 50093 h 228600"/>
                <a:gd name="connsiteX167" fmla="*/ 68527 w 419100"/>
                <a:gd name="connsiteY167" fmla="*/ 53789 h 228600"/>
                <a:gd name="connsiteX168" fmla="*/ 64838 w 419100"/>
                <a:gd name="connsiteY168" fmla="*/ 53789 h 228600"/>
                <a:gd name="connsiteX169" fmla="*/ 61149 w 419100"/>
                <a:gd name="connsiteY169" fmla="*/ 53789 h 228600"/>
                <a:gd name="connsiteX170" fmla="*/ 57460 w 419100"/>
                <a:gd name="connsiteY170" fmla="*/ 57475 h 228600"/>
                <a:gd name="connsiteX171" fmla="*/ 50081 w 419100"/>
                <a:gd name="connsiteY171" fmla="*/ 61171 h 228600"/>
                <a:gd name="connsiteX172" fmla="*/ 46393 w 419100"/>
                <a:gd name="connsiteY172" fmla="*/ 64857 h 228600"/>
                <a:gd name="connsiteX173" fmla="*/ 39014 w 419100"/>
                <a:gd name="connsiteY173" fmla="*/ 68553 h 228600"/>
                <a:gd name="connsiteX174" fmla="*/ 35325 w 419100"/>
                <a:gd name="connsiteY174" fmla="*/ 68553 h 228600"/>
                <a:gd name="connsiteX175" fmla="*/ 31636 w 419100"/>
                <a:gd name="connsiteY175" fmla="*/ 72239 h 228600"/>
                <a:gd name="connsiteX176" fmla="*/ 27947 w 419100"/>
                <a:gd name="connsiteY176" fmla="*/ 75935 h 228600"/>
                <a:gd name="connsiteX177" fmla="*/ 20568 w 419100"/>
                <a:gd name="connsiteY177" fmla="*/ 79621 h 228600"/>
                <a:gd name="connsiteX178" fmla="*/ 16879 w 419100"/>
                <a:gd name="connsiteY178" fmla="*/ 83317 h 228600"/>
                <a:gd name="connsiteX179" fmla="*/ 13190 w 419100"/>
                <a:gd name="connsiteY179" fmla="*/ 83317 h 228600"/>
                <a:gd name="connsiteX180" fmla="*/ 9501 w 419100"/>
                <a:gd name="connsiteY180" fmla="*/ 87003 h 228600"/>
                <a:gd name="connsiteX181" fmla="*/ 5812 w 419100"/>
                <a:gd name="connsiteY181" fmla="*/ 90689 h 228600"/>
                <a:gd name="connsiteX182" fmla="*/ 5812 w 419100"/>
                <a:gd name="connsiteY182" fmla="*/ 94384 h 228600"/>
                <a:gd name="connsiteX183" fmla="*/ 5812 w 419100"/>
                <a:gd name="connsiteY183" fmla="*/ 98071 h 228600"/>
                <a:gd name="connsiteX184" fmla="*/ 5812 w 419100"/>
                <a:gd name="connsiteY184" fmla="*/ 101766 h 228600"/>
                <a:gd name="connsiteX185" fmla="*/ 9501 w 419100"/>
                <a:gd name="connsiteY185" fmla="*/ 109148 h 228600"/>
                <a:gd name="connsiteX186" fmla="*/ 13190 w 419100"/>
                <a:gd name="connsiteY186" fmla="*/ 109148 h 228600"/>
                <a:gd name="connsiteX187" fmla="*/ 16879 w 419100"/>
                <a:gd name="connsiteY187" fmla="*/ 112835 h 228600"/>
                <a:gd name="connsiteX188" fmla="*/ 20568 w 419100"/>
                <a:gd name="connsiteY188" fmla="*/ 116530 h 228600"/>
                <a:gd name="connsiteX189" fmla="*/ 27947 w 419100"/>
                <a:gd name="connsiteY189" fmla="*/ 120216 h 228600"/>
                <a:gd name="connsiteX190" fmla="*/ 27947 w 419100"/>
                <a:gd name="connsiteY190" fmla="*/ 123912 h 228600"/>
                <a:gd name="connsiteX191" fmla="*/ 31636 w 419100"/>
                <a:gd name="connsiteY191" fmla="*/ 123912 h 228600"/>
                <a:gd name="connsiteX192" fmla="*/ 35325 w 419100"/>
                <a:gd name="connsiteY192" fmla="*/ 127598 h 228600"/>
                <a:gd name="connsiteX193" fmla="*/ 39014 w 419100"/>
                <a:gd name="connsiteY193" fmla="*/ 131294 h 228600"/>
                <a:gd name="connsiteX194" fmla="*/ 39014 w 419100"/>
                <a:gd name="connsiteY194" fmla="*/ 134980 h 228600"/>
                <a:gd name="connsiteX195" fmla="*/ 42703 w 419100"/>
                <a:gd name="connsiteY195" fmla="*/ 138666 h 228600"/>
                <a:gd name="connsiteX196" fmla="*/ 42703 w 419100"/>
                <a:gd name="connsiteY196" fmla="*/ 142362 h 228600"/>
                <a:gd name="connsiteX197" fmla="*/ 46393 w 419100"/>
                <a:gd name="connsiteY197" fmla="*/ 146048 h 228600"/>
                <a:gd name="connsiteX198" fmla="*/ 46393 w 419100"/>
                <a:gd name="connsiteY198" fmla="*/ 149744 h 228600"/>
                <a:gd name="connsiteX199" fmla="*/ 50081 w 419100"/>
                <a:gd name="connsiteY199" fmla="*/ 153430 h 228600"/>
                <a:gd name="connsiteX200" fmla="*/ 53771 w 419100"/>
                <a:gd name="connsiteY200" fmla="*/ 157126 h 228600"/>
                <a:gd name="connsiteX201" fmla="*/ 61149 w 419100"/>
                <a:gd name="connsiteY201" fmla="*/ 160812 h 228600"/>
                <a:gd name="connsiteX202" fmla="*/ 61149 w 419100"/>
                <a:gd name="connsiteY202" fmla="*/ 164508 h 228600"/>
                <a:gd name="connsiteX203" fmla="*/ 64838 w 419100"/>
                <a:gd name="connsiteY203" fmla="*/ 164508 h 228600"/>
                <a:gd name="connsiteX204" fmla="*/ 68527 w 419100"/>
                <a:gd name="connsiteY204" fmla="*/ 168194 h 228600"/>
                <a:gd name="connsiteX205" fmla="*/ 68527 w 419100"/>
                <a:gd name="connsiteY205" fmla="*/ 171890 h 228600"/>
                <a:gd name="connsiteX206" fmla="*/ 72216 w 419100"/>
                <a:gd name="connsiteY206" fmla="*/ 171890 h 228600"/>
                <a:gd name="connsiteX207" fmla="*/ 79595 w 419100"/>
                <a:gd name="connsiteY207" fmla="*/ 171890 h 228600"/>
                <a:gd name="connsiteX208" fmla="*/ 83284 w 419100"/>
                <a:gd name="connsiteY208" fmla="*/ 171890 h 228600"/>
                <a:gd name="connsiteX209" fmla="*/ 83284 w 419100"/>
                <a:gd name="connsiteY209" fmla="*/ 168194 h 228600"/>
                <a:gd name="connsiteX210" fmla="*/ 83284 w 419100"/>
                <a:gd name="connsiteY210" fmla="*/ 160812 h 228600"/>
                <a:gd name="connsiteX211" fmla="*/ 86974 w 419100"/>
                <a:gd name="connsiteY211" fmla="*/ 160812 h 228600"/>
                <a:gd name="connsiteX212" fmla="*/ 86974 w 419100"/>
                <a:gd name="connsiteY212" fmla="*/ 168194 h 228600"/>
                <a:gd name="connsiteX213" fmla="*/ 90663 w 419100"/>
                <a:gd name="connsiteY213" fmla="*/ 171890 h 228600"/>
                <a:gd name="connsiteX214" fmla="*/ 94352 w 419100"/>
                <a:gd name="connsiteY214" fmla="*/ 171890 h 228600"/>
                <a:gd name="connsiteX215" fmla="*/ 101731 w 419100"/>
                <a:gd name="connsiteY215" fmla="*/ 171890 h 228600"/>
                <a:gd name="connsiteX216" fmla="*/ 105420 w 419100"/>
                <a:gd name="connsiteY216" fmla="*/ 168194 h 228600"/>
                <a:gd name="connsiteX217" fmla="*/ 105420 w 419100"/>
                <a:gd name="connsiteY217" fmla="*/ 164508 h 228600"/>
                <a:gd name="connsiteX218" fmla="*/ 109109 w 419100"/>
                <a:gd name="connsiteY218" fmla="*/ 164508 h 228600"/>
                <a:gd name="connsiteX219" fmla="*/ 116487 w 419100"/>
                <a:gd name="connsiteY219" fmla="*/ 164508 h 228600"/>
                <a:gd name="connsiteX220" fmla="*/ 120176 w 419100"/>
                <a:gd name="connsiteY220" fmla="*/ 164508 h 228600"/>
                <a:gd name="connsiteX221" fmla="*/ 112798 w 419100"/>
                <a:gd name="connsiteY221" fmla="*/ 160812 h 228600"/>
                <a:gd name="connsiteX222" fmla="*/ 116487 w 419100"/>
                <a:gd name="connsiteY222" fmla="*/ 157126 h 228600"/>
                <a:gd name="connsiteX223" fmla="*/ 123866 w 419100"/>
                <a:gd name="connsiteY223" fmla="*/ 153430 h 228600"/>
                <a:gd name="connsiteX224" fmla="*/ 127555 w 419100"/>
                <a:gd name="connsiteY224" fmla="*/ 153430 h 228600"/>
                <a:gd name="connsiteX225" fmla="*/ 127555 w 419100"/>
                <a:gd name="connsiteY225" fmla="*/ 157126 h 228600"/>
                <a:gd name="connsiteX226" fmla="*/ 138622 w 419100"/>
                <a:gd name="connsiteY226" fmla="*/ 149744 h 228600"/>
                <a:gd name="connsiteX227" fmla="*/ 138622 w 419100"/>
                <a:gd name="connsiteY227" fmla="*/ 146048 h 228600"/>
                <a:gd name="connsiteX228" fmla="*/ 138622 w 419100"/>
                <a:gd name="connsiteY228" fmla="*/ 142362 h 228600"/>
                <a:gd name="connsiteX229" fmla="*/ 142311 w 419100"/>
                <a:gd name="connsiteY229" fmla="*/ 146048 h 228600"/>
                <a:gd name="connsiteX230" fmla="*/ 142311 w 419100"/>
                <a:gd name="connsiteY230" fmla="*/ 149744 h 228600"/>
                <a:gd name="connsiteX231" fmla="*/ 146001 w 419100"/>
                <a:gd name="connsiteY231" fmla="*/ 149744 h 228600"/>
                <a:gd name="connsiteX232" fmla="*/ 142311 w 419100"/>
                <a:gd name="connsiteY232" fmla="*/ 153430 h 228600"/>
                <a:gd name="connsiteX233" fmla="*/ 142311 w 419100"/>
                <a:gd name="connsiteY233" fmla="*/ 160812 h 228600"/>
                <a:gd name="connsiteX234" fmla="*/ 146001 w 419100"/>
                <a:gd name="connsiteY234" fmla="*/ 160812 h 228600"/>
                <a:gd name="connsiteX235" fmla="*/ 142311 w 419100"/>
                <a:gd name="connsiteY235" fmla="*/ 164508 h 228600"/>
                <a:gd name="connsiteX236" fmla="*/ 146001 w 419100"/>
                <a:gd name="connsiteY236" fmla="*/ 168194 h 228600"/>
                <a:gd name="connsiteX237" fmla="*/ 146001 w 419100"/>
                <a:gd name="connsiteY237" fmla="*/ 171890 h 228600"/>
                <a:gd name="connsiteX238" fmla="*/ 142311 w 419100"/>
                <a:gd name="connsiteY238" fmla="*/ 168194 h 228600"/>
                <a:gd name="connsiteX239" fmla="*/ 138622 w 419100"/>
                <a:gd name="connsiteY239" fmla="*/ 171890 h 228600"/>
                <a:gd name="connsiteX240" fmla="*/ 134933 w 419100"/>
                <a:gd name="connsiteY240" fmla="*/ 171890 h 228600"/>
                <a:gd name="connsiteX241" fmla="*/ 138622 w 419100"/>
                <a:gd name="connsiteY241" fmla="*/ 175576 h 228600"/>
                <a:gd name="connsiteX242" fmla="*/ 142311 w 419100"/>
                <a:gd name="connsiteY242" fmla="*/ 179271 h 228600"/>
                <a:gd name="connsiteX243" fmla="*/ 142311 w 419100"/>
                <a:gd name="connsiteY243" fmla="*/ 182958 h 228600"/>
                <a:gd name="connsiteX244" fmla="*/ 146001 w 419100"/>
                <a:gd name="connsiteY244" fmla="*/ 182958 h 228600"/>
                <a:gd name="connsiteX245" fmla="*/ 146001 w 419100"/>
                <a:gd name="connsiteY245" fmla="*/ 190339 h 228600"/>
                <a:gd name="connsiteX246" fmla="*/ 146001 w 419100"/>
                <a:gd name="connsiteY246" fmla="*/ 194026 h 228600"/>
                <a:gd name="connsiteX247" fmla="*/ 149690 w 419100"/>
                <a:gd name="connsiteY247" fmla="*/ 194026 h 228600"/>
                <a:gd name="connsiteX248" fmla="*/ 153379 w 419100"/>
                <a:gd name="connsiteY248" fmla="*/ 197721 h 228600"/>
                <a:gd name="connsiteX249" fmla="*/ 157068 w 419100"/>
                <a:gd name="connsiteY249" fmla="*/ 197721 h 228600"/>
                <a:gd name="connsiteX250" fmla="*/ 157068 w 419100"/>
                <a:gd name="connsiteY250" fmla="*/ 194026 h 228600"/>
                <a:gd name="connsiteX251" fmla="*/ 160757 w 419100"/>
                <a:gd name="connsiteY251" fmla="*/ 194026 h 228600"/>
                <a:gd name="connsiteX252" fmla="*/ 168136 w 419100"/>
                <a:gd name="connsiteY252" fmla="*/ 197721 h 228600"/>
                <a:gd name="connsiteX253" fmla="*/ 171825 w 419100"/>
                <a:gd name="connsiteY253" fmla="*/ 197721 h 228600"/>
                <a:gd name="connsiteX254" fmla="*/ 171825 w 419100"/>
                <a:gd name="connsiteY254" fmla="*/ 201407 h 228600"/>
                <a:gd name="connsiteX255" fmla="*/ 179203 w 419100"/>
                <a:gd name="connsiteY255" fmla="*/ 205103 h 228600"/>
                <a:gd name="connsiteX256" fmla="*/ 179203 w 419100"/>
                <a:gd name="connsiteY256" fmla="*/ 208789 h 228600"/>
                <a:gd name="connsiteX257" fmla="*/ 182892 w 419100"/>
                <a:gd name="connsiteY257" fmla="*/ 208789 h 228600"/>
                <a:gd name="connsiteX258" fmla="*/ 190270 w 419100"/>
                <a:gd name="connsiteY258" fmla="*/ 216171 h 228600"/>
                <a:gd name="connsiteX259" fmla="*/ 193960 w 419100"/>
                <a:gd name="connsiteY259" fmla="*/ 216171 h 228600"/>
                <a:gd name="connsiteX260" fmla="*/ 201338 w 419100"/>
                <a:gd name="connsiteY260" fmla="*/ 216171 h 228600"/>
                <a:gd name="connsiteX261" fmla="*/ 208716 w 419100"/>
                <a:gd name="connsiteY261" fmla="*/ 212485 h 228600"/>
                <a:gd name="connsiteX262" fmla="*/ 212405 w 419100"/>
                <a:gd name="connsiteY262" fmla="*/ 212485 h 228600"/>
                <a:gd name="connsiteX263" fmla="*/ 216095 w 419100"/>
                <a:gd name="connsiteY263" fmla="*/ 208789 h 228600"/>
                <a:gd name="connsiteX264" fmla="*/ 223473 w 419100"/>
                <a:gd name="connsiteY264" fmla="*/ 208789 h 228600"/>
                <a:gd name="connsiteX265" fmla="*/ 227162 w 419100"/>
                <a:gd name="connsiteY265" fmla="*/ 208789 h 228600"/>
                <a:gd name="connsiteX266" fmla="*/ 230852 w 419100"/>
                <a:gd name="connsiteY266" fmla="*/ 212485 h 228600"/>
                <a:gd name="connsiteX267" fmla="*/ 234541 w 419100"/>
                <a:gd name="connsiteY267" fmla="*/ 208789 h 228600"/>
                <a:gd name="connsiteX268" fmla="*/ 238231 w 419100"/>
                <a:gd name="connsiteY268" fmla="*/ 194026 h 228600"/>
                <a:gd name="connsiteX269" fmla="*/ 241920 w 419100"/>
                <a:gd name="connsiteY269" fmla="*/ 194026 h 228600"/>
                <a:gd name="connsiteX270" fmla="*/ 241920 w 419100"/>
                <a:gd name="connsiteY270" fmla="*/ 190339 h 228600"/>
                <a:gd name="connsiteX271" fmla="*/ 241920 w 419100"/>
                <a:gd name="connsiteY271" fmla="*/ 186644 h 228600"/>
                <a:gd name="connsiteX272" fmla="*/ 245609 w 419100"/>
                <a:gd name="connsiteY272" fmla="*/ 186644 h 228600"/>
                <a:gd name="connsiteX273" fmla="*/ 245609 w 419100"/>
                <a:gd name="connsiteY273" fmla="*/ 179271 h 228600"/>
                <a:gd name="connsiteX274" fmla="*/ 245609 w 419100"/>
                <a:gd name="connsiteY274" fmla="*/ 175576 h 228600"/>
                <a:gd name="connsiteX275" fmla="*/ 245609 w 419100"/>
                <a:gd name="connsiteY275" fmla="*/ 171890 h 228600"/>
                <a:gd name="connsiteX276" fmla="*/ 245609 w 419100"/>
                <a:gd name="connsiteY276" fmla="*/ 168194 h 228600"/>
                <a:gd name="connsiteX277" fmla="*/ 245609 w 419100"/>
                <a:gd name="connsiteY277" fmla="*/ 164508 h 228600"/>
                <a:gd name="connsiteX278" fmla="*/ 252987 w 419100"/>
                <a:gd name="connsiteY278" fmla="*/ 168194 h 228600"/>
                <a:gd name="connsiteX279" fmla="*/ 260365 w 419100"/>
                <a:gd name="connsiteY279" fmla="*/ 164508 h 228600"/>
                <a:gd name="connsiteX280" fmla="*/ 264055 w 419100"/>
                <a:gd name="connsiteY280" fmla="*/ 164508 h 228600"/>
                <a:gd name="connsiteX281" fmla="*/ 271433 w 419100"/>
                <a:gd name="connsiteY281" fmla="*/ 157126 h 228600"/>
                <a:gd name="connsiteX282" fmla="*/ 275122 w 419100"/>
                <a:gd name="connsiteY282" fmla="*/ 160812 h 228600"/>
                <a:gd name="connsiteX283" fmla="*/ 278811 w 419100"/>
                <a:gd name="connsiteY283" fmla="*/ 164508 h 228600"/>
                <a:gd name="connsiteX284" fmla="*/ 282500 w 419100"/>
                <a:gd name="connsiteY284" fmla="*/ 168194 h 228600"/>
                <a:gd name="connsiteX285" fmla="*/ 282500 w 419100"/>
                <a:gd name="connsiteY285" fmla="*/ 171890 h 228600"/>
                <a:gd name="connsiteX286" fmla="*/ 286190 w 419100"/>
                <a:gd name="connsiteY286" fmla="*/ 171890 h 228600"/>
                <a:gd name="connsiteX287" fmla="*/ 286190 w 419100"/>
                <a:gd name="connsiteY287" fmla="*/ 175576 h 228600"/>
                <a:gd name="connsiteX288" fmla="*/ 289879 w 419100"/>
                <a:gd name="connsiteY288" fmla="*/ 175576 h 228600"/>
                <a:gd name="connsiteX289" fmla="*/ 293568 w 419100"/>
                <a:gd name="connsiteY289" fmla="*/ 175576 h 228600"/>
                <a:gd name="connsiteX290" fmla="*/ 297257 w 419100"/>
                <a:gd name="connsiteY290" fmla="*/ 179271 h 228600"/>
                <a:gd name="connsiteX291" fmla="*/ 300946 w 419100"/>
                <a:gd name="connsiteY291" fmla="*/ 182958 h 228600"/>
                <a:gd name="connsiteX292" fmla="*/ 308325 w 419100"/>
                <a:gd name="connsiteY292" fmla="*/ 182958 h 228600"/>
                <a:gd name="connsiteX293" fmla="*/ 308325 w 419100"/>
                <a:gd name="connsiteY293" fmla="*/ 186644 h 228600"/>
                <a:gd name="connsiteX294" fmla="*/ 308325 w 419100"/>
                <a:gd name="connsiteY294" fmla="*/ 194026 h 228600"/>
                <a:gd name="connsiteX295" fmla="*/ 315703 w 419100"/>
                <a:gd name="connsiteY295" fmla="*/ 197721 h 228600"/>
                <a:gd name="connsiteX296" fmla="*/ 319392 w 419100"/>
                <a:gd name="connsiteY296" fmla="*/ 197721 h 228600"/>
                <a:gd name="connsiteX297" fmla="*/ 323081 w 419100"/>
                <a:gd name="connsiteY297" fmla="*/ 201407 h 228600"/>
                <a:gd name="connsiteX298" fmla="*/ 326770 w 419100"/>
                <a:gd name="connsiteY298" fmla="*/ 201407 h 228600"/>
                <a:gd name="connsiteX299" fmla="*/ 334149 w 419100"/>
                <a:gd name="connsiteY299" fmla="*/ 205103 h 228600"/>
                <a:gd name="connsiteX300" fmla="*/ 341527 w 419100"/>
                <a:gd name="connsiteY300" fmla="*/ 208789 h 228600"/>
                <a:gd name="connsiteX301" fmla="*/ 348905 w 419100"/>
                <a:gd name="connsiteY301" fmla="*/ 208789 h 228600"/>
                <a:gd name="connsiteX302" fmla="*/ 352594 w 419100"/>
                <a:gd name="connsiteY302" fmla="*/ 212485 h 228600"/>
                <a:gd name="connsiteX303" fmla="*/ 359973 w 419100"/>
                <a:gd name="connsiteY303" fmla="*/ 212485 h 228600"/>
                <a:gd name="connsiteX304" fmla="*/ 371040 w 419100"/>
                <a:gd name="connsiteY304" fmla="*/ 208789 h 228600"/>
                <a:gd name="connsiteX305" fmla="*/ 378419 w 419100"/>
                <a:gd name="connsiteY305" fmla="*/ 205103 h 228600"/>
                <a:gd name="connsiteX306" fmla="*/ 382109 w 419100"/>
                <a:gd name="connsiteY306" fmla="*/ 205103 h 228600"/>
                <a:gd name="connsiteX307" fmla="*/ 385798 w 419100"/>
                <a:gd name="connsiteY307" fmla="*/ 205103 h 228600"/>
                <a:gd name="connsiteX308" fmla="*/ 385798 w 419100"/>
                <a:gd name="connsiteY308" fmla="*/ 208789 h 228600"/>
                <a:gd name="connsiteX309" fmla="*/ 389487 w 419100"/>
                <a:gd name="connsiteY309" fmla="*/ 208789 h 228600"/>
                <a:gd name="connsiteX310" fmla="*/ 393176 w 419100"/>
                <a:gd name="connsiteY310" fmla="*/ 208789 h 228600"/>
                <a:gd name="connsiteX311" fmla="*/ 400555 w 419100"/>
                <a:gd name="connsiteY311" fmla="*/ 212485 h 228600"/>
                <a:gd name="connsiteX312" fmla="*/ 404244 w 419100"/>
                <a:gd name="connsiteY312" fmla="*/ 223553 h 228600"/>
                <a:gd name="connsiteX313" fmla="*/ 404244 w 419100"/>
                <a:gd name="connsiteY313" fmla="*/ 230935 h 228600"/>
                <a:gd name="connsiteX314" fmla="*/ 415311 w 419100"/>
                <a:gd name="connsiteY314" fmla="*/ 230935 h 228600"/>
                <a:gd name="connsiteX315" fmla="*/ 422690 w 419100"/>
                <a:gd name="connsiteY315" fmla="*/ 227249 h 228600"/>
                <a:gd name="connsiteX316" fmla="*/ 419000 w 419100"/>
                <a:gd name="connsiteY316" fmla="*/ 223553 h 228600"/>
                <a:gd name="connsiteX317" fmla="*/ 415311 w 419100"/>
                <a:gd name="connsiteY317" fmla="*/ 223553 h 228600"/>
                <a:gd name="connsiteX318" fmla="*/ 415311 w 419100"/>
                <a:gd name="connsiteY318" fmla="*/ 219867 h 228600"/>
                <a:gd name="connsiteX319" fmla="*/ 419000 w 419100"/>
                <a:gd name="connsiteY319" fmla="*/ 208789 h 228600"/>
                <a:gd name="connsiteX320" fmla="*/ 415311 w 419100"/>
                <a:gd name="connsiteY320" fmla="*/ 197721 h 228600"/>
                <a:gd name="connsiteX321" fmla="*/ 415311 w 419100"/>
                <a:gd name="connsiteY321" fmla="*/ 194026 h 228600"/>
                <a:gd name="connsiteX322" fmla="*/ 422690 w 419100"/>
                <a:gd name="connsiteY322" fmla="*/ 190339 h 228600"/>
                <a:gd name="connsiteX323" fmla="*/ 415311 w 419100"/>
                <a:gd name="connsiteY323" fmla="*/ 179271 h 228600"/>
                <a:gd name="connsiteX324" fmla="*/ 400555 w 419100"/>
                <a:gd name="connsiteY324" fmla="*/ 138666 h 228600"/>
                <a:gd name="connsiteX325" fmla="*/ 393176 w 419100"/>
                <a:gd name="connsiteY325" fmla="*/ 123912 h 228600"/>
                <a:gd name="connsiteX326" fmla="*/ 393176 w 419100"/>
                <a:gd name="connsiteY326" fmla="*/ 120216 h 228600"/>
                <a:gd name="connsiteX327" fmla="*/ 396865 w 419100"/>
                <a:gd name="connsiteY327" fmla="*/ 112835 h 228600"/>
                <a:gd name="connsiteX328" fmla="*/ 400555 w 419100"/>
                <a:gd name="connsiteY328" fmla="*/ 101766 h 228600"/>
                <a:gd name="connsiteX329" fmla="*/ 404244 w 419100"/>
                <a:gd name="connsiteY329" fmla="*/ 94384 h 228600"/>
                <a:gd name="connsiteX330" fmla="*/ 404244 w 419100"/>
                <a:gd name="connsiteY330" fmla="*/ 90689 h 228600"/>
                <a:gd name="connsiteX331" fmla="*/ 400555 w 419100"/>
                <a:gd name="connsiteY331" fmla="*/ 87003 h 228600"/>
                <a:gd name="connsiteX332" fmla="*/ 400555 w 419100"/>
                <a:gd name="connsiteY332" fmla="*/ 79621 h 228600"/>
                <a:gd name="connsiteX333" fmla="*/ 385798 w 419100"/>
                <a:gd name="connsiteY333" fmla="*/ 61171 h 228600"/>
                <a:gd name="connsiteX334" fmla="*/ 382109 w 419100"/>
                <a:gd name="connsiteY334" fmla="*/ 57475 h 228600"/>
                <a:gd name="connsiteX335" fmla="*/ 382109 w 419100"/>
                <a:gd name="connsiteY335" fmla="*/ 53789 h 228600"/>
                <a:gd name="connsiteX336" fmla="*/ 382109 w 419100"/>
                <a:gd name="connsiteY336" fmla="*/ 46407 h 228600"/>
                <a:gd name="connsiteX337" fmla="*/ 382109 w 419100"/>
                <a:gd name="connsiteY337" fmla="*/ 42711 h 228600"/>
                <a:gd name="connsiteX338" fmla="*/ 385798 w 419100"/>
                <a:gd name="connsiteY338" fmla="*/ 35339 h 228600"/>
                <a:gd name="connsiteX339" fmla="*/ 389487 w 419100"/>
                <a:gd name="connsiteY339" fmla="*/ 31643 h 228600"/>
                <a:gd name="connsiteX340" fmla="*/ 393176 w 419100"/>
                <a:gd name="connsiteY340" fmla="*/ 27957 h 228600"/>
                <a:gd name="connsiteX341" fmla="*/ 404244 w 419100"/>
                <a:gd name="connsiteY341" fmla="*/ 24261 h 228600"/>
                <a:gd name="connsiteX342" fmla="*/ 400555 w 419100"/>
                <a:gd name="connsiteY342" fmla="*/ 24261 h 228600"/>
                <a:gd name="connsiteX343" fmla="*/ 393176 w 419100"/>
                <a:gd name="connsiteY343" fmla="*/ 20575 h 228600"/>
                <a:gd name="connsiteX344" fmla="*/ 385798 w 419100"/>
                <a:gd name="connsiteY344" fmla="*/ 20575 h 228600"/>
                <a:gd name="connsiteX345" fmla="*/ 382109 w 419100"/>
                <a:gd name="connsiteY345" fmla="*/ 20575 h 228600"/>
                <a:gd name="connsiteX346" fmla="*/ 378419 w 419100"/>
                <a:gd name="connsiteY346" fmla="*/ 20575 h 228600"/>
                <a:gd name="connsiteX347" fmla="*/ 371040 w 419100"/>
                <a:gd name="connsiteY347" fmla="*/ 16880 h 228600"/>
                <a:gd name="connsiteX348" fmla="*/ 359973 w 419100"/>
                <a:gd name="connsiteY348" fmla="*/ 9498 h 228600"/>
                <a:gd name="connsiteX349" fmla="*/ 356284 w 419100"/>
                <a:gd name="connsiteY349" fmla="*/ 9498 h 228600"/>
                <a:gd name="connsiteX350" fmla="*/ 345216 w 419100"/>
                <a:gd name="connsiteY350" fmla="*/ 5812 h 228600"/>
                <a:gd name="connsiteX351" fmla="*/ 134933 w 419100"/>
                <a:gd name="connsiteY351" fmla="*/ 171890 h 228600"/>
                <a:gd name="connsiteX352" fmla="*/ 138622 w 419100"/>
                <a:gd name="connsiteY352" fmla="*/ 164508 h 228600"/>
                <a:gd name="connsiteX353" fmla="*/ 134933 w 419100"/>
                <a:gd name="connsiteY353" fmla="*/ 168194 h 228600"/>
                <a:gd name="connsiteX354" fmla="*/ 134933 w 419100"/>
                <a:gd name="connsiteY354" fmla="*/ 17189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Lst>
              <a:rect l="l" t="t" r="r" b="b"/>
              <a:pathLst>
                <a:path w="419100" h="228600">
                  <a:moveTo>
                    <a:pt x="345216" y="5812"/>
                  </a:moveTo>
                  <a:lnTo>
                    <a:pt x="345216" y="9498"/>
                  </a:lnTo>
                  <a:lnTo>
                    <a:pt x="337838" y="16880"/>
                  </a:lnTo>
                  <a:lnTo>
                    <a:pt x="334149" y="16880"/>
                  </a:lnTo>
                  <a:lnTo>
                    <a:pt x="337838" y="24261"/>
                  </a:lnTo>
                  <a:lnTo>
                    <a:pt x="341527" y="24261"/>
                  </a:lnTo>
                  <a:lnTo>
                    <a:pt x="345216" y="31643"/>
                  </a:lnTo>
                  <a:lnTo>
                    <a:pt x="348905" y="39025"/>
                  </a:lnTo>
                  <a:lnTo>
                    <a:pt x="356284" y="39025"/>
                  </a:lnTo>
                  <a:lnTo>
                    <a:pt x="363662" y="39025"/>
                  </a:lnTo>
                  <a:lnTo>
                    <a:pt x="367351" y="39025"/>
                  </a:lnTo>
                  <a:lnTo>
                    <a:pt x="371040" y="39025"/>
                  </a:lnTo>
                  <a:lnTo>
                    <a:pt x="371040" y="35339"/>
                  </a:lnTo>
                  <a:lnTo>
                    <a:pt x="374730" y="35339"/>
                  </a:lnTo>
                  <a:lnTo>
                    <a:pt x="374730" y="39025"/>
                  </a:lnTo>
                  <a:lnTo>
                    <a:pt x="374730" y="42711"/>
                  </a:lnTo>
                  <a:lnTo>
                    <a:pt x="371040" y="46407"/>
                  </a:lnTo>
                  <a:lnTo>
                    <a:pt x="367351" y="46407"/>
                  </a:lnTo>
                  <a:lnTo>
                    <a:pt x="363662" y="46407"/>
                  </a:lnTo>
                  <a:lnTo>
                    <a:pt x="359973" y="46407"/>
                  </a:lnTo>
                  <a:lnTo>
                    <a:pt x="356284" y="46407"/>
                  </a:lnTo>
                  <a:lnTo>
                    <a:pt x="352594" y="46407"/>
                  </a:lnTo>
                  <a:lnTo>
                    <a:pt x="348905" y="50093"/>
                  </a:lnTo>
                  <a:lnTo>
                    <a:pt x="345216" y="50093"/>
                  </a:lnTo>
                  <a:lnTo>
                    <a:pt x="337838" y="42711"/>
                  </a:lnTo>
                  <a:lnTo>
                    <a:pt x="323081" y="39025"/>
                  </a:lnTo>
                  <a:lnTo>
                    <a:pt x="319392" y="39025"/>
                  </a:lnTo>
                  <a:lnTo>
                    <a:pt x="312014" y="42711"/>
                  </a:lnTo>
                  <a:lnTo>
                    <a:pt x="308325" y="46407"/>
                  </a:lnTo>
                  <a:lnTo>
                    <a:pt x="304635" y="46407"/>
                  </a:lnTo>
                  <a:lnTo>
                    <a:pt x="297257" y="50093"/>
                  </a:lnTo>
                  <a:lnTo>
                    <a:pt x="293568" y="53789"/>
                  </a:lnTo>
                  <a:lnTo>
                    <a:pt x="289879" y="50093"/>
                  </a:lnTo>
                  <a:lnTo>
                    <a:pt x="282500" y="53789"/>
                  </a:lnTo>
                  <a:lnTo>
                    <a:pt x="278811" y="57475"/>
                  </a:lnTo>
                  <a:lnTo>
                    <a:pt x="278811" y="64857"/>
                  </a:lnTo>
                  <a:lnTo>
                    <a:pt x="282500" y="64857"/>
                  </a:lnTo>
                  <a:lnTo>
                    <a:pt x="282500" y="68553"/>
                  </a:lnTo>
                  <a:lnTo>
                    <a:pt x="286190" y="68553"/>
                  </a:lnTo>
                  <a:lnTo>
                    <a:pt x="289879" y="68553"/>
                  </a:lnTo>
                  <a:lnTo>
                    <a:pt x="293568" y="72239"/>
                  </a:lnTo>
                  <a:lnTo>
                    <a:pt x="297257" y="75935"/>
                  </a:lnTo>
                  <a:lnTo>
                    <a:pt x="300946" y="75935"/>
                  </a:lnTo>
                  <a:lnTo>
                    <a:pt x="300946" y="79621"/>
                  </a:lnTo>
                  <a:lnTo>
                    <a:pt x="300946" y="83317"/>
                  </a:lnTo>
                  <a:lnTo>
                    <a:pt x="304635" y="87003"/>
                  </a:lnTo>
                  <a:lnTo>
                    <a:pt x="308325" y="87003"/>
                  </a:lnTo>
                  <a:lnTo>
                    <a:pt x="312014" y="90689"/>
                  </a:lnTo>
                  <a:lnTo>
                    <a:pt x="315703" y="94384"/>
                  </a:lnTo>
                  <a:lnTo>
                    <a:pt x="315703" y="101766"/>
                  </a:lnTo>
                  <a:lnTo>
                    <a:pt x="319392" y="105453"/>
                  </a:lnTo>
                  <a:lnTo>
                    <a:pt x="323081" y="105453"/>
                  </a:lnTo>
                  <a:lnTo>
                    <a:pt x="323081" y="109148"/>
                  </a:lnTo>
                  <a:lnTo>
                    <a:pt x="326770" y="109148"/>
                  </a:lnTo>
                  <a:lnTo>
                    <a:pt x="330460" y="109148"/>
                  </a:lnTo>
                  <a:lnTo>
                    <a:pt x="345216" y="109148"/>
                  </a:lnTo>
                  <a:lnTo>
                    <a:pt x="348905" y="109148"/>
                  </a:lnTo>
                  <a:lnTo>
                    <a:pt x="352594" y="109148"/>
                  </a:lnTo>
                  <a:lnTo>
                    <a:pt x="356284" y="112835"/>
                  </a:lnTo>
                  <a:lnTo>
                    <a:pt x="359973" y="112835"/>
                  </a:lnTo>
                  <a:lnTo>
                    <a:pt x="359973" y="109148"/>
                  </a:lnTo>
                  <a:lnTo>
                    <a:pt x="367351" y="112835"/>
                  </a:lnTo>
                  <a:lnTo>
                    <a:pt x="374730" y="116530"/>
                  </a:lnTo>
                  <a:lnTo>
                    <a:pt x="371040" y="120216"/>
                  </a:lnTo>
                  <a:lnTo>
                    <a:pt x="371040" y="123912"/>
                  </a:lnTo>
                  <a:lnTo>
                    <a:pt x="371040" y="127598"/>
                  </a:lnTo>
                  <a:lnTo>
                    <a:pt x="374730" y="127598"/>
                  </a:lnTo>
                  <a:lnTo>
                    <a:pt x="389487" y="134980"/>
                  </a:lnTo>
                  <a:lnTo>
                    <a:pt x="393176" y="138666"/>
                  </a:lnTo>
                  <a:lnTo>
                    <a:pt x="393176" y="160812"/>
                  </a:lnTo>
                  <a:lnTo>
                    <a:pt x="393176" y="164508"/>
                  </a:lnTo>
                  <a:lnTo>
                    <a:pt x="396865" y="179271"/>
                  </a:lnTo>
                  <a:lnTo>
                    <a:pt x="393176" y="179271"/>
                  </a:lnTo>
                  <a:lnTo>
                    <a:pt x="389487" y="179271"/>
                  </a:lnTo>
                  <a:lnTo>
                    <a:pt x="385798" y="179271"/>
                  </a:lnTo>
                  <a:lnTo>
                    <a:pt x="382109" y="175576"/>
                  </a:lnTo>
                  <a:lnTo>
                    <a:pt x="378419" y="175576"/>
                  </a:lnTo>
                  <a:lnTo>
                    <a:pt x="374730" y="175576"/>
                  </a:lnTo>
                  <a:lnTo>
                    <a:pt x="371040" y="175576"/>
                  </a:lnTo>
                  <a:lnTo>
                    <a:pt x="367351" y="179271"/>
                  </a:lnTo>
                  <a:lnTo>
                    <a:pt x="363662" y="179271"/>
                  </a:lnTo>
                  <a:lnTo>
                    <a:pt x="359973" y="182958"/>
                  </a:lnTo>
                  <a:lnTo>
                    <a:pt x="356284" y="182958"/>
                  </a:lnTo>
                  <a:lnTo>
                    <a:pt x="352594" y="182958"/>
                  </a:lnTo>
                  <a:lnTo>
                    <a:pt x="348905" y="182958"/>
                  </a:lnTo>
                  <a:lnTo>
                    <a:pt x="348905" y="179271"/>
                  </a:lnTo>
                  <a:lnTo>
                    <a:pt x="345216" y="179271"/>
                  </a:lnTo>
                  <a:lnTo>
                    <a:pt x="334149" y="171890"/>
                  </a:lnTo>
                  <a:lnTo>
                    <a:pt x="330460" y="171890"/>
                  </a:lnTo>
                  <a:lnTo>
                    <a:pt x="326770" y="160812"/>
                  </a:lnTo>
                  <a:lnTo>
                    <a:pt x="323081" y="160812"/>
                  </a:lnTo>
                  <a:lnTo>
                    <a:pt x="315703" y="149744"/>
                  </a:lnTo>
                  <a:lnTo>
                    <a:pt x="315703" y="146048"/>
                  </a:lnTo>
                  <a:lnTo>
                    <a:pt x="312014" y="142362"/>
                  </a:lnTo>
                  <a:lnTo>
                    <a:pt x="315703" y="138666"/>
                  </a:lnTo>
                  <a:lnTo>
                    <a:pt x="312014" y="134980"/>
                  </a:lnTo>
                  <a:lnTo>
                    <a:pt x="312014" y="131294"/>
                  </a:lnTo>
                  <a:lnTo>
                    <a:pt x="312014" y="127598"/>
                  </a:lnTo>
                  <a:lnTo>
                    <a:pt x="308325" y="127598"/>
                  </a:lnTo>
                  <a:lnTo>
                    <a:pt x="304635" y="123912"/>
                  </a:lnTo>
                  <a:lnTo>
                    <a:pt x="297257" y="116530"/>
                  </a:lnTo>
                  <a:lnTo>
                    <a:pt x="293568" y="112835"/>
                  </a:lnTo>
                  <a:lnTo>
                    <a:pt x="289879" y="112835"/>
                  </a:lnTo>
                  <a:lnTo>
                    <a:pt x="286190" y="112835"/>
                  </a:lnTo>
                  <a:lnTo>
                    <a:pt x="282500" y="109148"/>
                  </a:lnTo>
                  <a:lnTo>
                    <a:pt x="278811" y="109148"/>
                  </a:lnTo>
                  <a:lnTo>
                    <a:pt x="271433" y="105453"/>
                  </a:lnTo>
                  <a:lnTo>
                    <a:pt x="267744" y="105453"/>
                  </a:lnTo>
                  <a:lnTo>
                    <a:pt x="264055" y="101766"/>
                  </a:lnTo>
                  <a:lnTo>
                    <a:pt x="260365" y="105453"/>
                  </a:lnTo>
                  <a:lnTo>
                    <a:pt x="256676" y="105453"/>
                  </a:lnTo>
                  <a:lnTo>
                    <a:pt x="256676" y="109148"/>
                  </a:lnTo>
                  <a:lnTo>
                    <a:pt x="249298" y="98071"/>
                  </a:lnTo>
                  <a:lnTo>
                    <a:pt x="252987" y="98071"/>
                  </a:lnTo>
                  <a:lnTo>
                    <a:pt x="249298" y="94384"/>
                  </a:lnTo>
                  <a:lnTo>
                    <a:pt x="249298" y="90689"/>
                  </a:lnTo>
                  <a:lnTo>
                    <a:pt x="245609" y="90689"/>
                  </a:lnTo>
                  <a:lnTo>
                    <a:pt x="241920" y="90689"/>
                  </a:lnTo>
                  <a:lnTo>
                    <a:pt x="238231" y="90689"/>
                  </a:lnTo>
                  <a:lnTo>
                    <a:pt x="234541" y="94384"/>
                  </a:lnTo>
                  <a:lnTo>
                    <a:pt x="230852" y="94384"/>
                  </a:lnTo>
                  <a:lnTo>
                    <a:pt x="227162" y="94384"/>
                  </a:lnTo>
                  <a:lnTo>
                    <a:pt x="219784" y="94384"/>
                  </a:lnTo>
                  <a:lnTo>
                    <a:pt x="216095" y="94384"/>
                  </a:lnTo>
                  <a:lnTo>
                    <a:pt x="212405" y="94384"/>
                  </a:lnTo>
                  <a:lnTo>
                    <a:pt x="208716" y="94384"/>
                  </a:lnTo>
                  <a:lnTo>
                    <a:pt x="208716" y="90689"/>
                  </a:lnTo>
                  <a:lnTo>
                    <a:pt x="205027" y="87003"/>
                  </a:lnTo>
                  <a:lnTo>
                    <a:pt x="197649" y="87003"/>
                  </a:lnTo>
                  <a:lnTo>
                    <a:pt x="190270" y="90689"/>
                  </a:lnTo>
                  <a:lnTo>
                    <a:pt x="186581" y="90689"/>
                  </a:lnTo>
                  <a:lnTo>
                    <a:pt x="182892" y="94384"/>
                  </a:lnTo>
                  <a:lnTo>
                    <a:pt x="171825" y="90689"/>
                  </a:lnTo>
                  <a:lnTo>
                    <a:pt x="168136" y="90689"/>
                  </a:lnTo>
                  <a:lnTo>
                    <a:pt x="164446" y="87003"/>
                  </a:lnTo>
                  <a:lnTo>
                    <a:pt x="160757" y="90689"/>
                  </a:lnTo>
                  <a:lnTo>
                    <a:pt x="153379" y="94384"/>
                  </a:lnTo>
                  <a:lnTo>
                    <a:pt x="153379" y="98071"/>
                  </a:lnTo>
                  <a:lnTo>
                    <a:pt x="149690" y="101766"/>
                  </a:lnTo>
                  <a:lnTo>
                    <a:pt x="149690" y="105453"/>
                  </a:lnTo>
                  <a:lnTo>
                    <a:pt x="146001" y="109148"/>
                  </a:lnTo>
                  <a:lnTo>
                    <a:pt x="142311" y="109148"/>
                  </a:lnTo>
                  <a:lnTo>
                    <a:pt x="138622" y="112835"/>
                  </a:lnTo>
                  <a:lnTo>
                    <a:pt x="142311" y="112835"/>
                  </a:lnTo>
                  <a:lnTo>
                    <a:pt x="146001" y="112835"/>
                  </a:lnTo>
                  <a:lnTo>
                    <a:pt x="138622" y="116530"/>
                  </a:lnTo>
                  <a:lnTo>
                    <a:pt x="138622" y="112835"/>
                  </a:lnTo>
                  <a:lnTo>
                    <a:pt x="131244" y="105453"/>
                  </a:lnTo>
                  <a:lnTo>
                    <a:pt x="127555" y="101766"/>
                  </a:lnTo>
                  <a:lnTo>
                    <a:pt x="127555" y="98071"/>
                  </a:lnTo>
                  <a:lnTo>
                    <a:pt x="123866" y="87003"/>
                  </a:lnTo>
                  <a:lnTo>
                    <a:pt x="123866" y="83317"/>
                  </a:lnTo>
                  <a:lnTo>
                    <a:pt x="120176" y="83317"/>
                  </a:lnTo>
                  <a:lnTo>
                    <a:pt x="116487" y="79621"/>
                  </a:lnTo>
                  <a:lnTo>
                    <a:pt x="109109" y="75935"/>
                  </a:lnTo>
                  <a:lnTo>
                    <a:pt x="105420" y="72239"/>
                  </a:lnTo>
                  <a:lnTo>
                    <a:pt x="101731" y="68553"/>
                  </a:lnTo>
                  <a:lnTo>
                    <a:pt x="101731" y="64857"/>
                  </a:lnTo>
                  <a:lnTo>
                    <a:pt x="101731" y="57475"/>
                  </a:lnTo>
                  <a:lnTo>
                    <a:pt x="105420" y="53789"/>
                  </a:lnTo>
                  <a:lnTo>
                    <a:pt x="101731" y="53789"/>
                  </a:lnTo>
                  <a:lnTo>
                    <a:pt x="98041" y="53789"/>
                  </a:lnTo>
                  <a:lnTo>
                    <a:pt x="94352" y="50093"/>
                  </a:lnTo>
                  <a:lnTo>
                    <a:pt x="83284" y="50093"/>
                  </a:lnTo>
                  <a:lnTo>
                    <a:pt x="79595" y="50093"/>
                  </a:lnTo>
                  <a:lnTo>
                    <a:pt x="75906" y="50093"/>
                  </a:lnTo>
                  <a:lnTo>
                    <a:pt x="68527" y="50093"/>
                  </a:lnTo>
                  <a:lnTo>
                    <a:pt x="68527" y="53789"/>
                  </a:lnTo>
                  <a:lnTo>
                    <a:pt x="64838" y="53789"/>
                  </a:lnTo>
                  <a:lnTo>
                    <a:pt x="61149" y="53789"/>
                  </a:lnTo>
                  <a:lnTo>
                    <a:pt x="57460" y="57475"/>
                  </a:lnTo>
                  <a:lnTo>
                    <a:pt x="50081" y="61171"/>
                  </a:lnTo>
                  <a:lnTo>
                    <a:pt x="46393" y="64857"/>
                  </a:lnTo>
                  <a:lnTo>
                    <a:pt x="39014" y="68553"/>
                  </a:lnTo>
                  <a:lnTo>
                    <a:pt x="35325" y="68553"/>
                  </a:lnTo>
                  <a:lnTo>
                    <a:pt x="31636" y="72239"/>
                  </a:lnTo>
                  <a:lnTo>
                    <a:pt x="27947" y="75935"/>
                  </a:lnTo>
                  <a:lnTo>
                    <a:pt x="20568" y="79621"/>
                  </a:lnTo>
                  <a:lnTo>
                    <a:pt x="16879" y="83317"/>
                  </a:lnTo>
                  <a:lnTo>
                    <a:pt x="13190" y="83317"/>
                  </a:lnTo>
                  <a:lnTo>
                    <a:pt x="9501" y="87003"/>
                  </a:lnTo>
                  <a:lnTo>
                    <a:pt x="5812" y="90689"/>
                  </a:lnTo>
                  <a:lnTo>
                    <a:pt x="5812" y="94384"/>
                  </a:lnTo>
                  <a:lnTo>
                    <a:pt x="5812" y="98071"/>
                  </a:lnTo>
                  <a:lnTo>
                    <a:pt x="5812" y="101766"/>
                  </a:lnTo>
                  <a:lnTo>
                    <a:pt x="9501" y="109148"/>
                  </a:lnTo>
                  <a:lnTo>
                    <a:pt x="13190" y="109148"/>
                  </a:lnTo>
                  <a:lnTo>
                    <a:pt x="16879" y="112835"/>
                  </a:lnTo>
                  <a:lnTo>
                    <a:pt x="20568" y="116530"/>
                  </a:lnTo>
                  <a:lnTo>
                    <a:pt x="27947" y="120216"/>
                  </a:lnTo>
                  <a:lnTo>
                    <a:pt x="27947" y="123912"/>
                  </a:lnTo>
                  <a:lnTo>
                    <a:pt x="31636" y="123912"/>
                  </a:lnTo>
                  <a:lnTo>
                    <a:pt x="35325" y="127598"/>
                  </a:lnTo>
                  <a:lnTo>
                    <a:pt x="39014" y="131294"/>
                  </a:lnTo>
                  <a:lnTo>
                    <a:pt x="39014" y="134980"/>
                  </a:lnTo>
                  <a:lnTo>
                    <a:pt x="42703" y="138666"/>
                  </a:lnTo>
                  <a:lnTo>
                    <a:pt x="42703" y="142362"/>
                  </a:lnTo>
                  <a:lnTo>
                    <a:pt x="46393" y="146048"/>
                  </a:lnTo>
                  <a:lnTo>
                    <a:pt x="46393" y="149744"/>
                  </a:lnTo>
                  <a:lnTo>
                    <a:pt x="50081" y="153430"/>
                  </a:lnTo>
                  <a:lnTo>
                    <a:pt x="53771" y="157126"/>
                  </a:lnTo>
                  <a:lnTo>
                    <a:pt x="61149" y="160812"/>
                  </a:lnTo>
                  <a:lnTo>
                    <a:pt x="61149" y="164508"/>
                  </a:lnTo>
                  <a:lnTo>
                    <a:pt x="64838" y="164508"/>
                  </a:lnTo>
                  <a:lnTo>
                    <a:pt x="68527" y="168194"/>
                  </a:lnTo>
                  <a:lnTo>
                    <a:pt x="68527" y="171890"/>
                  </a:lnTo>
                  <a:lnTo>
                    <a:pt x="72216" y="171890"/>
                  </a:lnTo>
                  <a:lnTo>
                    <a:pt x="79595" y="171890"/>
                  </a:lnTo>
                  <a:lnTo>
                    <a:pt x="83284" y="171890"/>
                  </a:lnTo>
                  <a:lnTo>
                    <a:pt x="83284" y="168194"/>
                  </a:lnTo>
                  <a:lnTo>
                    <a:pt x="83284" y="160812"/>
                  </a:lnTo>
                  <a:lnTo>
                    <a:pt x="86974" y="160812"/>
                  </a:lnTo>
                  <a:lnTo>
                    <a:pt x="86974" y="168194"/>
                  </a:lnTo>
                  <a:lnTo>
                    <a:pt x="90663" y="171890"/>
                  </a:lnTo>
                  <a:lnTo>
                    <a:pt x="94352" y="171890"/>
                  </a:lnTo>
                  <a:lnTo>
                    <a:pt x="101731" y="171890"/>
                  </a:lnTo>
                  <a:lnTo>
                    <a:pt x="105420" y="168194"/>
                  </a:lnTo>
                  <a:lnTo>
                    <a:pt x="105420" y="164508"/>
                  </a:lnTo>
                  <a:lnTo>
                    <a:pt x="109109" y="164508"/>
                  </a:lnTo>
                  <a:lnTo>
                    <a:pt x="116487" y="164508"/>
                  </a:lnTo>
                  <a:lnTo>
                    <a:pt x="120176" y="164508"/>
                  </a:lnTo>
                  <a:lnTo>
                    <a:pt x="112798" y="160812"/>
                  </a:lnTo>
                  <a:lnTo>
                    <a:pt x="116487" y="157126"/>
                  </a:lnTo>
                  <a:lnTo>
                    <a:pt x="123866" y="153430"/>
                  </a:lnTo>
                  <a:lnTo>
                    <a:pt x="127555" y="153430"/>
                  </a:lnTo>
                  <a:lnTo>
                    <a:pt x="127555" y="157126"/>
                  </a:lnTo>
                  <a:lnTo>
                    <a:pt x="138622" y="149744"/>
                  </a:lnTo>
                  <a:lnTo>
                    <a:pt x="138622" y="146048"/>
                  </a:lnTo>
                  <a:lnTo>
                    <a:pt x="138622" y="142362"/>
                  </a:lnTo>
                  <a:lnTo>
                    <a:pt x="142311" y="146048"/>
                  </a:lnTo>
                  <a:lnTo>
                    <a:pt x="142311" y="149744"/>
                  </a:lnTo>
                  <a:lnTo>
                    <a:pt x="146001" y="149744"/>
                  </a:lnTo>
                  <a:lnTo>
                    <a:pt x="142311" y="153430"/>
                  </a:lnTo>
                  <a:lnTo>
                    <a:pt x="142311" y="160812"/>
                  </a:lnTo>
                  <a:lnTo>
                    <a:pt x="146001" y="160812"/>
                  </a:lnTo>
                  <a:lnTo>
                    <a:pt x="142311" y="164508"/>
                  </a:lnTo>
                  <a:lnTo>
                    <a:pt x="146001" y="168194"/>
                  </a:lnTo>
                  <a:lnTo>
                    <a:pt x="146001" y="171890"/>
                  </a:lnTo>
                  <a:lnTo>
                    <a:pt x="142311" y="168194"/>
                  </a:lnTo>
                  <a:lnTo>
                    <a:pt x="138622" y="171890"/>
                  </a:lnTo>
                  <a:lnTo>
                    <a:pt x="134933" y="171890"/>
                  </a:lnTo>
                  <a:lnTo>
                    <a:pt x="138622" y="175576"/>
                  </a:lnTo>
                  <a:lnTo>
                    <a:pt x="142311" y="179271"/>
                  </a:lnTo>
                  <a:lnTo>
                    <a:pt x="142311" y="182958"/>
                  </a:lnTo>
                  <a:lnTo>
                    <a:pt x="146001" y="182958"/>
                  </a:lnTo>
                  <a:lnTo>
                    <a:pt x="146001" y="190339"/>
                  </a:lnTo>
                  <a:lnTo>
                    <a:pt x="146001" y="194026"/>
                  </a:lnTo>
                  <a:lnTo>
                    <a:pt x="149690" y="194026"/>
                  </a:lnTo>
                  <a:lnTo>
                    <a:pt x="153379" y="197721"/>
                  </a:lnTo>
                  <a:lnTo>
                    <a:pt x="157068" y="197721"/>
                  </a:lnTo>
                  <a:lnTo>
                    <a:pt x="157068" y="194026"/>
                  </a:lnTo>
                  <a:lnTo>
                    <a:pt x="160757" y="194026"/>
                  </a:lnTo>
                  <a:lnTo>
                    <a:pt x="168136" y="197721"/>
                  </a:lnTo>
                  <a:lnTo>
                    <a:pt x="171825" y="197721"/>
                  </a:lnTo>
                  <a:lnTo>
                    <a:pt x="171825" y="201407"/>
                  </a:lnTo>
                  <a:lnTo>
                    <a:pt x="179203" y="205103"/>
                  </a:lnTo>
                  <a:lnTo>
                    <a:pt x="179203" y="208789"/>
                  </a:lnTo>
                  <a:lnTo>
                    <a:pt x="182892" y="208789"/>
                  </a:lnTo>
                  <a:lnTo>
                    <a:pt x="190270" y="216171"/>
                  </a:lnTo>
                  <a:lnTo>
                    <a:pt x="193960" y="216171"/>
                  </a:lnTo>
                  <a:lnTo>
                    <a:pt x="201338" y="216171"/>
                  </a:lnTo>
                  <a:lnTo>
                    <a:pt x="208716" y="212485"/>
                  </a:lnTo>
                  <a:lnTo>
                    <a:pt x="212405" y="212485"/>
                  </a:lnTo>
                  <a:lnTo>
                    <a:pt x="216095" y="208789"/>
                  </a:lnTo>
                  <a:lnTo>
                    <a:pt x="223473" y="208789"/>
                  </a:lnTo>
                  <a:lnTo>
                    <a:pt x="227162" y="208789"/>
                  </a:lnTo>
                  <a:lnTo>
                    <a:pt x="230852" y="212485"/>
                  </a:lnTo>
                  <a:lnTo>
                    <a:pt x="234541" y="208789"/>
                  </a:lnTo>
                  <a:lnTo>
                    <a:pt x="238231" y="194026"/>
                  </a:lnTo>
                  <a:lnTo>
                    <a:pt x="241920" y="194026"/>
                  </a:lnTo>
                  <a:lnTo>
                    <a:pt x="241920" y="190339"/>
                  </a:lnTo>
                  <a:lnTo>
                    <a:pt x="241920" y="186644"/>
                  </a:lnTo>
                  <a:lnTo>
                    <a:pt x="245609" y="186644"/>
                  </a:lnTo>
                  <a:lnTo>
                    <a:pt x="245609" y="179271"/>
                  </a:lnTo>
                  <a:lnTo>
                    <a:pt x="245609" y="175576"/>
                  </a:lnTo>
                  <a:lnTo>
                    <a:pt x="245609" y="171890"/>
                  </a:lnTo>
                  <a:lnTo>
                    <a:pt x="245609" y="168194"/>
                  </a:lnTo>
                  <a:lnTo>
                    <a:pt x="245609" y="164508"/>
                  </a:lnTo>
                  <a:lnTo>
                    <a:pt x="252987" y="168194"/>
                  </a:lnTo>
                  <a:lnTo>
                    <a:pt x="260365" y="164508"/>
                  </a:lnTo>
                  <a:lnTo>
                    <a:pt x="264055" y="164508"/>
                  </a:lnTo>
                  <a:lnTo>
                    <a:pt x="271433" y="157126"/>
                  </a:lnTo>
                  <a:lnTo>
                    <a:pt x="275122" y="160812"/>
                  </a:lnTo>
                  <a:lnTo>
                    <a:pt x="278811" y="164508"/>
                  </a:lnTo>
                  <a:lnTo>
                    <a:pt x="282500" y="168194"/>
                  </a:lnTo>
                  <a:lnTo>
                    <a:pt x="282500" y="171890"/>
                  </a:lnTo>
                  <a:lnTo>
                    <a:pt x="286190" y="171890"/>
                  </a:lnTo>
                  <a:lnTo>
                    <a:pt x="286190" y="175576"/>
                  </a:lnTo>
                  <a:lnTo>
                    <a:pt x="289879" y="175576"/>
                  </a:lnTo>
                  <a:lnTo>
                    <a:pt x="293568" y="175576"/>
                  </a:lnTo>
                  <a:lnTo>
                    <a:pt x="297257" y="179271"/>
                  </a:lnTo>
                  <a:lnTo>
                    <a:pt x="300946" y="182958"/>
                  </a:lnTo>
                  <a:lnTo>
                    <a:pt x="308325" y="182958"/>
                  </a:lnTo>
                  <a:lnTo>
                    <a:pt x="308325" y="186644"/>
                  </a:lnTo>
                  <a:lnTo>
                    <a:pt x="308325" y="194026"/>
                  </a:lnTo>
                  <a:lnTo>
                    <a:pt x="315703" y="197721"/>
                  </a:lnTo>
                  <a:lnTo>
                    <a:pt x="319392" y="197721"/>
                  </a:lnTo>
                  <a:lnTo>
                    <a:pt x="323081" y="201407"/>
                  </a:lnTo>
                  <a:lnTo>
                    <a:pt x="326770" y="201407"/>
                  </a:lnTo>
                  <a:lnTo>
                    <a:pt x="334149" y="205103"/>
                  </a:lnTo>
                  <a:lnTo>
                    <a:pt x="341527" y="208789"/>
                  </a:lnTo>
                  <a:lnTo>
                    <a:pt x="348905" y="208789"/>
                  </a:lnTo>
                  <a:lnTo>
                    <a:pt x="352594" y="212485"/>
                  </a:lnTo>
                  <a:lnTo>
                    <a:pt x="359973" y="212485"/>
                  </a:lnTo>
                  <a:lnTo>
                    <a:pt x="371040" y="208789"/>
                  </a:lnTo>
                  <a:lnTo>
                    <a:pt x="378419" y="205103"/>
                  </a:lnTo>
                  <a:lnTo>
                    <a:pt x="382109" y="205103"/>
                  </a:lnTo>
                  <a:lnTo>
                    <a:pt x="385798" y="205103"/>
                  </a:lnTo>
                  <a:lnTo>
                    <a:pt x="385798" y="208789"/>
                  </a:lnTo>
                  <a:lnTo>
                    <a:pt x="389487" y="208789"/>
                  </a:lnTo>
                  <a:lnTo>
                    <a:pt x="393176" y="208789"/>
                  </a:lnTo>
                  <a:lnTo>
                    <a:pt x="400555" y="212485"/>
                  </a:lnTo>
                  <a:lnTo>
                    <a:pt x="404244" y="223553"/>
                  </a:lnTo>
                  <a:lnTo>
                    <a:pt x="404244" y="230935"/>
                  </a:lnTo>
                  <a:lnTo>
                    <a:pt x="415311" y="230935"/>
                  </a:lnTo>
                  <a:lnTo>
                    <a:pt x="422690" y="227249"/>
                  </a:lnTo>
                  <a:lnTo>
                    <a:pt x="419000" y="223553"/>
                  </a:lnTo>
                  <a:lnTo>
                    <a:pt x="415311" y="223553"/>
                  </a:lnTo>
                  <a:lnTo>
                    <a:pt x="415311" y="219867"/>
                  </a:lnTo>
                  <a:lnTo>
                    <a:pt x="419000" y="208789"/>
                  </a:lnTo>
                  <a:lnTo>
                    <a:pt x="415311" y="197721"/>
                  </a:lnTo>
                  <a:lnTo>
                    <a:pt x="415311" y="194026"/>
                  </a:lnTo>
                  <a:lnTo>
                    <a:pt x="422690" y="190339"/>
                  </a:lnTo>
                  <a:lnTo>
                    <a:pt x="415311" y="179271"/>
                  </a:lnTo>
                  <a:lnTo>
                    <a:pt x="400555" y="138666"/>
                  </a:lnTo>
                  <a:lnTo>
                    <a:pt x="393176" y="123912"/>
                  </a:lnTo>
                  <a:lnTo>
                    <a:pt x="393176" y="120216"/>
                  </a:lnTo>
                  <a:lnTo>
                    <a:pt x="396865" y="112835"/>
                  </a:lnTo>
                  <a:lnTo>
                    <a:pt x="400555" y="101766"/>
                  </a:lnTo>
                  <a:lnTo>
                    <a:pt x="404244" y="94384"/>
                  </a:lnTo>
                  <a:lnTo>
                    <a:pt x="404244" y="90689"/>
                  </a:lnTo>
                  <a:lnTo>
                    <a:pt x="400555" y="87003"/>
                  </a:lnTo>
                  <a:lnTo>
                    <a:pt x="400555" y="79621"/>
                  </a:lnTo>
                  <a:lnTo>
                    <a:pt x="385798" y="61171"/>
                  </a:lnTo>
                  <a:lnTo>
                    <a:pt x="382109" y="57475"/>
                  </a:lnTo>
                  <a:lnTo>
                    <a:pt x="382109" y="53789"/>
                  </a:lnTo>
                  <a:lnTo>
                    <a:pt x="382109" y="46407"/>
                  </a:lnTo>
                  <a:lnTo>
                    <a:pt x="382109" y="42711"/>
                  </a:lnTo>
                  <a:lnTo>
                    <a:pt x="385798" y="35339"/>
                  </a:lnTo>
                  <a:lnTo>
                    <a:pt x="389487" y="31643"/>
                  </a:lnTo>
                  <a:lnTo>
                    <a:pt x="393176" y="27957"/>
                  </a:lnTo>
                  <a:lnTo>
                    <a:pt x="404244" y="24261"/>
                  </a:lnTo>
                  <a:lnTo>
                    <a:pt x="400555" y="24261"/>
                  </a:lnTo>
                  <a:lnTo>
                    <a:pt x="393176" y="20575"/>
                  </a:lnTo>
                  <a:lnTo>
                    <a:pt x="385798" y="20575"/>
                  </a:lnTo>
                  <a:lnTo>
                    <a:pt x="382109" y="20575"/>
                  </a:lnTo>
                  <a:lnTo>
                    <a:pt x="378419" y="20575"/>
                  </a:lnTo>
                  <a:lnTo>
                    <a:pt x="371040" y="16880"/>
                  </a:lnTo>
                  <a:lnTo>
                    <a:pt x="359973" y="9498"/>
                  </a:lnTo>
                  <a:lnTo>
                    <a:pt x="356284" y="9498"/>
                  </a:lnTo>
                  <a:lnTo>
                    <a:pt x="345216" y="5812"/>
                  </a:lnTo>
                  <a:close/>
                  <a:moveTo>
                    <a:pt x="134933" y="171890"/>
                  </a:moveTo>
                  <a:lnTo>
                    <a:pt x="138622" y="164508"/>
                  </a:lnTo>
                  <a:lnTo>
                    <a:pt x="134933" y="168194"/>
                  </a:lnTo>
                  <a:lnTo>
                    <a:pt x="134933" y="171890"/>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64</a:t>
              </a:r>
            </a:p>
          </p:txBody>
        </p:sp>
      </p:grpSp>
      <p:grpSp>
        <p:nvGrpSpPr>
          <p:cNvPr id="37" name="Group 36">
            <a:extLst>
              <a:ext uri="{FF2B5EF4-FFF2-40B4-BE49-F238E27FC236}">
                <a16:creationId xmlns:a16="http://schemas.microsoft.com/office/drawing/2014/main" id="{44D7CBEC-A32A-4620-8B1B-BE6372052616}"/>
              </a:ext>
            </a:extLst>
          </p:cNvPr>
          <p:cNvGrpSpPr/>
          <p:nvPr/>
        </p:nvGrpSpPr>
        <p:grpSpPr>
          <a:xfrm>
            <a:off x="4245536" y="2413315"/>
            <a:ext cx="3068866" cy="3609270"/>
            <a:chOff x="4245536" y="2413315"/>
            <a:chExt cx="3068866" cy="3609270"/>
          </a:xfrm>
        </p:grpSpPr>
        <p:sp>
          <p:nvSpPr>
            <p:cNvPr id="274" name="Freeform: Shape 273">
              <a:extLst>
                <a:ext uri="{FF2B5EF4-FFF2-40B4-BE49-F238E27FC236}">
                  <a16:creationId xmlns:a16="http://schemas.microsoft.com/office/drawing/2014/main" id="{6767D356-5747-4162-9C1E-676E07307766}"/>
                </a:ext>
              </a:extLst>
            </p:cNvPr>
            <p:cNvSpPr/>
            <p:nvPr/>
          </p:nvSpPr>
          <p:spPr>
            <a:xfrm>
              <a:off x="5835272" y="2597958"/>
              <a:ext cx="860870" cy="799379"/>
            </a:xfrm>
            <a:custGeom>
              <a:avLst/>
              <a:gdLst>
                <a:gd name="connsiteX0" fmla="*/ 407938 w 533400"/>
                <a:gd name="connsiteY0" fmla="*/ 5812 h 495300"/>
                <a:gd name="connsiteX1" fmla="*/ 389488 w 533400"/>
                <a:gd name="connsiteY1" fmla="*/ 13192 h 495300"/>
                <a:gd name="connsiteX2" fmla="*/ 385802 w 533400"/>
                <a:gd name="connsiteY2" fmla="*/ 13192 h 495300"/>
                <a:gd name="connsiteX3" fmla="*/ 378420 w 533400"/>
                <a:gd name="connsiteY3" fmla="*/ 9502 h 495300"/>
                <a:gd name="connsiteX4" fmla="*/ 367352 w 533400"/>
                <a:gd name="connsiteY4" fmla="*/ 9502 h 495300"/>
                <a:gd name="connsiteX5" fmla="*/ 367352 w 533400"/>
                <a:gd name="connsiteY5" fmla="*/ 13192 h 495300"/>
                <a:gd name="connsiteX6" fmla="*/ 363666 w 533400"/>
                <a:gd name="connsiteY6" fmla="*/ 13192 h 495300"/>
                <a:gd name="connsiteX7" fmla="*/ 359970 w 533400"/>
                <a:gd name="connsiteY7" fmla="*/ 13192 h 495300"/>
                <a:gd name="connsiteX8" fmla="*/ 356284 w 533400"/>
                <a:gd name="connsiteY8" fmla="*/ 9502 h 495300"/>
                <a:gd name="connsiteX9" fmla="*/ 341530 w 533400"/>
                <a:gd name="connsiteY9" fmla="*/ 13192 h 495300"/>
                <a:gd name="connsiteX10" fmla="*/ 334148 w 533400"/>
                <a:gd name="connsiteY10" fmla="*/ 13192 h 495300"/>
                <a:gd name="connsiteX11" fmla="*/ 330462 w 533400"/>
                <a:gd name="connsiteY11" fmla="*/ 13192 h 495300"/>
                <a:gd name="connsiteX12" fmla="*/ 326775 w 533400"/>
                <a:gd name="connsiteY12" fmla="*/ 16883 h 495300"/>
                <a:gd name="connsiteX13" fmla="*/ 312012 w 533400"/>
                <a:gd name="connsiteY13" fmla="*/ 20573 h 495300"/>
                <a:gd name="connsiteX14" fmla="*/ 308326 w 533400"/>
                <a:gd name="connsiteY14" fmla="*/ 20573 h 495300"/>
                <a:gd name="connsiteX15" fmla="*/ 304639 w 533400"/>
                <a:gd name="connsiteY15" fmla="*/ 20573 h 495300"/>
                <a:gd name="connsiteX16" fmla="*/ 289876 w 533400"/>
                <a:gd name="connsiteY16" fmla="*/ 27955 h 495300"/>
                <a:gd name="connsiteX17" fmla="*/ 282503 w 533400"/>
                <a:gd name="connsiteY17" fmla="*/ 27955 h 495300"/>
                <a:gd name="connsiteX18" fmla="*/ 278808 w 533400"/>
                <a:gd name="connsiteY18" fmla="*/ 27955 h 495300"/>
                <a:gd name="connsiteX19" fmla="*/ 275121 w 533400"/>
                <a:gd name="connsiteY19" fmla="*/ 27955 h 495300"/>
                <a:gd name="connsiteX20" fmla="*/ 271435 w 533400"/>
                <a:gd name="connsiteY20" fmla="*/ 27955 h 495300"/>
                <a:gd name="connsiteX21" fmla="*/ 271435 w 533400"/>
                <a:gd name="connsiteY21" fmla="*/ 24264 h 495300"/>
                <a:gd name="connsiteX22" fmla="*/ 267749 w 533400"/>
                <a:gd name="connsiteY22" fmla="*/ 20573 h 495300"/>
                <a:gd name="connsiteX23" fmla="*/ 267749 w 533400"/>
                <a:gd name="connsiteY23" fmla="*/ 27955 h 495300"/>
                <a:gd name="connsiteX24" fmla="*/ 260367 w 533400"/>
                <a:gd name="connsiteY24" fmla="*/ 31645 h 495300"/>
                <a:gd name="connsiteX25" fmla="*/ 252985 w 533400"/>
                <a:gd name="connsiteY25" fmla="*/ 35336 h 495300"/>
                <a:gd name="connsiteX26" fmla="*/ 249299 w 533400"/>
                <a:gd name="connsiteY26" fmla="*/ 39027 h 495300"/>
                <a:gd name="connsiteX27" fmla="*/ 241917 w 533400"/>
                <a:gd name="connsiteY27" fmla="*/ 42717 h 495300"/>
                <a:gd name="connsiteX28" fmla="*/ 238231 w 533400"/>
                <a:gd name="connsiteY28" fmla="*/ 46408 h 495300"/>
                <a:gd name="connsiteX29" fmla="*/ 230849 w 533400"/>
                <a:gd name="connsiteY29" fmla="*/ 50098 h 495300"/>
                <a:gd name="connsiteX30" fmla="*/ 223477 w 533400"/>
                <a:gd name="connsiteY30" fmla="*/ 50098 h 495300"/>
                <a:gd name="connsiteX31" fmla="*/ 212409 w 533400"/>
                <a:gd name="connsiteY31" fmla="*/ 57480 h 495300"/>
                <a:gd name="connsiteX32" fmla="*/ 197655 w 533400"/>
                <a:gd name="connsiteY32" fmla="*/ 64861 h 495300"/>
                <a:gd name="connsiteX33" fmla="*/ 190273 w 533400"/>
                <a:gd name="connsiteY33" fmla="*/ 68551 h 495300"/>
                <a:gd name="connsiteX34" fmla="*/ 171823 w 533400"/>
                <a:gd name="connsiteY34" fmla="*/ 79623 h 495300"/>
                <a:gd name="connsiteX35" fmla="*/ 160755 w 533400"/>
                <a:gd name="connsiteY35" fmla="*/ 79623 h 495300"/>
                <a:gd name="connsiteX36" fmla="*/ 157069 w 533400"/>
                <a:gd name="connsiteY36" fmla="*/ 83314 h 495300"/>
                <a:gd name="connsiteX37" fmla="*/ 149687 w 533400"/>
                <a:gd name="connsiteY37" fmla="*/ 87004 h 495300"/>
                <a:gd name="connsiteX38" fmla="*/ 146000 w 533400"/>
                <a:gd name="connsiteY38" fmla="*/ 87004 h 495300"/>
                <a:gd name="connsiteX39" fmla="*/ 142314 w 533400"/>
                <a:gd name="connsiteY39" fmla="*/ 90695 h 495300"/>
                <a:gd name="connsiteX40" fmla="*/ 134932 w 533400"/>
                <a:gd name="connsiteY40" fmla="*/ 94385 h 495300"/>
                <a:gd name="connsiteX41" fmla="*/ 127560 w 533400"/>
                <a:gd name="connsiteY41" fmla="*/ 98075 h 495300"/>
                <a:gd name="connsiteX42" fmla="*/ 123864 w 533400"/>
                <a:gd name="connsiteY42" fmla="*/ 101766 h 495300"/>
                <a:gd name="connsiteX43" fmla="*/ 116492 w 533400"/>
                <a:gd name="connsiteY43" fmla="*/ 109147 h 495300"/>
                <a:gd name="connsiteX44" fmla="*/ 112796 w 533400"/>
                <a:gd name="connsiteY44" fmla="*/ 116528 h 495300"/>
                <a:gd name="connsiteX45" fmla="*/ 109110 w 533400"/>
                <a:gd name="connsiteY45" fmla="*/ 120219 h 495300"/>
                <a:gd name="connsiteX46" fmla="*/ 109110 w 533400"/>
                <a:gd name="connsiteY46" fmla="*/ 123910 h 495300"/>
                <a:gd name="connsiteX47" fmla="*/ 105424 w 533400"/>
                <a:gd name="connsiteY47" fmla="*/ 123910 h 495300"/>
                <a:gd name="connsiteX48" fmla="*/ 105424 w 533400"/>
                <a:gd name="connsiteY48" fmla="*/ 127600 h 495300"/>
                <a:gd name="connsiteX49" fmla="*/ 98042 w 533400"/>
                <a:gd name="connsiteY49" fmla="*/ 131291 h 495300"/>
                <a:gd name="connsiteX50" fmla="*/ 94356 w 533400"/>
                <a:gd name="connsiteY50" fmla="*/ 134981 h 495300"/>
                <a:gd name="connsiteX51" fmla="*/ 90660 w 533400"/>
                <a:gd name="connsiteY51" fmla="*/ 134981 h 495300"/>
                <a:gd name="connsiteX52" fmla="*/ 83288 w 533400"/>
                <a:gd name="connsiteY52" fmla="*/ 142363 h 495300"/>
                <a:gd name="connsiteX53" fmla="*/ 79592 w 533400"/>
                <a:gd name="connsiteY53" fmla="*/ 146053 h 495300"/>
                <a:gd name="connsiteX54" fmla="*/ 75906 w 533400"/>
                <a:gd name="connsiteY54" fmla="*/ 146053 h 495300"/>
                <a:gd name="connsiteX55" fmla="*/ 72220 w 533400"/>
                <a:gd name="connsiteY55" fmla="*/ 149744 h 495300"/>
                <a:gd name="connsiteX56" fmla="*/ 68524 w 533400"/>
                <a:gd name="connsiteY56" fmla="*/ 157125 h 495300"/>
                <a:gd name="connsiteX57" fmla="*/ 64838 w 533400"/>
                <a:gd name="connsiteY57" fmla="*/ 157125 h 495300"/>
                <a:gd name="connsiteX58" fmla="*/ 61152 w 533400"/>
                <a:gd name="connsiteY58" fmla="*/ 160816 h 495300"/>
                <a:gd name="connsiteX59" fmla="*/ 57466 w 533400"/>
                <a:gd name="connsiteY59" fmla="*/ 168197 h 495300"/>
                <a:gd name="connsiteX60" fmla="*/ 53770 w 533400"/>
                <a:gd name="connsiteY60" fmla="*/ 179268 h 495300"/>
                <a:gd name="connsiteX61" fmla="*/ 50084 w 533400"/>
                <a:gd name="connsiteY61" fmla="*/ 182958 h 495300"/>
                <a:gd name="connsiteX62" fmla="*/ 50084 w 533400"/>
                <a:gd name="connsiteY62" fmla="*/ 186649 h 495300"/>
                <a:gd name="connsiteX63" fmla="*/ 53770 w 533400"/>
                <a:gd name="connsiteY63" fmla="*/ 186649 h 495300"/>
                <a:gd name="connsiteX64" fmla="*/ 50084 w 533400"/>
                <a:gd name="connsiteY64" fmla="*/ 190340 h 495300"/>
                <a:gd name="connsiteX65" fmla="*/ 46398 w 533400"/>
                <a:gd name="connsiteY65" fmla="*/ 194030 h 495300"/>
                <a:gd name="connsiteX66" fmla="*/ 42702 w 533400"/>
                <a:gd name="connsiteY66" fmla="*/ 197721 h 495300"/>
                <a:gd name="connsiteX67" fmla="*/ 42702 w 533400"/>
                <a:gd name="connsiteY67" fmla="*/ 201411 h 495300"/>
                <a:gd name="connsiteX68" fmla="*/ 46398 w 533400"/>
                <a:gd name="connsiteY68" fmla="*/ 201411 h 495300"/>
                <a:gd name="connsiteX69" fmla="*/ 46398 w 533400"/>
                <a:gd name="connsiteY69" fmla="*/ 208793 h 495300"/>
                <a:gd name="connsiteX70" fmla="*/ 42702 w 533400"/>
                <a:gd name="connsiteY70" fmla="*/ 216174 h 495300"/>
                <a:gd name="connsiteX71" fmla="*/ 42702 w 533400"/>
                <a:gd name="connsiteY71" fmla="*/ 227246 h 495300"/>
                <a:gd name="connsiteX72" fmla="*/ 42702 w 533400"/>
                <a:gd name="connsiteY72" fmla="*/ 234627 h 495300"/>
                <a:gd name="connsiteX73" fmla="*/ 42702 w 533400"/>
                <a:gd name="connsiteY73" fmla="*/ 238318 h 495300"/>
                <a:gd name="connsiteX74" fmla="*/ 39016 w 533400"/>
                <a:gd name="connsiteY74" fmla="*/ 242008 h 495300"/>
                <a:gd name="connsiteX75" fmla="*/ 39016 w 533400"/>
                <a:gd name="connsiteY75" fmla="*/ 245699 h 495300"/>
                <a:gd name="connsiteX76" fmla="*/ 31634 w 533400"/>
                <a:gd name="connsiteY76" fmla="*/ 249389 h 495300"/>
                <a:gd name="connsiteX77" fmla="*/ 27948 w 533400"/>
                <a:gd name="connsiteY77" fmla="*/ 249389 h 495300"/>
                <a:gd name="connsiteX78" fmla="*/ 31634 w 533400"/>
                <a:gd name="connsiteY78" fmla="*/ 253080 h 495300"/>
                <a:gd name="connsiteX79" fmla="*/ 27948 w 533400"/>
                <a:gd name="connsiteY79" fmla="*/ 256771 h 495300"/>
                <a:gd name="connsiteX80" fmla="*/ 27948 w 533400"/>
                <a:gd name="connsiteY80" fmla="*/ 260461 h 495300"/>
                <a:gd name="connsiteX81" fmla="*/ 24261 w 533400"/>
                <a:gd name="connsiteY81" fmla="*/ 264151 h 495300"/>
                <a:gd name="connsiteX82" fmla="*/ 27948 w 533400"/>
                <a:gd name="connsiteY82" fmla="*/ 264151 h 495300"/>
                <a:gd name="connsiteX83" fmla="*/ 31634 w 533400"/>
                <a:gd name="connsiteY83" fmla="*/ 267841 h 495300"/>
                <a:gd name="connsiteX84" fmla="*/ 35330 w 533400"/>
                <a:gd name="connsiteY84" fmla="*/ 275223 h 495300"/>
                <a:gd name="connsiteX85" fmla="*/ 35330 w 533400"/>
                <a:gd name="connsiteY85" fmla="*/ 278913 h 495300"/>
                <a:gd name="connsiteX86" fmla="*/ 35330 w 533400"/>
                <a:gd name="connsiteY86" fmla="*/ 282604 h 495300"/>
                <a:gd name="connsiteX87" fmla="*/ 35330 w 533400"/>
                <a:gd name="connsiteY87" fmla="*/ 286295 h 495300"/>
                <a:gd name="connsiteX88" fmla="*/ 39016 w 533400"/>
                <a:gd name="connsiteY88" fmla="*/ 293676 h 495300"/>
                <a:gd name="connsiteX89" fmla="*/ 35330 w 533400"/>
                <a:gd name="connsiteY89" fmla="*/ 293676 h 495300"/>
                <a:gd name="connsiteX90" fmla="*/ 39016 w 533400"/>
                <a:gd name="connsiteY90" fmla="*/ 297366 h 495300"/>
                <a:gd name="connsiteX91" fmla="*/ 35330 w 533400"/>
                <a:gd name="connsiteY91" fmla="*/ 297366 h 495300"/>
                <a:gd name="connsiteX92" fmla="*/ 35330 w 533400"/>
                <a:gd name="connsiteY92" fmla="*/ 293676 h 495300"/>
                <a:gd name="connsiteX93" fmla="*/ 27948 w 533400"/>
                <a:gd name="connsiteY93" fmla="*/ 293676 h 495300"/>
                <a:gd name="connsiteX94" fmla="*/ 27948 w 533400"/>
                <a:gd name="connsiteY94" fmla="*/ 297366 h 495300"/>
                <a:gd name="connsiteX95" fmla="*/ 27948 w 533400"/>
                <a:gd name="connsiteY95" fmla="*/ 301057 h 495300"/>
                <a:gd name="connsiteX96" fmla="*/ 31634 w 533400"/>
                <a:gd name="connsiteY96" fmla="*/ 301057 h 495300"/>
                <a:gd name="connsiteX97" fmla="*/ 35330 w 533400"/>
                <a:gd name="connsiteY97" fmla="*/ 301057 h 495300"/>
                <a:gd name="connsiteX98" fmla="*/ 35330 w 533400"/>
                <a:gd name="connsiteY98" fmla="*/ 308438 h 495300"/>
                <a:gd name="connsiteX99" fmla="*/ 35330 w 533400"/>
                <a:gd name="connsiteY99" fmla="*/ 312129 h 495300"/>
                <a:gd name="connsiteX100" fmla="*/ 39016 w 533400"/>
                <a:gd name="connsiteY100" fmla="*/ 308438 h 495300"/>
                <a:gd name="connsiteX101" fmla="*/ 39016 w 533400"/>
                <a:gd name="connsiteY101" fmla="*/ 312129 h 495300"/>
                <a:gd name="connsiteX102" fmla="*/ 35330 w 533400"/>
                <a:gd name="connsiteY102" fmla="*/ 312129 h 495300"/>
                <a:gd name="connsiteX103" fmla="*/ 35330 w 533400"/>
                <a:gd name="connsiteY103" fmla="*/ 315819 h 495300"/>
                <a:gd name="connsiteX104" fmla="*/ 39016 w 533400"/>
                <a:gd name="connsiteY104" fmla="*/ 315819 h 495300"/>
                <a:gd name="connsiteX105" fmla="*/ 42702 w 533400"/>
                <a:gd name="connsiteY105" fmla="*/ 319510 h 495300"/>
                <a:gd name="connsiteX106" fmla="*/ 42702 w 533400"/>
                <a:gd name="connsiteY106" fmla="*/ 323201 h 495300"/>
                <a:gd name="connsiteX107" fmla="*/ 42702 w 533400"/>
                <a:gd name="connsiteY107" fmla="*/ 326891 h 495300"/>
                <a:gd name="connsiteX108" fmla="*/ 42702 w 533400"/>
                <a:gd name="connsiteY108" fmla="*/ 330582 h 495300"/>
                <a:gd name="connsiteX109" fmla="*/ 39016 w 533400"/>
                <a:gd name="connsiteY109" fmla="*/ 334272 h 495300"/>
                <a:gd name="connsiteX110" fmla="*/ 39016 w 533400"/>
                <a:gd name="connsiteY110" fmla="*/ 341654 h 495300"/>
                <a:gd name="connsiteX111" fmla="*/ 42702 w 533400"/>
                <a:gd name="connsiteY111" fmla="*/ 352725 h 495300"/>
                <a:gd name="connsiteX112" fmla="*/ 42702 w 533400"/>
                <a:gd name="connsiteY112" fmla="*/ 360106 h 495300"/>
                <a:gd name="connsiteX113" fmla="*/ 46398 w 533400"/>
                <a:gd name="connsiteY113" fmla="*/ 363796 h 495300"/>
                <a:gd name="connsiteX114" fmla="*/ 46398 w 533400"/>
                <a:gd name="connsiteY114" fmla="*/ 365065 h 495300"/>
                <a:gd name="connsiteX115" fmla="*/ 53770 w 533400"/>
                <a:gd name="connsiteY115" fmla="*/ 360106 h 495300"/>
                <a:gd name="connsiteX116" fmla="*/ 46398 w 533400"/>
                <a:gd name="connsiteY116" fmla="*/ 367487 h 495300"/>
                <a:gd name="connsiteX117" fmla="*/ 46398 w 533400"/>
                <a:gd name="connsiteY117" fmla="*/ 365065 h 495300"/>
                <a:gd name="connsiteX118" fmla="*/ 42702 w 533400"/>
                <a:gd name="connsiteY118" fmla="*/ 367487 h 495300"/>
                <a:gd name="connsiteX119" fmla="*/ 42702 w 533400"/>
                <a:gd name="connsiteY119" fmla="*/ 371178 h 495300"/>
                <a:gd name="connsiteX120" fmla="*/ 42702 w 533400"/>
                <a:gd name="connsiteY120" fmla="*/ 378559 h 495300"/>
                <a:gd name="connsiteX121" fmla="*/ 39016 w 533400"/>
                <a:gd name="connsiteY121" fmla="*/ 378559 h 495300"/>
                <a:gd name="connsiteX122" fmla="*/ 35330 w 533400"/>
                <a:gd name="connsiteY122" fmla="*/ 382249 h 495300"/>
                <a:gd name="connsiteX123" fmla="*/ 39016 w 533400"/>
                <a:gd name="connsiteY123" fmla="*/ 385940 h 495300"/>
                <a:gd name="connsiteX124" fmla="*/ 42702 w 533400"/>
                <a:gd name="connsiteY124" fmla="*/ 393321 h 495300"/>
                <a:gd name="connsiteX125" fmla="*/ 42702 w 533400"/>
                <a:gd name="connsiteY125" fmla="*/ 397012 h 495300"/>
                <a:gd name="connsiteX126" fmla="*/ 42702 w 533400"/>
                <a:gd name="connsiteY126" fmla="*/ 404393 h 495300"/>
                <a:gd name="connsiteX127" fmla="*/ 42702 w 533400"/>
                <a:gd name="connsiteY127" fmla="*/ 408084 h 495300"/>
                <a:gd name="connsiteX128" fmla="*/ 39016 w 533400"/>
                <a:gd name="connsiteY128" fmla="*/ 411774 h 495300"/>
                <a:gd name="connsiteX129" fmla="*/ 35330 w 533400"/>
                <a:gd name="connsiteY129" fmla="*/ 411774 h 495300"/>
                <a:gd name="connsiteX130" fmla="*/ 31634 w 533400"/>
                <a:gd name="connsiteY130" fmla="*/ 411774 h 495300"/>
                <a:gd name="connsiteX131" fmla="*/ 24261 w 533400"/>
                <a:gd name="connsiteY131" fmla="*/ 419156 h 495300"/>
                <a:gd name="connsiteX132" fmla="*/ 20566 w 533400"/>
                <a:gd name="connsiteY132" fmla="*/ 422846 h 495300"/>
                <a:gd name="connsiteX133" fmla="*/ 16880 w 533400"/>
                <a:gd name="connsiteY133" fmla="*/ 426537 h 495300"/>
                <a:gd name="connsiteX134" fmla="*/ 20566 w 533400"/>
                <a:gd name="connsiteY134" fmla="*/ 430227 h 495300"/>
                <a:gd name="connsiteX135" fmla="*/ 20566 w 533400"/>
                <a:gd name="connsiteY135" fmla="*/ 433917 h 495300"/>
                <a:gd name="connsiteX136" fmla="*/ 20566 w 533400"/>
                <a:gd name="connsiteY136" fmla="*/ 437608 h 495300"/>
                <a:gd name="connsiteX137" fmla="*/ 27948 w 533400"/>
                <a:gd name="connsiteY137" fmla="*/ 437608 h 495300"/>
                <a:gd name="connsiteX138" fmla="*/ 27948 w 533400"/>
                <a:gd name="connsiteY138" fmla="*/ 441298 h 495300"/>
                <a:gd name="connsiteX139" fmla="*/ 31634 w 533400"/>
                <a:gd name="connsiteY139" fmla="*/ 441298 h 495300"/>
                <a:gd name="connsiteX140" fmla="*/ 39016 w 533400"/>
                <a:gd name="connsiteY140" fmla="*/ 448679 h 495300"/>
                <a:gd name="connsiteX141" fmla="*/ 46398 w 533400"/>
                <a:gd name="connsiteY141" fmla="*/ 456061 h 495300"/>
                <a:gd name="connsiteX142" fmla="*/ 50084 w 533400"/>
                <a:gd name="connsiteY142" fmla="*/ 456061 h 495300"/>
                <a:gd name="connsiteX143" fmla="*/ 53770 w 533400"/>
                <a:gd name="connsiteY143" fmla="*/ 456061 h 495300"/>
                <a:gd name="connsiteX144" fmla="*/ 57466 w 533400"/>
                <a:gd name="connsiteY144" fmla="*/ 456061 h 495300"/>
                <a:gd name="connsiteX145" fmla="*/ 64838 w 533400"/>
                <a:gd name="connsiteY145" fmla="*/ 456061 h 495300"/>
                <a:gd name="connsiteX146" fmla="*/ 64838 w 533400"/>
                <a:gd name="connsiteY146" fmla="*/ 452370 h 495300"/>
                <a:gd name="connsiteX147" fmla="*/ 75906 w 533400"/>
                <a:gd name="connsiteY147" fmla="*/ 456061 h 495300"/>
                <a:gd name="connsiteX148" fmla="*/ 83288 w 533400"/>
                <a:gd name="connsiteY148" fmla="*/ 456061 h 495300"/>
                <a:gd name="connsiteX149" fmla="*/ 86974 w 533400"/>
                <a:gd name="connsiteY149" fmla="*/ 459751 h 495300"/>
                <a:gd name="connsiteX150" fmla="*/ 101728 w 533400"/>
                <a:gd name="connsiteY150" fmla="*/ 467133 h 495300"/>
                <a:gd name="connsiteX151" fmla="*/ 109110 w 533400"/>
                <a:gd name="connsiteY151" fmla="*/ 467133 h 495300"/>
                <a:gd name="connsiteX152" fmla="*/ 109110 w 533400"/>
                <a:gd name="connsiteY152" fmla="*/ 470823 h 495300"/>
                <a:gd name="connsiteX153" fmla="*/ 116492 w 533400"/>
                <a:gd name="connsiteY153" fmla="*/ 470823 h 495300"/>
                <a:gd name="connsiteX154" fmla="*/ 120178 w 533400"/>
                <a:gd name="connsiteY154" fmla="*/ 467133 h 495300"/>
                <a:gd name="connsiteX155" fmla="*/ 123864 w 533400"/>
                <a:gd name="connsiteY155" fmla="*/ 467133 h 495300"/>
                <a:gd name="connsiteX156" fmla="*/ 123864 w 533400"/>
                <a:gd name="connsiteY156" fmla="*/ 463442 h 495300"/>
                <a:gd name="connsiteX157" fmla="*/ 127560 w 533400"/>
                <a:gd name="connsiteY157" fmla="*/ 459751 h 495300"/>
                <a:gd name="connsiteX158" fmla="*/ 127560 w 533400"/>
                <a:gd name="connsiteY158" fmla="*/ 456061 h 495300"/>
                <a:gd name="connsiteX159" fmla="*/ 134932 w 533400"/>
                <a:gd name="connsiteY159" fmla="*/ 452370 h 495300"/>
                <a:gd name="connsiteX160" fmla="*/ 142314 w 533400"/>
                <a:gd name="connsiteY160" fmla="*/ 456061 h 495300"/>
                <a:gd name="connsiteX161" fmla="*/ 146000 w 533400"/>
                <a:gd name="connsiteY161" fmla="*/ 452370 h 495300"/>
                <a:gd name="connsiteX162" fmla="*/ 153382 w 533400"/>
                <a:gd name="connsiteY162" fmla="*/ 448679 h 495300"/>
                <a:gd name="connsiteX163" fmla="*/ 157069 w 533400"/>
                <a:gd name="connsiteY163" fmla="*/ 448679 h 495300"/>
                <a:gd name="connsiteX164" fmla="*/ 160755 w 533400"/>
                <a:gd name="connsiteY164" fmla="*/ 452370 h 495300"/>
                <a:gd name="connsiteX165" fmla="*/ 160755 w 533400"/>
                <a:gd name="connsiteY165" fmla="*/ 459751 h 495300"/>
                <a:gd name="connsiteX166" fmla="*/ 164450 w 533400"/>
                <a:gd name="connsiteY166" fmla="*/ 459751 h 495300"/>
                <a:gd name="connsiteX167" fmla="*/ 168137 w 533400"/>
                <a:gd name="connsiteY167" fmla="*/ 459751 h 495300"/>
                <a:gd name="connsiteX168" fmla="*/ 175518 w 533400"/>
                <a:gd name="connsiteY168" fmla="*/ 459751 h 495300"/>
                <a:gd name="connsiteX169" fmla="*/ 179205 w 533400"/>
                <a:gd name="connsiteY169" fmla="*/ 459751 h 495300"/>
                <a:gd name="connsiteX170" fmla="*/ 182891 w 533400"/>
                <a:gd name="connsiteY170" fmla="*/ 459751 h 495300"/>
                <a:gd name="connsiteX171" fmla="*/ 182891 w 533400"/>
                <a:gd name="connsiteY171" fmla="*/ 463442 h 495300"/>
                <a:gd name="connsiteX172" fmla="*/ 186587 w 533400"/>
                <a:gd name="connsiteY172" fmla="*/ 463442 h 495300"/>
                <a:gd name="connsiteX173" fmla="*/ 190273 w 533400"/>
                <a:gd name="connsiteY173" fmla="*/ 459751 h 495300"/>
                <a:gd name="connsiteX174" fmla="*/ 190273 w 533400"/>
                <a:gd name="connsiteY174" fmla="*/ 463442 h 495300"/>
                <a:gd name="connsiteX175" fmla="*/ 197655 w 533400"/>
                <a:gd name="connsiteY175" fmla="*/ 467133 h 495300"/>
                <a:gd name="connsiteX176" fmla="*/ 193959 w 533400"/>
                <a:gd name="connsiteY176" fmla="*/ 459751 h 495300"/>
                <a:gd name="connsiteX177" fmla="*/ 205027 w 533400"/>
                <a:gd name="connsiteY177" fmla="*/ 463442 h 495300"/>
                <a:gd name="connsiteX178" fmla="*/ 208713 w 533400"/>
                <a:gd name="connsiteY178" fmla="*/ 463442 h 495300"/>
                <a:gd name="connsiteX179" fmla="*/ 223477 w 533400"/>
                <a:gd name="connsiteY179" fmla="*/ 481895 h 495300"/>
                <a:gd name="connsiteX180" fmla="*/ 227163 w 533400"/>
                <a:gd name="connsiteY180" fmla="*/ 489276 h 495300"/>
                <a:gd name="connsiteX181" fmla="*/ 227163 w 533400"/>
                <a:gd name="connsiteY181" fmla="*/ 492967 h 495300"/>
                <a:gd name="connsiteX182" fmla="*/ 230849 w 533400"/>
                <a:gd name="connsiteY182" fmla="*/ 489276 h 495300"/>
                <a:gd name="connsiteX183" fmla="*/ 238231 w 533400"/>
                <a:gd name="connsiteY183" fmla="*/ 481895 h 495300"/>
                <a:gd name="connsiteX184" fmla="*/ 241917 w 533400"/>
                <a:gd name="connsiteY184" fmla="*/ 481895 h 495300"/>
                <a:gd name="connsiteX185" fmla="*/ 241917 w 533400"/>
                <a:gd name="connsiteY185" fmla="*/ 485586 h 495300"/>
                <a:gd name="connsiteX186" fmla="*/ 245613 w 533400"/>
                <a:gd name="connsiteY186" fmla="*/ 485586 h 495300"/>
                <a:gd name="connsiteX187" fmla="*/ 249299 w 533400"/>
                <a:gd name="connsiteY187" fmla="*/ 485586 h 495300"/>
                <a:gd name="connsiteX188" fmla="*/ 249299 w 533400"/>
                <a:gd name="connsiteY188" fmla="*/ 489276 h 495300"/>
                <a:gd name="connsiteX189" fmla="*/ 252985 w 533400"/>
                <a:gd name="connsiteY189" fmla="*/ 489276 h 495300"/>
                <a:gd name="connsiteX190" fmla="*/ 256681 w 533400"/>
                <a:gd name="connsiteY190" fmla="*/ 489276 h 495300"/>
                <a:gd name="connsiteX191" fmla="*/ 260367 w 533400"/>
                <a:gd name="connsiteY191" fmla="*/ 492967 h 495300"/>
                <a:gd name="connsiteX192" fmla="*/ 264053 w 533400"/>
                <a:gd name="connsiteY192" fmla="*/ 492967 h 495300"/>
                <a:gd name="connsiteX193" fmla="*/ 267749 w 533400"/>
                <a:gd name="connsiteY193" fmla="*/ 492967 h 495300"/>
                <a:gd name="connsiteX194" fmla="*/ 271435 w 533400"/>
                <a:gd name="connsiteY194" fmla="*/ 492967 h 495300"/>
                <a:gd name="connsiteX195" fmla="*/ 275121 w 533400"/>
                <a:gd name="connsiteY195" fmla="*/ 489276 h 495300"/>
                <a:gd name="connsiteX196" fmla="*/ 278808 w 533400"/>
                <a:gd name="connsiteY196" fmla="*/ 489276 h 495300"/>
                <a:gd name="connsiteX197" fmla="*/ 278808 w 533400"/>
                <a:gd name="connsiteY197" fmla="*/ 485586 h 495300"/>
                <a:gd name="connsiteX198" fmla="*/ 282503 w 533400"/>
                <a:gd name="connsiteY198" fmla="*/ 485586 h 495300"/>
                <a:gd name="connsiteX199" fmla="*/ 286189 w 533400"/>
                <a:gd name="connsiteY199" fmla="*/ 481895 h 495300"/>
                <a:gd name="connsiteX200" fmla="*/ 286189 w 533400"/>
                <a:gd name="connsiteY200" fmla="*/ 478204 h 495300"/>
                <a:gd name="connsiteX201" fmla="*/ 289876 w 533400"/>
                <a:gd name="connsiteY201" fmla="*/ 474514 h 495300"/>
                <a:gd name="connsiteX202" fmla="*/ 289876 w 533400"/>
                <a:gd name="connsiteY202" fmla="*/ 470823 h 495300"/>
                <a:gd name="connsiteX203" fmla="*/ 293571 w 533400"/>
                <a:gd name="connsiteY203" fmla="*/ 467133 h 495300"/>
                <a:gd name="connsiteX204" fmla="*/ 300944 w 533400"/>
                <a:gd name="connsiteY204" fmla="*/ 467133 h 495300"/>
                <a:gd name="connsiteX205" fmla="*/ 300944 w 533400"/>
                <a:gd name="connsiteY205" fmla="*/ 463442 h 495300"/>
                <a:gd name="connsiteX206" fmla="*/ 308326 w 533400"/>
                <a:gd name="connsiteY206" fmla="*/ 467133 h 495300"/>
                <a:gd name="connsiteX207" fmla="*/ 308326 w 533400"/>
                <a:gd name="connsiteY207" fmla="*/ 463442 h 495300"/>
                <a:gd name="connsiteX208" fmla="*/ 315707 w 533400"/>
                <a:gd name="connsiteY208" fmla="*/ 459751 h 495300"/>
                <a:gd name="connsiteX209" fmla="*/ 315707 w 533400"/>
                <a:gd name="connsiteY209" fmla="*/ 467133 h 495300"/>
                <a:gd name="connsiteX210" fmla="*/ 319394 w 533400"/>
                <a:gd name="connsiteY210" fmla="*/ 474514 h 495300"/>
                <a:gd name="connsiteX211" fmla="*/ 323080 w 533400"/>
                <a:gd name="connsiteY211" fmla="*/ 478204 h 495300"/>
                <a:gd name="connsiteX212" fmla="*/ 326775 w 533400"/>
                <a:gd name="connsiteY212" fmla="*/ 478204 h 495300"/>
                <a:gd name="connsiteX213" fmla="*/ 326775 w 533400"/>
                <a:gd name="connsiteY213" fmla="*/ 481895 h 495300"/>
                <a:gd name="connsiteX214" fmla="*/ 330462 w 533400"/>
                <a:gd name="connsiteY214" fmla="*/ 478204 h 495300"/>
                <a:gd name="connsiteX215" fmla="*/ 341530 w 533400"/>
                <a:gd name="connsiteY215" fmla="*/ 474514 h 495300"/>
                <a:gd name="connsiteX216" fmla="*/ 341530 w 533400"/>
                <a:gd name="connsiteY216" fmla="*/ 481895 h 495300"/>
                <a:gd name="connsiteX217" fmla="*/ 348912 w 533400"/>
                <a:gd name="connsiteY217" fmla="*/ 478204 h 495300"/>
                <a:gd name="connsiteX218" fmla="*/ 352598 w 533400"/>
                <a:gd name="connsiteY218" fmla="*/ 474514 h 495300"/>
                <a:gd name="connsiteX219" fmla="*/ 356284 w 533400"/>
                <a:gd name="connsiteY219" fmla="*/ 474514 h 495300"/>
                <a:gd name="connsiteX220" fmla="*/ 356284 w 533400"/>
                <a:gd name="connsiteY220" fmla="*/ 470823 h 495300"/>
                <a:gd name="connsiteX221" fmla="*/ 352598 w 533400"/>
                <a:gd name="connsiteY221" fmla="*/ 463442 h 495300"/>
                <a:gd name="connsiteX222" fmla="*/ 356284 w 533400"/>
                <a:gd name="connsiteY222" fmla="*/ 463442 h 495300"/>
                <a:gd name="connsiteX223" fmla="*/ 367352 w 533400"/>
                <a:gd name="connsiteY223" fmla="*/ 463442 h 495300"/>
                <a:gd name="connsiteX224" fmla="*/ 371038 w 533400"/>
                <a:gd name="connsiteY224" fmla="*/ 459751 h 495300"/>
                <a:gd name="connsiteX225" fmla="*/ 374734 w 533400"/>
                <a:gd name="connsiteY225" fmla="*/ 456061 h 495300"/>
                <a:gd name="connsiteX226" fmla="*/ 385802 w 533400"/>
                <a:gd name="connsiteY226" fmla="*/ 448679 h 495300"/>
                <a:gd name="connsiteX227" fmla="*/ 396870 w 533400"/>
                <a:gd name="connsiteY227" fmla="*/ 441298 h 495300"/>
                <a:gd name="connsiteX228" fmla="*/ 404242 w 533400"/>
                <a:gd name="connsiteY228" fmla="*/ 433917 h 495300"/>
                <a:gd name="connsiteX229" fmla="*/ 418996 w 533400"/>
                <a:gd name="connsiteY229" fmla="*/ 426537 h 495300"/>
                <a:gd name="connsiteX230" fmla="*/ 422692 w 533400"/>
                <a:gd name="connsiteY230" fmla="*/ 422846 h 495300"/>
                <a:gd name="connsiteX231" fmla="*/ 426378 w 533400"/>
                <a:gd name="connsiteY231" fmla="*/ 419156 h 495300"/>
                <a:gd name="connsiteX232" fmla="*/ 437446 w 533400"/>
                <a:gd name="connsiteY232" fmla="*/ 404393 h 495300"/>
                <a:gd name="connsiteX233" fmla="*/ 444828 w 533400"/>
                <a:gd name="connsiteY233" fmla="*/ 400703 h 495300"/>
                <a:gd name="connsiteX234" fmla="*/ 444828 w 533400"/>
                <a:gd name="connsiteY234" fmla="*/ 397012 h 495300"/>
                <a:gd name="connsiteX235" fmla="*/ 444828 w 533400"/>
                <a:gd name="connsiteY235" fmla="*/ 393321 h 495300"/>
                <a:gd name="connsiteX236" fmla="*/ 452201 w 533400"/>
                <a:gd name="connsiteY236" fmla="*/ 389631 h 495300"/>
                <a:gd name="connsiteX237" fmla="*/ 463269 w 533400"/>
                <a:gd name="connsiteY237" fmla="*/ 393321 h 495300"/>
                <a:gd name="connsiteX238" fmla="*/ 474337 w 533400"/>
                <a:gd name="connsiteY238" fmla="*/ 393321 h 495300"/>
                <a:gd name="connsiteX239" fmla="*/ 489100 w 533400"/>
                <a:gd name="connsiteY239" fmla="*/ 408084 h 495300"/>
                <a:gd name="connsiteX240" fmla="*/ 503855 w 533400"/>
                <a:gd name="connsiteY240" fmla="*/ 397012 h 495300"/>
                <a:gd name="connsiteX241" fmla="*/ 514923 w 533400"/>
                <a:gd name="connsiteY241" fmla="*/ 385940 h 495300"/>
                <a:gd name="connsiteX242" fmla="*/ 518609 w 533400"/>
                <a:gd name="connsiteY242" fmla="*/ 382249 h 495300"/>
                <a:gd name="connsiteX243" fmla="*/ 522295 w 533400"/>
                <a:gd name="connsiteY243" fmla="*/ 378559 h 495300"/>
                <a:gd name="connsiteX244" fmla="*/ 522295 w 533400"/>
                <a:gd name="connsiteY244" fmla="*/ 374868 h 495300"/>
                <a:gd name="connsiteX245" fmla="*/ 533363 w 533400"/>
                <a:gd name="connsiteY245" fmla="*/ 356415 h 495300"/>
                <a:gd name="connsiteX246" fmla="*/ 529677 w 533400"/>
                <a:gd name="connsiteY246" fmla="*/ 352725 h 495300"/>
                <a:gd name="connsiteX247" fmla="*/ 525991 w 533400"/>
                <a:gd name="connsiteY247" fmla="*/ 345344 h 495300"/>
                <a:gd name="connsiteX248" fmla="*/ 522295 w 533400"/>
                <a:gd name="connsiteY248" fmla="*/ 337963 h 495300"/>
                <a:gd name="connsiteX249" fmla="*/ 507541 w 533400"/>
                <a:gd name="connsiteY249" fmla="*/ 315819 h 495300"/>
                <a:gd name="connsiteX250" fmla="*/ 500159 w 533400"/>
                <a:gd name="connsiteY250" fmla="*/ 304748 h 495300"/>
                <a:gd name="connsiteX251" fmla="*/ 500159 w 533400"/>
                <a:gd name="connsiteY251" fmla="*/ 301057 h 495300"/>
                <a:gd name="connsiteX252" fmla="*/ 500159 w 533400"/>
                <a:gd name="connsiteY252" fmla="*/ 289985 h 495300"/>
                <a:gd name="connsiteX253" fmla="*/ 503855 w 533400"/>
                <a:gd name="connsiteY253" fmla="*/ 278913 h 495300"/>
                <a:gd name="connsiteX254" fmla="*/ 496473 w 533400"/>
                <a:gd name="connsiteY254" fmla="*/ 275223 h 495300"/>
                <a:gd name="connsiteX255" fmla="*/ 485405 w 533400"/>
                <a:gd name="connsiteY255" fmla="*/ 275223 h 495300"/>
                <a:gd name="connsiteX256" fmla="*/ 474337 w 533400"/>
                <a:gd name="connsiteY256" fmla="*/ 267841 h 495300"/>
                <a:gd name="connsiteX257" fmla="*/ 478033 w 533400"/>
                <a:gd name="connsiteY257" fmla="*/ 260461 h 495300"/>
                <a:gd name="connsiteX258" fmla="*/ 466964 w 533400"/>
                <a:gd name="connsiteY258" fmla="*/ 256771 h 495300"/>
                <a:gd name="connsiteX259" fmla="*/ 466964 w 533400"/>
                <a:gd name="connsiteY259" fmla="*/ 253080 h 495300"/>
                <a:gd name="connsiteX260" fmla="*/ 463269 w 533400"/>
                <a:gd name="connsiteY260" fmla="*/ 249389 h 495300"/>
                <a:gd name="connsiteX261" fmla="*/ 455896 w 533400"/>
                <a:gd name="connsiteY261" fmla="*/ 245699 h 495300"/>
                <a:gd name="connsiteX262" fmla="*/ 452201 w 533400"/>
                <a:gd name="connsiteY262" fmla="*/ 242008 h 495300"/>
                <a:gd name="connsiteX263" fmla="*/ 448515 w 533400"/>
                <a:gd name="connsiteY263" fmla="*/ 242008 h 495300"/>
                <a:gd name="connsiteX264" fmla="*/ 441133 w 533400"/>
                <a:gd name="connsiteY264" fmla="*/ 242008 h 495300"/>
                <a:gd name="connsiteX265" fmla="*/ 433760 w 533400"/>
                <a:gd name="connsiteY265" fmla="*/ 242008 h 495300"/>
                <a:gd name="connsiteX266" fmla="*/ 426378 w 533400"/>
                <a:gd name="connsiteY266" fmla="*/ 242008 h 495300"/>
                <a:gd name="connsiteX267" fmla="*/ 422692 w 533400"/>
                <a:gd name="connsiteY267" fmla="*/ 242008 h 495300"/>
                <a:gd name="connsiteX268" fmla="*/ 418996 w 533400"/>
                <a:gd name="connsiteY268" fmla="*/ 234627 h 495300"/>
                <a:gd name="connsiteX269" fmla="*/ 415310 w 533400"/>
                <a:gd name="connsiteY269" fmla="*/ 230936 h 495300"/>
                <a:gd name="connsiteX270" fmla="*/ 411624 w 533400"/>
                <a:gd name="connsiteY270" fmla="*/ 227246 h 495300"/>
                <a:gd name="connsiteX271" fmla="*/ 411624 w 533400"/>
                <a:gd name="connsiteY271" fmla="*/ 212483 h 495300"/>
                <a:gd name="connsiteX272" fmla="*/ 411624 w 533400"/>
                <a:gd name="connsiteY272" fmla="*/ 208793 h 495300"/>
                <a:gd name="connsiteX273" fmla="*/ 411624 w 533400"/>
                <a:gd name="connsiteY273" fmla="*/ 201411 h 495300"/>
                <a:gd name="connsiteX274" fmla="*/ 411624 w 533400"/>
                <a:gd name="connsiteY274" fmla="*/ 194030 h 495300"/>
                <a:gd name="connsiteX275" fmla="*/ 415310 w 533400"/>
                <a:gd name="connsiteY275" fmla="*/ 190340 h 495300"/>
                <a:gd name="connsiteX276" fmla="*/ 418996 w 533400"/>
                <a:gd name="connsiteY276" fmla="*/ 182958 h 495300"/>
                <a:gd name="connsiteX277" fmla="*/ 418996 w 533400"/>
                <a:gd name="connsiteY277" fmla="*/ 179268 h 495300"/>
                <a:gd name="connsiteX278" fmla="*/ 422692 w 533400"/>
                <a:gd name="connsiteY278" fmla="*/ 175578 h 495300"/>
                <a:gd name="connsiteX279" fmla="*/ 426378 w 533400"/>
                <a:gd name="connsiteY279" fmla="*/ 175578 h 495300"/>
                <a:gd name="connsiteX280" fmla="*/ 430065 w 533400"/>
                <a:gd name="connsiteY280" fmla="*/ 171888 h 495300"/>
                <a:gd name="connsiteX281" fmla="*/ 433760 w 533400"/>
                <a:gd name="connsiteY281" fmla="*/ 164506 h 495300"/>
                <a:gd name="connsiteX282" fmla="*/ 433760 w 533400"/>
                <a:gd name="connsiteY282" fmla="*/ 160816 h 495300"/>
                <a:gd name="connsiteX283" fmla="*/ 433760 w 533400"/>
                <a:gd name="connsiteY283" fmla="*/ 157125 h 495300"/>
                <a:gd name="connsiteX284" fmla="*/ 433760 w 533400"/>
                <a:gd name="connsiteY284" fmla="*/ 149744 h 495300"/>
                <a:gd name="connsiteX285" fmla="*/ 430065 w 533400"/>
                <a:gd name="connsiteY285" fmla="*/ 149744 h 495300"/>
                <a:gd name="connsiteX286" fmla="*/ 426378 w 533400"/>
                <a:gd name="connsiteY286" fmla="*/ 149744 h 495300"/>
                <a:gd name="connsiteX287" fmla="*/ 426378 w 533400"/>
                <a:gd name="connsiteY287" fmla="*/ 146053 h 495300"/>
                <a:gd name="connsiteX288" fmla="*/ 430065 w 533400"/>
                <a:gd name="connsiteY288" fmla="*/ 142363 h 495300"/>
                <a:gd name="connsiteX289" fmla="*/ 433760 w 533400"/>
                <a:gd name="connsiteY289" fmla="*/ 138672 h 495300"/>
                <a:gd name="connsiteX290" fmla="*/ 437446 w 533400"/>
                <a:gd name="connsiteY290" fmla="*/ 134981 h 495300"/>
                <a:gd name="connsiteX291" fmla="*/ 437446 w 533400"/>
                <a:gd name="connsiteY291" fmla="*/ 131291 h 495300"/>
                <a:gd name="connsiteX292" fmla="*/ 437446 w 533400"/>
                <a:gd name="connsiteY292" fmla="*/ 127600 h 495300"/>
                <a:gd name="connsiteX293" fmla="*/ 441133 w 533400"/>
                <a:gd name="connsiteY293" fmla="*/ 123910 h 495300"/>
                <a:gd name="connsiteX294" fmla="*/ 441133 w 533400"/>
                <a:gd name="connsiteY294" fmla="*/ 120219 h 495300"/>
                <a:gd name="connsiteX295" fmla="*/ 444828 w 533400"/>
                <a:gd name="connsiteY295" fmla="*/ 120219 h 495300"/>
                <a:gd name="connsiteX296" fmla="*/ 448515 w 533400"/>
                <a:gd name="connsiteY296" fmla="*/ 116528 h 495300"/>
                <a:gd name="connsiteX297" fmla="*/ 444828 w 533400"/>
                <a:gd name="connsiteY297" fmla="*/ 116528 h 495300"/>
                <a:gd name="connsiteX298" fmla="*/ 444828 w 533400"/>
                <a:gd name="connsiteY298" fmla="*/ 112838 h 495300"/>
                <a:gd name="connsiteX299" fmla="*/ 444828 w 533400"/>
                <a:gd name="connsiteY299" fmla="*/ 109147 h 495300"/>
                <a:gd name="connsiteX300" fmla="*/ 444828 w 533400"/>
                <a:gd name="connsiteY300" fmla="*/ 105457 h 495300"/>
                <a:gd name="connsiteX301" fmla="*/ 448515 w 533400"/>
                <a:gd name="connsiteY301" fmla="*/ 101766 h 495300"/>
                <a:gd name="connsiteX302" fmla="*/ 452201 w 533400"/>
                <a:gd name="connsiteY302" fmla="*/ 101766 h 495300"/>
                <a:gd name="connsiteX303" fmla="*/ 455896 w 533400"/>
                <a:gd name="connsiteY303" fmla="*/ 98075 h 495300"/>
                <a:gd name="connsiteX304" fmla="*/ 455896 w 533400"/>
                <a:gd name="connsiteY304" fmla="*/ 94385 h 495300"/>
                <a:gd name="connsiteX305" fmla="*/ 459582 w 533400"/>
                <a:gd name="connsiteY305" fmla="*/ 90695 h 495300"/>
                <a:gd name="connsiteX306" fmla="*/ 463269 w 533400"/>
                <a:gd name="connsiteY306" fmla="*/ 90695 h 495300"/>
                <a:gd name="connsiteX307" fmla="*/ 463269 w 533400"/>
                <a:gd name="connsiteY307" fmla="*/ 87004 h 495300"/>
                <a:gd name="connsiteX308" fmla="*/ 459582 w 533400"/>
                <a:gd name="connsiteY308" fmla="*/ 87004 h 495300"/>
                <a:gd name="connsiteX309" fmla="*/ 459582 w 533400"/>
                <a:gd name="connsiteY309" fmla="*/ 83314 h 495300"/>
                <a:gd name="connsiteX310" fmla="*/ 459582 w 533400"/>
                <a:gd name="connsiteY310" fmla="*/ 61170 h 495300"/>
                <a:gd name="connsiteX311" fmla="*/ 455896 w 533400"/>
                <a:gd name="connsiteY311" fmla="*/ 61170 h 495300"/>
                <a:gd name="connsiteX312" fmla="*/ 455896 w 533400"/>
                <a:gd name="connsiteY312" fmla="*/ 57480 h 495300"/>
                <a:gd name="connsiteX313" fmla="*/ 448515 w 533400"/>
                <a:gd name="connsiteY313" fmla="*/ 57480 h 495300"/>
                <a:gd name="connsiteX314" fmla="*/ 444828 w 533400"/>
                <a:gd name="connsiteY314" fmla="*/ 57480 h 495300"/>
                <a:gd name="connsiteX315" fmla="*/ 441133 w 533400"/>
                <a:gd name="connsiteY315" fmla="*/ 61170 h 495300"/>
                <a:gd name="connsiteX316" fmla="*/ 437446 w 533400"/>
                <a:gd name="connsiteY316" fmla="*/ 61170 h 495300"/>
                <a:gd name="connsiteX317" fmla="*/ 433760 w 533400"/>
                <a:gd name="connsiteY317" fmla="*/ 61170 h 495300"/>
                <a:gd name="connsiteX318" fmla="*/ 437446 w 533400"/>
                <a:gd name="connsiteY318" fmla="*/ 64861 h 495300"/>
                <a:gd name="connsiteX319" fmla="*/ 437446 w 533400"/>
                <a:gd name="connsiteY319" fmla="*/ 68551 h 495300"/>
                <a:gd name="connsiteX320" fmla="*/ 433760 w 533400"/>
                <a:gd name="connsiteY320" fmla="*/ 68551 h 495300"/>
                <a:gd name="connsiteX321" fmla="*/ 433760 w 533400"/>
                <a:gd name="connsiteY321" fmla="*/ 64861 h 495300"/>
                <a:gd name="connsiteX322" fmla="*/ 430065 w 533400"/>
                <a:gd name="connsiteY322" fmla="*/ 61170 h 495300"/>
                <a:gd name="connsiteX323" fmla="*/ 430065 w 533400"/>
                <a:gd name="connsiteY323" fmla="*/ 57480 h 495300"/>
                <a:gd name="connsiteX324" fmla="*/ 426378 w 533400"/>
                <a:gd name="connsiteY324" fmla="*/ 57480 h 495300"/>
                <a:gd name="connsiteX325" fmla="*/ 430065 w 533400"/>
                <a:gd name="connsiteY325" fmla="*/ 53789 h 495300"/>
                <a:gd name="connsiteX326" fmla="*/ 426378 w 533400"/>
                <a:gd name="connsiteY326" fmla="*/ 53789 h 495300"/>
                <a:gd name="connsiteX327" fmla="*/ 422692 w 533400"/>
                <a:gd name="connsiteY327" fmla="*/ 50098 h 495300"/>
                <a:gd name="connsiteX328" fmla="*/ 422692 w 533400"/>
                <a:gd name="connsiteY328" fmla="*/ 53789 h 495300"/>
                <a:gd name="connsiteX329" fmla="*/ 418996 w 533400"/>
                <a:gd name="connsiteY329" fmla="*/ 61170 h 495300"/>
                <a:gd name="connsiteX330" fmla="*/ 418996 w 533400"/>
                <a:gd name="connsiteY330" fmla="*/ 57480 h 495300"/>
                <a:gd name="connsiteX331" fmla="*/ 418996 w 533400"/>
                <a:gd name="connsiteY331" fmla="*/ 53789 h 495300"/>
                <a:gd name="connsiteX332" fmla="*/ 411624 w 533400"/>
                <a:gd name="connsiteY332" fmla="*/ 50098 h 495300"/>
                <a:gd name="connsiteX333" fmla="*/ 407938 w 533400"/>
                <a:gd name="connsiteY333" fmla="*/ 53789 h 495300"/>
                <a:gd name="connsiteX334" fmla="*/ 407938 w 533400"/>
                <a:gd name="connsiteY334" fmla="*/ 57480 h 495300"/>
                <a:gd name="connsiteX335" fmla="*/ 415310 w 533400"/>
                <a:gd name="connsiteY335" fmla="*/ 64861 h 495300"/>
                <a:gd name="connsiteX336" fmla="*/ 415310 w 533400"/>
                <a:gd name="connsiteY336" fmla="*/ 68551 h 495300"/>
                <a:gd name="connsiteX337" fmla="*/ 411624 w 533400"/>
                <a:gd name="connsiteY337" fmla="*/ 68551 h 495300"/>
                <a:gd name="connsiteX338" fmla="*/ 411624 w 533400"/>
                <a:gd name="connsiteY338" fmla="*/ 64861 h 495300"/>
                <a:gd name="connsiteX339" fmla="*/ 407938 w 533400"/>
                <a:gd name="connsiteY339" fmla="*/ 68551 h 495300"/>
                <a:gd name="connsiteX340" fmla="*/ 407938 w 533400"/>
                <a:gd name="connsiteY340" fmla="*/ 64861 h 495300"/>
                <a:gd name="connsiteX341" fmla="*/ 404242 w 533400"/>
                <a:gd name="connsiteY341" fmla="*/ 61170 h 495300"/>
                <a:gd name="connsiteX342" fmla="*/ 404242 w 533400"/>
                <a:gd name="connsiteY342" fmla="*/ 57480 h 495300"/>
                <a:gd name="connsiteX343" fmla="*/ 404242 w 533400"/>
                <a:gd name="connsiteY343" fmla="*/ 53789 h 495300"/>
                <a:gd name="connsiteX344" fmla="*/ 404242 w 533400"/>
                <a:gd name="connsiteY344" fmla="*/ 46408 h 495300"/>
                <a:gd name="connsiteX345" fmla="*/ 400556 w 533400"/>
                <a:gd name="connsiteY345" fmla="*/ 42717 h 495300"/>
                <a:gd name="connsiteX346" fmla="*/ 400556 w 533400"/>
                <a:gd name="connsiteY346" fmla="*/ 39027 h 495300"/>
                <a:gd name="connsiteX347" fmla="*/ 404242 w 533400"/>
                <a:gd name="connsiteY347" fmla="*/ 35336 h 495300"/>
                <a:gd name="connsiteX348" fmla="*/ 400556 w 533400"/>
                <a:gd name="connsiteY348" fmla="*/ 35336 h 495300"/>
                <a:gd name="connsiteX349" fmla="*/ 400556 w 533400"/>
                <a:gd name="connsiteY349" fmla="*/ 31645 h 495300"/>
                <a:gd name="connsiteX350" fmla="*/ 400556 w 533400"/>
                <a:gd name="connsiteY350" fmla="*/ 27955 h 495300"/>
                <a:gd name="connsiteX351" fmla="*/ 396870 w 533400"/>
                <a:gd name="connsiteY351" fmla="*/ 24264 h 495300"/>
                <a:gd name="connsiteX352" fmla="*/ 400556 w 533400"/>
                <a:gd name="connsiteY352" fmla="*/ 16883 h 495300"/>
                <a:gd name="connsiteX353" fmla="*/ 400556 w 533400"/>
                <a:gd name="connsiteY353" fmla="*/ 13192 h 495300"/>
                <a:gd name="connsiteX354" fmla="*/ 400556 w 533400"/>
                <a:gd name="connsiteY354" fmla="*/ 9502 h 495300"/>
                <a:gd name="connsiteX355" fmla="*/ 407938 w 533400"/>
                <a:gd name="connsiteY355" fmla="*/ 5812 h 495300"/>
                <a:gd name="connsiteX356" fmla="*/ 430065 w 533400"/>
                <a:gd name="connsiteY356" fmla="*/ 53789 h 495300"/>
                <a:gd name="connsiteX357" fmla="*/ 430065 w 533400"/>
                <a:gd name="connsiteY357" fmla="*/ 57480 h 495300"/>
                <a:gd name="connsiteX358" fmla="*/ 433760 w 533400"/>
                <a:gd name="connsiteY358" fmla="*/ 61170 h 495300"/>
                <a:gd name="connsiteX359" fmla="*/ 430065 w 533400"/>
                <a:gd name="connsiteY359" fmla="*/ 53789 h 495300"/>
                <a:gd name="connsiteX360" fmla="*/ 24261 w 533400"/>
                <a:gd name="connsiteY360" fmla="*/ 264151 h 495300"/>
                <a:gd name="connsiteX361" fmla="*/ 13193 w 533400"/>
                <a:gd name="connsiteY361" fmla="*/ 275223 h 495300"/>
                <a:gd name="connsiteX362" fmla="*/ 9498 w 533400"/>
                <a:gd name="connsiteY362" fmla="*/ 275223 h 495300"/>
                <a:gd name="connsiteX363" fmla="*/ 5812 w 533400"/>
                <a:gd name="connsiteY363" fmla="*/ 275223 h 495300"/>
                <a:gd name="connsiteX364" fmla="*/ 9498 w 533400"/>
                <a:gd name="connsiteY364" fmla="*/ 278913 h 495300"/>
                <a:gd name="connsiteX365" fmla="*/ 13193 w 533400"/>
                <a:gd name="connsiteY365" fmla="*/ 278913 h 495300"/>
                <a:gd name="connsiteX366" fmla="*/ 16880 w 533400"/>
                <a:gd name="connsiteY366" fmla="*/ 275223 h 495300"/>
                <a:gd name="connsiteX367" fmla="*/ 24261 w 533400"/>
                <a:gd name="connsiteY367" fmla="*/ 264151 h 495300"/>
                <a:gd name="connsiteX368" fmla="*/ 50084 w 533400"/>
                <a:gd name="connsiteY368" fmla="*/ 190340 h 495300"/>
                <a:gd name="connsiteX369" fmla="*/ 50084 w 533400"/>
                <a:gd name="connsiteY369" fmla="*/ 186649 h 495300"/>
                <a:gd name="connsiteX370" fmla="*/ 46398 w 533400"/>
                <a:gd name="connsiteY370" fmla="*/ 190340 h 495300"/>
                <a:gd name="connsiteX371" fmla="*/ 50084 w 533400"/>
                <a:gd name="connsiteY371" fmla="*/ 190340 h 495300"/>
                <a:gd name="connsiteX372" fmla="*/ 407938 w 533400"/>
                <a:gd name="connsiteY372" fmla="*/ 75933 h 495300"/>
                <a:gd name="connsiteX373" fmla="*/ 411624 w 533400"/>
                <a:gd name="connsiteY373" fmla="*/ 75933 h 495300"/>
                <a:gd name="connsiteX374" fmla="*/ 411624 w 533400"/>
                <a:gd name="connsiteY374" fmla="*/ 79623 h 495300"/>
                <a:gd name="connsiteX375" fmla="*/ 407938 w 533400"/>
                <a:gd name="connsiteY375" fmla="*/ 75933 h 495300"/>
                <a:gd name="connsiteX376" fmla="*/ 400556 w 533400"/>
                <a:gd name="connsiteY376" fmla="*/ 79623 h 495300"/>
                <a:gd name="connsiteX377" fmla="*/ 404242 w 533400"/>
                <a:gd name="connsiteY377" fmla="*/ 79623 h 495300"/>
                <a:gd name="connsiteX378" fmla="*/ 400556 w 533400"/>
                <a:gd name="connsiteY378" fmla="*/ 83314 h 495300"/>
                <a:gd name="connsiteX379" fmla="*/ 400556 w 533400"/>
                <a:gd name="connsiteY379" fmla="*/ 79623 h 495300"/>
                <a:gd name="connsiteX380" fmla="*/ 39016 w 533400"/>
                <a:gd name="connsiteY380" fmla="*/ 301057 h 495300"/>
                <a:gd name="connsiteX381" fmla="*/ 42702 w 533400"/>
                <a:gd name="connsiteY381" fmla="*/ 301057 h 495300"/>
                <a:gd name="connsiteX382" fmla="*/ 39016 w 533400"/>
                <a:gd name="connsiteY382" fmla="*/ 304748 h 495300"/>
                <a:gd name="connsiteX383" fmla="*/ 39016 w 533400"/>
                <a:gd name="connsiteY383" fmla="*/ 301057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Lst>
              <a:rect l="l" t="t" r="r" b="b"/>
              <a:pathLst>
                <a:path w="533400" h="495300">
                  <a:moveTo>
                    <a:pt x="407938" y="5812"/>
                  </a:moveTo>
                  <a:lnTo>
                    <a:pt x="389488" y="13192"/>
                  </a:lnTo>
                  <a:lnTo>
                    <a:pt x="385802" y="13192"/>
                  </a:lnTo>
                  <a:lnTo>
                    <a:pt x="378420" y="9502"/>
                  </a:lnTo>
                  <a:lnTo>
                    <a:pt x="367352" y="9502"/>
                  </a:lnTo>
                  <a:lnTo>
                    <a:pt x="367352" y="13192"/>
                  </a:lnTo>
                  <a:lnTo>
                    <a:pt x="363666" y="13192"/>
                  </a:lnTo>
                  <a:lnTo>
                    <a:pt x="359970" y="13192"/>
                  </a:lnTo>
                  <a:lnTo>
                    <a:pt x="356284" y="9502"/>
                  </a:lnTo>
                  <a:lnTo>
                    <a:pt x="341530" y="13192"/>
                  </a:lnTo>
                  <a:lnTo>
                    <a:pt x="334148" y="13192"/>
                  </a:lnTo>
                  <a:lnTo>
                    <a:pt x="330462" y="13192"/>
                  </a:lnTo>
                  <a:lnTo>
                    <a:pt x="326775" y="16883"/>
                  </a:lnTo>
                  <a:lnTo>
                    <a:pt x="312012" y="20573"/>
                  </a:lnTo>
                  <a:lnTo>
                    <a:pt x="308326" y="20573"/>
                  </a:lnTo>
                  <a:lnTo>
                    <a:pt x="304639" y="20573"/>
                  </a:lnTo>
                  <a:lnTo>
                    <a:pt x="289876" y="27955"/>
                  </a:lnTo>
                  <a:lnTo>
                    <a:pt x="282503" y="27955"/>
                  </a:lnTo>
                  <a:lnTo>
                    <a:pt x="278808" y="27955"/>
                  </a:lnTo>
                  <a:lnTo>
                    <a:pt x="275121" y="27955"/>
                  </a:lnTo>
                  <a:lnTo>
                    <a:pt x="271435" y="27955"/>
                  </a:lnTo>
                  <a:lnTo>
                    <a:pt x="271435" y="24264"/>
                  </a:lnTo>
                  <a:lnTo>
                    <a:pt x="267749" y="20573"/>
                  </a:lnTo>
                  <a:lnTo>
                    <a:pt x="267749" y="27955"/>
                  </a:lnTo>
                  <a:lnTo>
                    <a:pt x="260367" y="31645"/>
                  </a:lnTo>
                  <a:lnTo>
                    <a:pt x="252985" y="35336"/>
                  </a:lnTo>
                  <a:lnTo>
                    <a:pt x="249299" y="39027"/>
                  </a:lnTo>
                  <a:lnTo>
                    <a:pt x="241917" y="42717"/>
                  </a:lnTo>
                  <a:lnTo>
                    <a:pt x="238231" y="46408"/>
                  </a:lnTo>
                  <a:lnTo>
                    <a:pt x="230849" y="50098"/>
                  </a:lnTo>
                  <a:lnTo>
                    <a:pt x="223477" y="50098"/>
                  </a:lnTo>
                  <a:lnTo>
                    <a:pt x="212409" y="57480"/>
                  </a:lnTo>
                  <a:lnTo>
                    <a:pt x="197655" y="64861"/>
                  </a:lnTo>
                  <a:lnTo>
                    <a:pt x="190273" y="68551"/>
                  </a:lnTo>
                  <a:lnTo>
                    <a:pt x="171823" y="79623"/>
                  </a:lnTo>
                  <a:lnTo>
                    <a:pt x="160755" y="79623"/>
                  </a:lnTo>
                  <a:lnTo>
                    <a:pt x="157069" y="83314"/>
                  </a:lnTo>
                  <a:lnTo>
                    <a:pt x="149687" y="87004"/>
                  </a:lnTo>
                  <a:lnTo>
                    <a:pt x="146000" y="87004"/>
                  </a:lnTo>
                  <a:lnTo>
                    <a:pt x="142314" y="90695"/>
                  </a:lnTo>
                  <a:lnTo>
                    <a:pt x="134932" y="94385"/>
                  </a:lnTo>
                  <a:lnTo>
                    <a:pt x="127560" y="98075"/>
                  </a:lnTo>
                  <a:lnTo>
                    <a:pt x="123864" y="101766"/>
                  </a:lnTo>
                  <a:lnTo>
                    <a:pt x="116492" y="109147"/>
                  </a:lnTo>
                  <a:lnTo>
                    <a:pt x="112796" y="116528"/>
                  </a:lnTo>
                  <a:lnTo>
                    <a:pt x="109110" y="120219"/>
                  </a:lnTo>
                  <a:lnTo>
                    <a:pt x="109110" y="123910"/>
                  </a:lnTo>
                  <a:lnTo>
                    <a:pt x="105424" y="123910"/>
                  </a:lnTo>
                  <a:lnTo>
                    <a:pt x="105424" y="127600"/>
                  </a:lnTo>
                  <a:lnTo>
                    <a:pt x="98042" y="131291"/>
                  </a:lnTo>
                  <a:lnTo>
                    <a:pt x="94356" y="134981"/>
                  </a:lnTo>
                  <a:lnTo>
                    <a:pt x="90660" y="134981"/>
                  </a:lnTo>
                  <a:lnTo>
                    <a:pt x="83288" y="142363"/>
                  </a:lnTo>
                  <a:lnTo>
                    <a:pt x="79592" y="146053"/>
                  </a:lnTo>
                  <a:lnTo>
                    <a:pt x="75906" y="146053"/>
                  </a:lnTo>
                  <a:lnTo>
                    <a:pt x="72220" y="149744"/>
                  </a:lnTo>
                  <a:lnTo>
                    <a:pt x="68524" y="157125"/>
                  </a:lnTo>
                  <a:lnTo>
                    <a:pt x="64838" y="157125"/>
                  </a:lnTo>
                  <a:lnTo>
                    <a:pt x="61152" y="160816"/>
                  </a:lnTo>
                  <a:lnTo>
                    <a:pt x="57466" y="168197"/>
                  </a:lnTo>
                  <a:lnTo>
                    <a:pt x="53770" y="179268"/>
                  </a:lnTo>
                  <a:lnTo>
                    <a:pt x="50084" y="182958"/>
                  </a:lnTo>
                  <a:lnTo>
                    <a:pt x="50084" y="186649"/>
                  </a:lnTo>
                  <a:lnTo>
                    <a:pt x="53770" y="186649"/>
                  </a:lnTo>
                  <a:lnTo>
                    <a:pt x="50084" y="190340"/>
                  </a:lnTo>
                  <a:lnTo>
                    <a:pt x="46398" y="194030"/>
                  </a:lnTo>
                  <a:lnTo>
                    <a:pt x="42702" y="197721"/>
                  </a:lnTo>
                  <a:lnTo>
                    <a:pt x="42702" y="201411"/>
                  </a:lnTo>
                  <a:lnTo>
                    <a:pt x="46398" y="201411"/>
                  </a:lnTo>
                  <a:lnTo>
                    <a:pt x="46398" y="208793"/>
                  </a:lnTo>
                  <a:lnTo>
                    <a:pt x="42702" y="216174"/>
                  </a:lnTo>
                  <a:lnTo>
                    <a:pt x="42702" y="227246"/>
                  </a:lnTo>
                  <a:lnTo>
                    <a:pt x="42702" y="234627"/>
                  </a:lnTo>
                  <a:lnTo>
                    <a:pt x="42702" y="238318"/>
                  </a:lnTo>
                  <a:lnTo>
                    <a:pt x="39016" y="242008"/>
                  </a:lnTo>
                  <a:lnTo>
                    <a:pt x="39016" y="245699"/>
                  </a:lnTo>
                  <a:lnTo>
                    <a:pt x="31634" y="249389"/>
                  </a:lnTo>
                  <a:lnTo>
                    <a:pt x="27948" y="249389"/>
                  </a:lnTo>
                  <a:lnTo>
                    <a:pt x="31634" y="253080"/>
                  </a:lnTo>
                  <a:lnTo>
                    <a:pt x="27948" y="256771"/>
                  </a:lnTo>
                  <a:lnTo>
                    <a:pt x="27948" y="260461"/>
                  </a:lnTo>
                  <a:lnTo>
                    <a:pt x="24261" y="264151"/>
                  </a:lnTo>
                  <a:lnTo>
                    <a:pt x="27948" y="264151"/>
                  </a:lnTo>
                  <a:lnTo>
                    <a:pt x="31634" y="267841"/>
                  </a:lnTo>
                  <a:lnTo>
                    <a:pt x="35330" y="275223"/>
                  </a:lnTo>
                  <a:lnTo>
                    <a:pt x="35330" y="278913"/>
                  </a:lnTo>
                  <a:lnTo>
                    <a:pt x="35330" y="282604"/>
                  </a:lnTo>
                  <a:lnTo>
                    <a:pt x="35330" y="286295"/>
                  </a:lnTo>
                  <a:lnTo>
                    <a:pt x="39016" y="293676"/>
                  </a:lnTo>
                  <a:lnTo>
                    <a:pt x="35330" y="293676"/>
                  </a:lnTo>
                  <a:lnTo>
                    <a:pt x="39016" y="297366"/>
                  </a:lnTo>
                  <a:lnTo>
                    <a:pt x="35330" y="297366"/>
                  </a:lnTo>
                  <a:lnTo>
                    <a:pt x="35330" y="293676"/>
                  </a:lnTo>
                  <a:lnTo>
                    <a:pt x="27948" y="293676"/>
                  </a:lnTo>
                  <a:lnTo>
                    <a:pt x="27948" y="297366"/>
                  </a:lnTo>
                  <a:lnTo>
                    <a:pt x="27948" y="301057"/>
                  </a:lnTo>
                  <a:lnTo>
                    <a:pt x="31634" y="301057"/>
                  </a:lnTo>
                  <a:lnTo>
                    <a:pt x="35330" y="301057"/>
                  </a:lnTo>
                  <a:lnTo>
                    <a:pt x="35330" y="308438"/>
                  </a:lnTo>
                  <a:lnTo>
                    <a:pt x="35330" y="312129"/>
                  </a:lnTo>
                  <a:lnTo>
                    <a:pt x="39016" y="308438"/>
                  </a:lnTo>
                  <a:lnTo>
                    <a:pt x="39016" y="312129"/>
                  </a:lnTo>
                  <a:lnTo>
                    <a:pt x="35330" y="312129"/>
                  </a:lnTo>
                  <a:lnTo>
                    <a:pt x="35330" y="315819"/>
                  </a:lnTo>
                  <a:lnTo>
                    <a:pt x="39016" y="315819"/>
                  </a:lnTo>
                  <a:lnTo>
                    <a:pt x="42702" y="319510"/>
                  </a:lnTo>
                  <a:lnTo>
                    <a:pt x="42702" y="323201"/>
                  </a:lnTo>
                  <a:lnTo>
                    <a:pt x="42702" y="326891"/>
                  </a:lnTo>
                  <a:lnTo>
                    <a:pt x="42702" y="330582"/>
                  </a:lnTo>
                  <a:lnTo>
                    <a:pt x="39016" y="334272"/>
                  </a:lnTo>
                  <a:lnTo>
                    <a:pt x="39016" y="341654"/>
                  </a:lnTo>
                  <a:lnTo>
                    <a:pt x="42702" y="352725"/>
                  </a:lnTo>
                  <a:lnTo>
                    <a:pt x="42702" y="360106"/>
                  </a:lnTo>
                  <a:lnTo>
                    <a:pt x="46398" y="363796"/>
                  </a:lnTo>
                  <a:lnTo>
                    <a:pt x="46398" y="365065"/>
                  </a:lnTo>
                  <a:lnTo>
                    <a:pt x="53770" y="360106"/>
                  </a:lnTo>
                  <a:lnTo>
                    <a:pt x="46398" y="367487"/>
                  </a:lnTo>
                  <a:lnTo>
                    <a:pt x="46398" y="365065"/>
                  </a:lnTo>
                  <a:lnTo>
                    <a:pt x="42702" y="367487"/>
                  </a:lnTo>
                  <a:lnTo>
                    <a:pt x="42702" y="371178"/>
                  </a:lnTo>
                  <a:lnTo>
                    <a:pt x="42702" y="378559"/>
                  </a:lnTo>
                  <a:lnTo>
                    <a:pt x="39016" y="378559"/>
                  </a:lnTo>
                  <a:lnTo>
                    <a:pt x="35330" y="382249"/>
                  </a:lnTo>
                  <a:lnTo>
                    <a:pt x="39016" y="385940"/>
                  </a:lnTo>
                  <a:lnTo>
                    <a:pt x="42702" y="393321"/>
                  </a:lnTo>
                  <a:lnTo>
                    <a:pt x="42702" y="397012"/>
                  </a:lnTo>
                  <a:lnTo>
                    <a:pt x="42702" y="404393"/>
                  </a:lnTo>
                  <a:lnTo>
                    <a:pt x="42702" y="408084"/>
                  </a:lnTo>
                  <a:lnTo>
                    <a:pt x="39016" y="411774"/>
                  </a:lnTo>
                  <a:lnTo>
                    <a:pt x="35330" y="411774"/>
                  </a:lnTo>
                  <a:lnTo>
                    <a:pt x="31634" y="411774"/>
                  </a:lnTo>
                  <a:lnTo>
                    <a:pt x="24261" y="419156"/>
                  </a:lnTo>
                  <a:lnTo>
                    <a:pt x="20566" y="422846"/>
                  </a:lnTo>
                  <a:lnTo>
                    <a:pt x="16880" y="426537"/>
                  </a:lnTo>
                  <a:lnTo>
                    <a:pt x="20566" y="430227"/>
                  </a:lnTo>
                  <a:lnTo>
                    <a:pt x="20566" y="433917"/>
                  </a:lnTo>
                  <a:lnTo>
                    <a:pt x="20566" y="437608"/>
                  </a:lnTo>
                  <a:lnTo>
                    <a:pt x="27948" y="437608"/>
                  </a:lnTo>
                  <a:lnTo>
                    <a:pt x="27948" y="441298"/>
                  </a:lnTo>
                  <a:lnTo>
                    <a:pt x="31634" y="441298"/>
                  </a:lnTo>
                  <a:lnTo>
                    <a:pt x="39016" y="448679"/>
                  </a:lnTo>
                  <a:lnTo>
                    <a:pt x="46398" y="456061"/>
                  </a:lnTo>
                  <a:lnTo>
                    <a:pt x="50084" y="456061"/>
                  </a:lnTo>
                  <a:lnTo>
                    <a:pt x="53770" y="456061"/>
                  </a:lnTo>
                  <a:lnTo>
                    <a:pt x="57466" y="456061"/>
                  </a:lnTo>
                  <a:lnTo>
                    <a:pt x="64838" y="456061"/>
                  </a:lnTo>
                  <a:lnTo>
                    <a:pt x="64838" y="452370"/>
                  </a:lnTo>
                  <a:lnTo>
                    <a:pt x="75906" y="456061"/>
                  </a:lnTo>
                  <a:lnTo>
                    <a:pt x="83288" y="456061"/>
                  </a:lnTo>
                  <a:lnTo>
                    <a:pt x="86974" y="459751"/>
                  </a:lnTo>
                  <a:lnTo>
                    <a:pt x="101728" y="467133"/>
                  </a:lnTo>
                  <a:lnTo>
                    <a:pt x="109110" y="467133"/>
                  </a:lnTo>
                  <a:lnTo>
                    <a:pt x="109110" y="470823"/>
                  </a:lnTo>
                  <a:lnTo>
                    <a:pt x="116492" y="470823"/>
                  </a:lnTo>
                  <a:lnTo>
                    <a:pt x="120178" y="467133"/>
                  </a:lnTo>
                  <a:lnTo>
                    <a:pt x="123864" y="467133"/>
                  </a:lnTo>
                  <a:lnTo>
                    <a:pt x="123864" y="463442"/>
                  </a:lnTo>
                  <a:lnTo>
                    <a:pt x="127560" y="459751"/>
                  </a:lnTo>
                  <a:lnTo>
                    <a:pt x="127560" y="456061"/>
                  </a:lnTo>
                  <a:lnTo>
                    <a:pt x="134932" y="452370"/>
                  </a:lnTo>
                  <a:lnTo>
                    <a:pt x="142314" y="456061"/>
                  </a:lnTo>
                  <a:lnTo>
                    <a:pt x="146000" y="452370"/>
                  </a:lnTo>
                  <a:lnTo>
                    <a:pt x="153382" y="448679"/>
                  </a:lnTo>
                  <a:lnTo>
                    <a:pt x="157069" y="448679"/>
                  </a:lnTo>
                  <a:lnTo>
                    <a:pt x="160755" y="452370"/>
                  </a:lnTo>
                  <a:lnTo>
                    <a:pt x="160755" y="459751"/>
                  </a:lnTo>
                  <a:lnTo>
                    <a:pt x="164450" y="459751"/>
                  </a:lnTo>
                  <a:lnTo>
                    <a:pt x="168137" y="459751"/>
                  </a:lnTo>
                  <a:lnTo>
                    <a:pt x="175518" y="459751"/>
                  </a:lnTo>
                  <a:lnTo>
                    <a:pt x="179205" y="459751"/>
                  </a:lnTo>
                  <a:lnTo>
                    <a:pt x="182891" y="459751"/>
                  </a:lnTo>
                  <a:lnTo>
                    <a:pt x="182891" y="463442"/>
                  </a:lnTo>
                  <a:lnTo>
                    <a:pt x="186587" y="463442"/>
                  </a:lnTo>
                  <a:lnTo>
                    <a:pt x="190273" y="459751"/>
                  </a:lnTo>
                  <a:lnTo>
                    <a:pt x="190273" y="463442"/>
                  </a:lnTo>
                  <a:lnTo>
                    <a:pt x="197655" y="467133"/>
                  </a:lnTo>
                  <a:lnTo>
                    <a:pt x="193959" y="459751"/>
                  </a:lnTo>
                  <a:lnTo>
                    <a:pt x="205027" y="463442"/>
                  </a:lnTo>
                  <a:lnTo>
                    <a:pt x="208713" y="463442"/>
                  </a:lnTo>
                  <a:lnTo>
                    <a:pt x="223477" y="481895"/>
                  </a:lnTo>
                  <a:lnTo>
                    <a:pt x="227163" y="489276"/>
                  </a:lnTo>
                  <a:lnTo>
                    <a:pt x="227163" y="492967"/>
                  </a:lnTo>
                  <a:lnTo>
                    <a:pt x="230849" y="489276"/>
                  </a:lnTo>
                  <a:lnTo>
                    <a:pt x="238231" y="481895"/>
                  </a:lnTo>
                  <a:lnTo>
                    <a:pt x="241917" y="481895"/>
                  </a:lnTo>
                  <a:lnTo>
                    <a:pt x="241917" y="485586"/>
                  </a:lnTo>
                  <a:lnTo>
                    <a:pt x="245613" y="485586"/>
                  </a:lnTo>
                  <a:lnTo>
                    <a:pt x="249299" y="485586"/>
                  </a:lnTo>
                  <a:lnTo>
                    <a:pt x="249299" y="489276"/>
                  </a:lnTo>
                  <a:lnTo>
                    <a:pt x="252985" y="489276"/>
                  </a:lnTo>
                  <a:lnTo>
                    <a:pt x="256681" y="489276"/>
                  </a:lnTo>
                  <a:lnTo>
                    <a:pt x="260367" y="492967"/>
                  </a:lnTo>
                  <a:lnTo>
                    <a:pt x="264053" y="492967"/>
                  </a:lnTo>
                  <a:lnTo>
                    <a:pt x="267749" y="492967"/>
                  </a:lnTo>
                  <a:lnTo>
                    <a:pt x="271435" y="492967"/>
                  </a:lnTo>
                  <a:lnTo>
                    <a:pt x="275121" y="489276"/>
                  </a:lnTo>
                  <a:lnTo>
                    <a:pt x="278808" y="489276"/>
                  </a:lnTo>
                  <a:lnTo>
                    <a:pt x="278808" y="485586"/>
                  </a:lnTo>
                  <a:lnTo>
                    <a:pt x="282503" y="485586"/>
                  </a:lnTo>
                  <a:lnTo>
                    <a:pt x="286189" y="481895"/>
                  </a:lnTo>
                  <a:lnTo>
                    <a:pt x="286189" y="478204"/>
                  </a:lnTo>
                  <a:lnTo>
                    <a:pt x="289876" y="474514"/>
                  </a:lnTo>
                  <a:lnTo>
                    <a:pt x="289876" y="470823"/>
                  </a:lnTo>
                  <a:lnTo>
                    <a:pt x="293571" y="467133"/>
                  </a:lnTo>
                  <a:lnTo>
                    <a:pt x="300944" y="467133"/>
                  </a:lnTo>
                  <a:lnTo>
                    <a:pt x="300944" y="463442"/>
                  </a:lnTo>
                  <a:lnTo>
                    <a:pt x="308326" y="467133"/>
                  </a:lnTo>
                  <a:lnTo>
                    <a:pt x="308326" y="463442"/>
                  </a:lnTo>
                  <a:lnTo>
                    <a:pt x="315707" y="459751"/>
                  </a:lnTo>
                  <a:lnTo>
                    <a:pt x="315707" y="467133"/>
                  </a:lnTo>
                  <a:lnTo>
                    <a:pt x="319394" y="474514"/>
                  </a:lnTo>
                  <a:lnTo>
                    <a:pt x="323080" y="478204"/>
                  </a:lnTo>
                  <a:lnTo>
                    <a:pt x="326775" y="478204"/>
                  </a:lnTo>
                  <a:lnTo>
                    <a:pt x="326775" y="481895"/>
                  </a:lnTo>
                  <a:lnTo>
                    <a:pt x="330462" y="478204"/>
                  </a:lnTo>
                  <a:lnTo>
                    <a:pt x="341530" y="474514"/>
                  </a:lnTo>
                  <a:lnTo>
                    <a:pt x="341530" y="481895"/>
                  </a:lnTo>
                  <a:lnTo>
                    <a:pt x="348912" y="478204"/>
                  </a:lnTo>
                  <a:lnTo>
                    <a:pt x="352598" y="474514"/>
                  </a:lnTo>
                  <a:lnTo>
                    <a:pt x="356284" y="474514"/>
                  </a:lnTo>
                  <a:lnTo>
                    <a:pt x="356284" y="470823"/>
                  </a:lnTo>
                  <a:lnTo>
                    <a:pt x="352598" y="463442"/>
                  </a:lnTo>
                  <a:lnTo>
                    <a:pt x="356284" y="463442"/>
                  </a:lnTo>
                  <a:lnTo>
                    <a:pt x="367352" y="463442"/>
                  </a:lnTo>
                  <a:lnTo>
                    <a:pt x="371038" y="459751"/>
                  </a:lnTo>
                  <a:lnTo>
                    <a:pt x="374734" y="456061"/>
                  </a:lnTo>
                  <a:lnTo>
                    <a:pt x="385802" y="448679"/>
                  </a:lnTo>
                  <a:lnTo>
                    <a:pt x="396870" y="441298"/>
                  </a:lnTo>
                  <a:lnTo>
                    <a:pt x="404242" y="433917"/>
                  </a:lnTo>
                  <a:lnTo>
                    <a:pt x="418996" y="426537"/>
                  </a:lnTo>
                  <a:lnTo>
                    <a:pt x="422692" y="422846"/>
                  </a:lnTo>
                  <a:lnTo>
                    <a:pt x="426378" y="419156"/>
                  </a:lnTo>
                  <a:lnTo>
                    <a:pt x="437446" y="404393"/>
                  </a:lnTo>
                  <a:lnTo>
                    <a:pt x="444828" y="400703"/>
                  </a:lnTo>
                  <a:lnTo>
                    <a:pt x="444828" y="397012"/>
                  </a:lnTo>
                  <a:lnTo>
                    <a:pt x="444828" y="393321"/>
                  </a:lnTo>
                  <a:lnTo>
                    <a:pt x="452201" y="389631"/>
                  </a:lnTo>
                  <a:lnTo>
                    <a:pt x="463269" y="393321"/>
                  </a:lnTo>
                  <a:lnTo>
                    <a:pt x="474337" y="393321"/>
                  </a:lnTo>
                  <a:lnTo>
                    <a:pt x="489100" y="408084"/>
                  </a:lnTo>
                  <a:lnTo>
                    <a:pt x="503855" y="397012"/>
                  </a:lnTo>
                  <a:lnTo>
                    <a:pt x="514923" y="385940"/>
                  </a:lnTo>
                  <a:lnTo>
                    <a:pt x="518609" y="382249"/>
                  </a:lnTo>
                  <a:lnTo>
                    <a:pt x="522295" y="378559"/>
                  </a:lnTo>
                  <a:lnTo>
                    <a:pt x="522295" y="374868"/>
                  </a:lnTo>
                  <a:lnTo>
                    <a:pt x="533363" y="356415"/>
                  </a:lnTo>
                  <a:lnTo>
                    <a:pt x="529677" y="352725"/>
                  </a:lnTo>
                  <a:lnTo>
                    <a:pt x="525991" y="345344"/>
                  </a:lnTo>
                  <a:lnTo>
                    <a:pt x="522295" y="337963"/>
                  </a:lnTo>
                  <a:lnTo>
                    <a:pt x="507541" y="315819"/>
                  </a:lnTo>
                  <a:lnTo>
                    <a:pt x="500159" y="304748"/>
                  </a:lnTo>
                  <a:lnTo>
                    <a:pt x="500159" y="301057"/>
                  </a:lnTo>
                  <a:lnTo>
                    <a:pt x="500159" y="289985"/>
                  </a:lnTo>
                  <a:lnTo>
                    <a:pt x="503855" y="278913"/>
                  </a:lnTo>
                  <a:lnTo>
                    <a:pt x="496473" y="275223"/>
                  </a:lnTo>
                  <a:lnTo>
                    <a:pt x="485405" y="275223"/>
                  </a:lnTo>
                  <a:lnTo>
                    <a:pt x="474337" y="267841"/>
                  </a:lnTo>
                  <a:lnTo>
                    <a:pt x="478033" y="260461"/>
                  </a:lnTo>
                  <a:lnTo>
                    <a:pt x="466964" y="256771"/>
                  </a:lnTo>
                  <a:lnTo>
                    <a:pt x="466964" y="253080"/>
                  </a:lnTo>
                  <a:lnTo>
                    <a:pt x="463269" y="249389"/>
                  </a:lnTo>
                  <a:lnTo>
                    <a:pt x="455896" y="245699"/>
                  </a:lnTo>
                  <a:lnTo>
                    <a:pt x="452201" y="242008"/>
                  </a:lnTo>
                  <a:lnTo>
                    <a:pt x="448515" y="242008"/>
                  </a:lnTo>
                  <a:lnTo>
                    <a:pt x="441133" y="242008"/>
                  </a:lnTo>
                  <a:lnTo>
                    <a:pt x="433760" y="242008"/>
                  </a:lnTo>
                  <a:lnTo>
                    <a:pt x="426378" y="242008"/>
                  </a:lnTo>
                  <a:lnTo>
                    <a:pt x="422692" y="242008"/>
                  </a:lnTo>
                  <a:lnTo>
                    <a:pt x="418996" y="234627"/>
                  </a:lnTo>
                  <a:lnTo>
                    <a:pt x="415310" y="230936"/>
                  </a:lnTo>
                  <a:lnTo>
                    <a:pt x="411624" y="227246"/>
                  </a:lnTo>
                  <a:lnTo>
                    <a:pt x="411624" y="212483"/>
                  </a:lnTo>
                  <a:lnTo>
                    <a:pt x="411624" y="208793"/>
                  </a:lnTo>
                  <a:lnTo>
                    <a:pt x="411624" y="201411"/>
                  </a:lnTo>
                  <a:lnTo>
                    <a:pt x="411624" y="194030"/>
                  </a:lnTo>
                  <a:lnTo>
                    <a:pt x="415310" y="190340"/>
                  </a:lnTo>
                  <a:lnTo>
                    <a:pt x="418996" y="182958"/>
                  </a:lnTo>
                  <a:lnTo>
                    <a:pt x="418996" y="179268"/>
                  </a:lnTo>
                  <a:lnTo>
                    <a:pt x="422692" y="175578"/>
                  </a:lnTo>
                  <a:lnTo>
                    <a:pt x="426378" y="175578"/>
                  </a:lnTo>
                  <a:lnTo>
                    <a:pt x="430065" y="171888"/>
                  </a:lnTo>
                  <a:lnTo>
                    <a:pt x="433760" y="164506"/>
                  </a:lnTo>
                  <a:lnTo>
                    <a:pt x="433760" y="160816"/>
                  </a:lnTo>
                  <a:lnTo>
                    <a:pt x="433760" y="157125"/>
                  </a:lnTo>
                  <a:lnTo>
                    <a:pt x="433760" y="149744"/>
                  </a:lnTo>
                  <a:lnTo>
                    <a:pt x="430065" y="149744"/>
                  </a:lnTo>
                  <a:lnTo>
                    <a:pt x="426378" y="149744"/>
                  </a:lnTo>
                  <a:lnTo>
                    <a:pt x="426378" y="146053"/>
                  </a:lnTo>
                  <a:lnTo>
                    <a:pt x="430065" y="142363"/>
                  </a:lnTo>
                  <a:lnTo>
                    <a:pt x="433760" y="138672"/>
                  </a:lnTo>
                  <a:lnTo>
                    <a:pt x="437446" y="134981"/>
                  </a:lnTo>
                  <a:lnTo>
                    <a:pt x="437446" y="131291"/>
                  </a:lnTo>
                  <a:lnTo>
                    <a:pt x="437446" y="127600"/>
                  </a:lnTo>
                  <a:lnTo>
                    <a:pt x="441133" y="123910"/>
                  </a:lnTo>
                  <a:lnTo>
                    <a:pt x="441133" y="120219"/>
                  </a:lnTo>
                  <a:lnTo>
                    <a:pt x="444828" y="120219"/>
                  </a:lnTo>
                  <a:lnTo>
                    <a:pt x="448515" y="116528"/>
                  </a:lnTo>
                  <a:lnTo>
                    <a:pt x="444828" y="116528"/>
                  </a:lnTo>
                  <a:lnTo>
                    <a:pt x="444828" y="112838"/>
                  </a:lnTo>
                  <a:lnTo>
                    <a:pt x="444828" y="109147"/>
                  </a:lnTo>
                  <a:lnTo>
                    <a:pt x="444828" y="105457"/>
                  </a:lnTo>
                  <a:lnTo>
                    <a:pt x="448515" y="101766"/>
                  </a:lnTo>
                  <a:lnTo>
                    <a:pt x="452201" y="101766"/>
                  </a:lnTo>
                  <a:lnTo>
                    <a:pt x="455896" y="98075"/>
                  </a:lnTo>
                  <a:lnTo>
                    <a:pt x="455896" y="94385"/>
                  </a:lnTo>
                  <a:lnTo>
                    <a:pt x="459582" y="90695"/>
                  </a:lnTo>
                  <a:lnTo>
                    <a:pt x="463269" y="90695"/>
                  </a:lnTo>
                  <a:lnTo>
                    <a:pt x="463269" y="87004"/>
                  </a:lnTo>
                  <a:lnTo>
                    <a:pt x="459582" y="87004"/>
                  </a:lnTo>
                  <a:lnTo>
                    <a:pt x="459582" y="83314"/>
                  </a:lnTo>
                  <a:lnTo>
                    <a:pt x="459582" y="61170"/>
                  </a:lnTo>
                  <a:lnTo>
                    <a:pt x="455896" y="61170"/>
                  </a:lnTo>
                  <a:lnTo>
                    <a:pt x="455896" y="57480"/>
                  </a:lnTo>
                  <a:lnTo>
                    <a:pt x="448515" y="57480"/>
                  </a:lnTo>
                  <a:lnTo>
                    <a:pt x="444828" y="57480"/>
                  </a:lnTo>
                  <a:lnTo>
                    <a:pt x="441133" y="61170"/>
                  </a:lnTo>
                  <a:lnTo>
                    <a:pt x="437446" y="61170"/>
                  </a:lnTo>
                  <a:lnTo>
                    <a:pt x="433760" y="61170"/>
                  </a:lnTo>
                  <a:lnTo>
                    <a:pt x="437446" y="64861"/>
                  </a:lnTo>
                  <a:lnTo>
                    <a:pt x="437446" y="68551"/>
                  </a:lnTo>
                  <a:lnTo>
                    <a:pt x="433760" y="68551"/>
                  </a:lnTo>
                  <a:lnTo>
                    <a:pt x="433760" y="64861"/>
                  </a:lnTo>
                  <a:lnTo>
                    <a:pt x="430065" y="61170"/>
                  </a:lnTo>
                  <a:lnTo>
                    <a:pt x="430065" y="57480"/>
                  </a:lnTo>
                  <a:lnTo>
                    <a:pt x="426378" y="57480"/>
                  </a:lnTo>
                  <a:lnTo>
                    <a:pt x="430065" y="53789"/>
                  </a:lnTo>
                  <a:lnTo>
                    <a:pt x="426378" y="53789"/>
                  </a:lnTo>
                  <a:lnTo>
                    <a:pt x="422692" y="50098"/>
                  </a:lnTo>
                  <a:lnTo>
                    <a:pt x="422692" y="53789"/>
                  </a:lnTo>
                  <a:lnTo>
                    <a:pt x="418996" y="61170"/>
                  </a:lnTo>
                  <a:lnTo>
                    <a:pt x="418996" y="57480"/>
                  </a:lnTo>
                  <a:lnTo>
                    <a:pt x="418996" y="53789"/>
                  </a:lnTo>
                  <a:lnTo>
                    <a:pt x="411624" y="50098"/>
                  </a:lnTo>
                  <a:lnTo>
                    <a:pt x="407938" y="53789"/>
                  </a:lnTo>
                  <a:lnTo>
                    <a:pt x="407938" y="57480"/>
                  </a:lnTo>
                  <a:lnTo>
                    <a:pt x="415310" y="64861"/>
                  </a:lnTo>
                  <a:lnTo>
                    <a:pt x="415310" y="68551"/>
                  </a:lnTo>
                  <a:lnTo>
                    <a:pt x="411624" y="68551"/>
                  </a:lnTo>
                  <a:lnTo>
                    <a:pt x="411624" y="64861"/>
                  </a:lnTo>
                  <a:lnTo>
                    <a:pt x="407938" y="68551"/>
                  </a:lnTo>
                  <a:lnTo>
                    <a:pt x="407938" y="64861"/>
                  </a:lnTo>
                  <a:lnTo>
                    <a:pt x="404242" y="61170"/>
                  </a:lnTo>
                  <a:lnTo>
                    <a:pt x="404242" y="57480"/>
                  </a:lnTo>
                  <a:lnTo>
                    <a:pt x="404242" y="53789"/>
                  </a:lnTo>
                  <a:lnTo>
                    <a:pt x="404242" y="46408"/>
                  </a:lnTo>
                  <a:lnTo>
                    <a:pt x="400556" y="42717"/>
                  </a:lnTo>
                  <a:lnTo>
                    <a:pt x="400556" y="39027"/>
                  </a:lnTo>
                  <a:lnTo>
                    <a:pt x="404242" y="35336"/>
                  </a:lnTo>
                  <a:lnTo>
                    <a:pt x="400556" y="35336"/>
                  </a:lnTo>
                  <a:lnTo>
                    <a:pt x="400556" y="31645"/>
                  </a:lnTo>
                  <a:lnTo>
                    <a:pt x="400556" y="27955"/>
                  </a:lnTo>
                  <a:lnTo>
                    <a:pt x="396870" y="24264"/>
                  </a:lnTo>
                  <a:lnTo>
                    <a:pt x="400556" y="16883"/>
                  </a:lnTo>
                  <a:lnTo>
                    <a:pt x="400556" y="13192"/>
                  </a:lnTo>
                  <a:lnTo>
                    <a:pt x="400556" y="9502"/>
                  </a:lnTo>
                  <a:lnTo>
                    <a:pt x="407938" y="5812"/>
                  </a:lnTo>
                  <a:close/>
                  <a:moveTo>
                    <a:pt x="430065" y="53789"/>
                  </a:moveTo>
                  <a:lnTo>
                    <a:pt x="430065" y="57480"/>
                  </a:lnTo>
                  <a:lnTo>
                    <a:pt x="433760" y="61170"/>
                  </a:lnTo>
                  <a:lnTo>
                    <a:pt x="430065" y="53789"/>
                  </a:lnTo>
                  <a:close/>
                  <a:moveTo>
                    <a:pt x="24261" y="264151"/>
                  </a:moveTo>
                  <a:lnTo>
                    <a:pt x="13193" y="275223"/>
                  </a:lnTo>
                  <a:lnTo>
                    <a:pt x="9498" y="275223"/>
                  </a:lnTo>
                  <a:lnTo>
                    <a:pt x="5812" y="275223"/>
                  </a:lnTo>
                  <a:lnTo>
                    <a:pt x="9498" y="278913"/>
                  </a:lnTo>
                  <a:lnTo>
                    <a:pt x="13193" y="278913"/>
                  </a:lnTo>
                  <a:lnTo>
                    <a:pt x="16880" y="275223"/>
                  </a:lnTo>
                  <a:lnTo>
                    <a:pt x="24261" y="264151"/>
                  </a:lnTo>
                  <a:close/>
                  <a:moveTo>
                    <a:pt x="50084" y="190340"/>
                  </a:moveTo>
                  <a:lnTo>
                    <a:pt x="50084" y="186649"/>
                  </a:lnTo>
                  <a:lnTo>
                    <a:pt x="46398" y="190340"/>
                  </a:lnTo>
                  <a:lnTo>
                    <a:pt x="50084" y="190340"/>
                  </a:lnTo>
                  <a:close/>
                  <a:moveTo>
                    <a:pt x="407938" y="75933"/>
                  </a:moveTo>
                  <a:lnTo>
                    <a:pt x="411624" y="75933"/>
                  </a:lnTo>
                  <a:lnTo>
                    <a:pt x="411624" y="79623"/>
                  </a:lnTo>
                  <a:lnTo>
                    <a:pt x="407938" y="75933"/>
                  </a:lnTo>
                  <a:close/>
                  <a:moveTo>
                    <a:pt x="400556" y="79623"/>
                  </a:moveTo>
                  <a:lnTo>
                    <a:pt x="404242" y="79623"/>
                  </a:lnTo>
                  <a:lnTo>
                    <a:pt x="400556" y="83314"/>
                  </a:lnTo>
                  <a:lnTo>
                    <a:pt x="400556" y="79623"/>
                  </a:lnTo>
                  <a:close/>
                  <a:moveTo>
                    <a:pt x="39016" y="301057"/>
                  </a:moveTo>
                  <a:lnTo>
                    <a:pt x="42702" y="301057"/>
                  </a:lnTo>
                  <a:lnTo>
                    <a:pt x="39016" y="304748"/>
                  </a:lnTo>
                  <a:lnTo>
                    <a:pt x="39016" y="301057"/>
                  </a:lnTo>
                  <a:close/>
                </a:path>
              </a:pathLst>
            </a:custGeom>
            <a:solidFill>
              <a:srgbClr val="BF211E"/>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08</a:t>
              </a:r>
            </a:p>
          </p:txBody>
        </p:sp>
        <p:sp>
          <p:nvSpPr>
            <p:cNvPr id="275" name="Freeform: Shape 274">
              <a:extLst>
                <a:ext uri="{FF2B5EF4-FFF2-40B4-BE49-F238E27FC236}">
                  <a16:creationId xmlns:a16="http://schemas.microsoft.com/office/drawing/2014/main" id="{DA56F28B-08ED-4788-8F49-42D4E7E3471D}"/>
                </a:ext>
              </a:extLst>
            </p:cNvPr>
            <p:cNvSpPr/>
            <p:nvPr/>
          </p:nvSpPr>
          <p:spPr>
            <a:xfrm>
              <a:off x="6383048" y="2538398"/>
              <a:ext cx="15373" cy="30745"/>
            </a:xfrm>
            <a:custGeom>
              <a:avLst/>
              <a:gdLst>
                <a:gd name="connsiteX0" fmla="*/ 13193 w 9525"/>
                <a:gd name="connsiteY0" fmla="*/ 9502 h 19050"/>
                <a:gd name="connsiteX1" fmla="*/ 13193 w 9525"/>
                <a:gd name="connsiteY1" fmla="*/ 13193 h 19050"/>
                <a:gd name="connsiteX2" fmla="*/ 9507 w 9525"/>
                <a:gd name="connsiteY2" fmla="*/ 16884 h 19050"/>
                <a:gd name="connsiteX3" fmla="*/ 5812 w 9525"/>
                <a:gd name="connsiteY3" fmla="*/ 16884 h 19050"/>
                <a:gd name="connsiteX4" fmla="*/ 5812 w 9525"/>
                <a:gd name="connsiteY4" fmla="*/ 16884 h 19050"/>
                <a:gd name="connsiteX5" fmla="*/ 5812 w 9525"/>
                <a:gd name="connsiteY5" fmla="*/ 13193 h 19050"/>
                <a:gd name="connsiteX6" fmla="*/ 5812 w 9525"/>
                <a:gd name="connsiteY6" fmla="*/ 9502 h 19050"/>
                <a:gd name="connsiteX7" fmla="*/ 5812 w 9525"/>
                <a:gd name="connsiteY7" fmla="*/ 9502 h 19050"/>
                <a:gd name="connsiteX8" fmla="*/ 9507 w 9525"/>
                <a:gd name="connsiteY8" fmla="*/ 5812 h 19050"/>
                <a:gd name="connsiteX9" fmla="*/ 9507 w 9525"/>
                <a:gd name="connsiteY9" fmla="*/ 5812 h 19050"/>
                <a:gd name="connsiteX10" fmla="*/ 13193 w 9525"/>
                <a:gd name="connsiteY10" fmla="*/ 5812 h 19050"/>
                <a:gd name="connsiteX11" fmla="*/ 13193 w 9525"/>
                <a:gd name="connsiteY11" fmla="*/ 950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25" h="19050">
                  <a:moveTo>
                    <a:pt x="13193" y="9502"/>
                  </a:moveTo>
                  <a:lnTo>
                    <a:pt x="13193" y="13193"/>
                  </a:lnTo>
                  <a:lnTo>
                    <a:pt x="9507" y="16884"/>
                  </a:lnTo>
                  <a:lnTo>
                    <a:pt x="5812" y="16884"/>
                  </a:lnTo>
                  <a:lnTo>
                    <a:pt x="5812" y="16884"/>
                  </a:lnTo>
                  <a:lnTo>
                    <a:pt x="5812" y="13193"/>
                  </a:lnTo>
                  <a:lnTo>
                    <a:pt x="5812" y="9502"/>
                  </a:lnTo>
                  <a:lnTo>
                    <a:pt x="5812" y="9502"/>
                  </a:lnTo>
                  <a:lnTo>
                    <a:pt x="9507" y="5812"/>
                  </a:lnTo>
                  <a:lnTo>
                    <a:pt x="9507" y="5812"/>
                  </a:lnTo>
                  <a:lnTo>
                    <a:pt x="13193" y="5812"/>
                  </a:lnTo>
                  <a:lnTo>
                    <a:pt x="13193" y="9502"/>
                  </a:lnTo>
                  <a:close/>
                </a:path>
              </a:pathLst>
            </a:custGeom>
            <a:solidFill>
              <a:srgbClr val="BF211E"/>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76" name="Freeform: Shape 275">
              <a:extLst>
                <a:ext uri="{FF2B5EF4-FFF2-40B4-BE49-F238E27FC236}">
                  <a16:creationId xmlns:a16="http://schemas.microsoft.com/office/drawing/2014/main" id="{9278CEB1-505E-42AF-BF69-E1C717F1B570}"/>
                </a:ext>
              </a:extLst>
            </p:cNvPr>
            <p:cNvSpPr/>
            <p:nvPr/>
          </p:nvSpPr>
          <p:spPr>
            <a:xfrm>
              <a:off x="6049615" y="2520529"/>
              <a:ext cx="292081" cy="76864"/>
            </a:xfrm>
            <a:custGeom>
              <a:avLst/>
              <a:gdLst>
                <a:gd name="connsiteX0" fmla="*/ 64847 w 180975"/>
                <a:gd name="connsiteY0" fmla="*/ 16883 h 47625"/>
                <a:gd name="connsiteX1" fmla="*/ 75906 w 180975"/>
                <a:gd name="connsiteY1" fmla="*/ 16883 h 47625"/>
                <a:gd name="connsiteX2" fmla="*/ 86974 w 180975"/>
                <a:gd name="connsiteY2" fmla="*/ 16883 h 47625"/>
                <a:gd name="connsiteX3" fmla="*/ 134942 w 180975"/>
                <a:gd name="connsiteY3" fmla="*/ 13193 h 47625"/>
                <a:gd name="connsiteX4" fmla="*/ 157068 w 180975"/>
                <a:gd name="connsiteY4" fmla="*/ 9502 h 47625"/>
                <a:gd name="connsiteX5" fmla="*/ 168137 w 180975"/>
                <a:gd name="connsiteY5" fmla="*/ 9502 h 47625"/>
                <a:gd name="connsiteX6" fmla="*/ 175519 w 180975"/>
                <a:gd name="connsiteY6" fmla="*/ 13193 h 47625"/>
                <a:gd name="connsiteX7" fmla="*/ 179205 w 180975"/>
                <a:gd name="connsiteY7" fmla="*/ 13193 h 47625"/>
                <a:gd name="connsiteX8" fmla="*/ 179205 w 180975"/>
                <a:gd name="connsiteY8" fmla="*/ 16883 h 47625"/>
                <a:gd name="connsiteX9" fmla="*/ 179205 w 180975"/>
                <a:gd name="connsiteY9" fmla="*/ 16883 h 47625"/>
                <a:gd name="connsiteX10" fmla="*/ 179205 w 180975"/>
                <a:gd name="connsiteY10" fmla="*/ 20574 h 47625"/>
                <a:gd name="connsiteX11" fmla="*/ 175519 w 180975"/>
                <a:gd name="connsiteY11" fmla="*/ 20574 h 47625"/>
                <a:gd name="connsiteX12" fmla="*/ 164450 w 180975"/>
                <a:gd name="connsiteY12" fmla="*/ 20574 h 47625"/>
                <a:gd name="connsiteX13" fmla="*/ 157068 w 180975"/>
                <a:gd name="connsiteY13" fmla="*/ 20574 h 47625"/>
                <a:gd name="connsiteX14" fmla="*/ 146001 w 180975"/>
                <a:gd name="connsiteY14" fmla="*/ 20574 h 47625"/>
                <a:gd name="connsiteX15" fmla="*/ 138628 w 180975"/>
                <a:gd name="connsiteY15" fmla="*/ 24264 h 47625"/>
                <a:gd name="connsiteX16" fmla="*/ 138628 w 180975"/>
                <a:gd name="connsiteY16" fmla="*/ 24264 h 47625"/>
                <a:gd name="connsiteX17" fmla="*/ 131246 w 180975"/>
                <a:gd name="connsiteY17" fmla="*/ 27955 h 47625"/>
                <a:gd name="connsiteX18" fmla="*/ 127560 w 180975"/>
                <a:gd name="connsiteY18" fmla="*/ 27955 h 47625"/>
                <a:gd name="connsiteX19" fmla="*/ 127560 w 180975"/>
                <a:gd name="connsiteY19" fmla="*/ 27955 h 47625"/>
                <a:gd name="connsiteX20" fmla="*/ 127560 w 180975"/>
                <a:gd name="connsiteY20" fmla="*/ 27955 h 47625"/>
                <a:gd name="connsiteX21" fmla="*/ 112806 w 180975"/>
                <a:gd name="connsiteY21" fmla="*/ 31645 h 47625"/>
                <a:gd name="connsiteX22" fmla="*/ 98042 w 180975"/>
                <a:gd name="connsiteY22" fmla="*/ 35336 h 47625"/>
                <a:gd name="connsiteX23" fmla="*/ 90670 w 180975"/>
                <a:gd name="connsiteY23" fmla="*/ 35336 h 47625"/>
                <a:gd name="connsiteX24" fmla="*/ 86974 w 180975"/>
                <a:gd name="connsiteY24" fmla="*/ 35336 h 47625"/>
                <a:gd name="connsiteX25" fmla="*/ 83288 w 180975"/>
                <a:gd name="connsiteY25" fmla="*/ 35336 h 47625"/>
                <a:gd name="connsiteX26" fmla="*/ 72220 w 180975"/>
                <a:gd name="connsiteY26" fmla="*/ 31645 h 47625"/>
                <a:gd name="connsiteX27" fmla="*/ 68534 w 180975"/>
                <a:gd name="connsiteY27" fmla="*/ 31645 h 47625"/>
                <a:gd name="connsiteX28" fmla="*/ 61152 w 180975"/>
                <a:gd name="connsiteY28" fmla="*/ 31645 h 47625"/>
                <a:gd name="connsiteX29" fmla="*/ 57466 w 180975"/>
                <a:gd name="connsiteY29" fmla="*/ 31645 h 47625"/>
                <a:gd name="connsiteX30" fmla="*/ 57466 w 180975"/>
                <a:gd name="connsiteY30" fmla="*/ 35336 h 47625"/>
                <a:gd name="connsiteX31" fmla="*/ 53779 w 180975"/>
                <a:gd name="connsiteY31" fmla="*/ 39027 h 47625"/>
                <a:gd name="connsiteX32" fmla="*/ 50084 w 180975"/>
                <a:gd name="connsiteY32" fmla="*/ 42717 h 47625"/>
                <a:gd name="connsiteX33" fmla="*/ 42711 w 180975"/>
                <a:gd name="connsiteY33" fmla="*/ 42717 h 47625"/>
                <a:gd name="connsiteX34" fmla="*/ 39016 w 180975"/>
                <a:gd name="connsiteY34" fmla="*/ 46408 h 47625"/>
                <a:gd name="connsiteX35" fmla="*/ 35330 w 180975"/>
                <a:gd name="connsiteY35" fmla="*/ 46408 h 47625"/>
                <a:gd name="connsiteX36" fmla="*/ 31643 w 180975"/>
                <a:gd name="connsiteY36" fmla="*/ 46408 h 47625"/>
                <a:gd name="connsiteX37" fmla="*/ 35330 w 180975"/>
                <a:gd name="connsiteY37" fmla="*/ 46408 h 47625"/>
                <a:gd name="connsiteX38" fmla="*/ 31643 w 180975"/>
                <a:gd name="connsiteY38" fmla="*/ 50098 h 47625"/>
                <a:gd name="connsiteX39" fmla="*/ 27948 w 180975"/>
                <a:gd name="connsiteY39" fmla="*/ 46408 h 47625"/>
                <a:gd name="connsiteX40" fmla="*/ 20575 w 180975"/>
                <a:gd name="connsiteY40" fmla="*/ 46408 h 47625"/>
                <a:gd name="connsiteX41" fmla="*/ 16880 w 180975"/>
                <a:gd name="connsiteY41" fmla="*/ 42717 h 47625"/>
                <a:gd name="connsiteX42" fmla="*/ 9507 w 180975"/>
                <a:gd name="connsiteY42" fmla="*/ 39027 h 47625"/>
                <a:gd name="connsiteX43" fmla="*/ 5812 w 180975"/>
                <a:gd name="connsiteY43" fmla="*/ 31645 h 47625"/>
                <a:gd name="connsiteX44" fmla="*/ 5812 w 180975"/>
                <a:gd name="connsiteY44" fmla="*/ 27955 h 47625"/>
                <a:gd name="connsiteX45" fmla="*/ 9507 w 180975"/>
                <a:gd name="connsiteY45" fmla="*/ 24264 h 47625"/>
                <a:gd name="connsiteX46" fmla="*/ 13193 w 180975"/>
                <a:gd name="connsiteY46" fmla="*/ 16883 h 47625"/>
                <a:gd name="connsiteX47" fmla="*/ 16880 w 180975"/>
                <a:gd name="connsiteY47" fmla="*/ 13193 h 47625"/>
                <a:gd name="connsiteX48" fmla="*/ 24261 w 180975"/>
                <a:gd name="connsiteY48" fmla="*/ 5812 h 47625"/>
                <a:gd name="connsiteX49" fmla="*/ 27948 w 180975"/>
                <a:gd name="connsiteY49" fmla="*/ 5812 h 47625"/>
                <a:gd name="connsiteX50" fmla="*/ 31643 w 180975"/>
                <a:gd name="connsiteY50" fmla="*/ 5812 h 47625"/>
                <a:gd name="connsiteX51" fmla="*/ 35330 w 180975"/>
                <a:gd name="connsiteY51" fmla="*/ 9502 h 47625"/>
                <a:gd name="connsiteX52" fmla="*/ 39016 w 180975"/>
                <a:gd name="connsiteY52" fmla="*/ 9502 h 47625"/>
                <a:gd name="connsiteX53" fmla="*/ 42711 w 180975"/>
                <a:gd name="connsiteY53" fmla="*/ 13193 h 47625"/>
                <a:gd name="connsiteX54" fmla="*/ 39016 w 180975"/>
                <a:gd name="connsiteY54" fmla="*/ 13193 h 47625"/>
                <a:gd name="connsiteX55" fmla="*/ 39016 w 180975"/>
                <a:gd name="connsiteY55" fmla="*/ 13193 h 47625"/>
                <a:gd name="connsiteX56" fmla="*/ 35330 w 180975"/>
                <a:gd name="connsiteY56" fmla="*/ 9502 h 47625"/>
                <a:gd name="connsiteX57" fmla="*/ 35330 w 180975"/>
                <a:gd name="connsiteY57" fmla="*/ 9502 h 47625"/>
                <a:gd name="connsiteX58" fmla="*/ 31643 w 180975"/>
                <a:gd name="connsiteY58" fmla="*/ 9502 h 47625"/>
                <a:gd name="connsiteX59" fmla="*/ 24261 w 180975"/>
                <a:gd name="connsiteY59" fmla="*/ 9502 h 47625"/>
                <a:gd name="connsiteX60" fmla="*/ 20575 w 180975"/>
                <a:gd name="connsiteY60" fmla="*/ 13193 h 47625"/>
                <a:gd name="connsiteX61" fmla="*/ 27948 w 180975"/>
                <a:gd name="connsiteY61" fmla="*/ 13193 h 47625"/>
                <a:gd name="connsiteX62" fmla="*/ 31643 w 180975"/>
                <a:gd name="connsiteY62" fmla="*/ 13193 h 47625"/>
                <a:gd name="connsiteX63" fmla="*/ 31643 w 180975"/>
                <a:gd name="connsiteY63" fmla="*/ 13193 h 47625"/>
                <a:gd name="connsiteX64" fmla="*/ 46398 w 180975"/>
                <a:gd name="connsiteY64" fmla="*/ 16883 h 47625"/>
                <a:gd name="connsiteX65" fmla="*/ 64847 w 180975"/>
                <a:gd name="connsiteY65" fmla="*/ 16883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80975" h="47625">
                  <a:moveTo>
                    <a:pt x="64847" y="16883"/>
                  </a:moveTo>
                  <a:lnTo>
                    <a:pt x="75906" y="16883"/>
                  </a:lnTo>
                  <a:lnTo>
                    <a:pt x="86974" y="16883"/>
                  </a:lnTo>
                  <a:lnTo>
                    <a:pt x="134942" y="13193"/>
                  </a:lnTo>
                  <a:lnTo>
                    <a:pt x="157068" y="9502"/>
                  </a:lnTo>
                  <a:lnTo>
                    <a:pt x="168137" y="9502"/>
                  </a:lnTo>
                  <a:lnTo>
                    <a:pt x="175519" y="13193"/>
                  </a:lnTo>
                  <a:lnTo>
                    <a:pt x="179205" y="13193"/>
                  </a:lnTo>
                  <a:lnTo>
                    <a:pt x="179205" y="16883"/>
                  </a:lnTo>
                  <a:lnTo>
                    <a:pt x="179205" y="16883"/>
                  </a:lnTo>
                  <a:lnTo>
                    <a:pt x="179205" y="20574"/>
                  </a:lnTo>
                  <a:lnTo>
                    <a:pt x="175519" y="20574"/>
                  </a:lnTo>
                  <a:lnTo>
                    <a:pt x="164450" y="20574"/>
                  </a:lnTo>
                  <a:lnTo>
                    <a:pt x="157068" y="20574"/>
                  </a:lnTo>
                  <a:lnTo>
                    <a:pt x="146001" y="20574"/>
                  </a:lnTo>
                  <a:lnTo>
                    <a:pt x="138628" y="24264"/>
                  </a:lnTo>
                  <a:lnTo>
                    <a:pt x="138628" y="24264"/>
                  </a:lnTo>
                  <a:lnTo>
                    <a:pt x="131246" y="27955"/>
                  </a:lnTo>
                  <a:lnTo>
                    <a:pt x="127560" y="27955"/>
                  </a:lnTo>
                  <a:lnTo>
                    <a:pt x="127560" y="27955"/>
                  </a:lnTo>
                  <a:lnTo>
                    <a:pt x="127560" y="27955"/>
                  </a:lnTo>
                  <a:lnTo>
                    <a:pt x="112806" y="31645"/>
                  </a:lnTo>
                  <a:lnTo>
                    <a:pt x="98042" y="35336"/>
                  </a:lnTo>
                  <a:lnTo>
                    <a:pt x="90670" y="35336"/>
                  </a:lnTo>
                  <a:lnTo>
                    <a:pt x="86974" y="35336"/>
                  </a:lnTo>
                  <a:lnTo>
                    <a:pt x="83288" y="35336"/>
                  </a:lnTo>
                  <a:lnTo>
                    <a:pt x="72220" y="31645"/>
                  </a:lnTo>
                  <a:lnTo>
                    <a:pt x="68534" y="31645"/>
                  </a:lnTo>
                  <a:lnTo>
                    <a:pt x="61152" y="31645"/>
                  </a:lnTo>
                  <a:lnTo>
                    <a:pt x="57466" y="31645"/>
                  </a:lnTo>
                  <a:lnTo>
                    <a:pt x="57466" y="35336"/>
                  </a:lnTo>
                  <a:lnTo>
                    <a:pt x="53779" y="39027"/>
                  </a:lnTo>
                  <a:lnTo>
                    <a:pt x="50084" y="42717"/>
                  </a:lnTo>
                  <a:lnTo>
                    <a:pt x="42711" y="42717"/>
                  </a:lnTo>
                  <a:lnTo>
                    <a:pt x="39016" y="46408"/>
                  </a:lnTo>
                  <a:lnTo>
                    <a:pt x="35330" y="46408"/>
                  </a:lnTo>
                  <a:lnTo>
                    <a:pt x="31643" y="46408"/>
                  </a:lnTo>
                  <a:lnTo>
                    <a:pt x="35330" y="46408"/>
                  </a:lnTo>
                  <a:lnTo>
                    <a:pt x="31643" y="50098"/>
                  </a:lnTo>
                  <a:lnTo>
                    <a:pt x="27948" y="46408"/>
                  </a:lnTo>
                  <a:lnTo>
                    <a:pt x="20575" y="46408"/>
                  </a:lnTo>
                  <a:lnTo>
                    <a:pt x="16880" y="42717"/>
                  </a:lnTo>
                  <a:lnTo>
                    <a:pt x="9507" y="39027"/>
                  </a:lnTo>
                  <a:lnTo>
                    <a:pt x="5812" y="31645"/>
                  </a:lnTo>
                  <a:lnTo>
                    <a:pt x="5812" y="27955"/>
                  </a:lnTo>
                  <a:lnTo>
                    <a:pt x="9507" y="24264"/>
                  </a:lnTo>
                  <a:lnTo>
                    <a:pt x="13193" y="16883"/>
                  </a:lnTo>
                  <a:lnTo>
                    <a:pt x="16880" y="13193"/>
                  </a:lnTo>
                  <a:lnTo>
                    <a:pt x="24261" y="5812"/>
                  </a:lnTo>
                  <a:lnTo>
                    <a:pt x="27948" y="5812"/>
                  </a:lnTo>
                  <a:lnTo>
                    <a:pt x="31643" y="5812"/>
                  </a:lnTo>
                  <a:lnTo>
                    <a:pt x="35330" y="9502"/>
                  </a:lnTo>
                  <a:lnTo>
                    <a:pt x="39016" y="9502"/>
                  </a:lnTo>
                  <a:lnTo>
                    <a:pt x="42711" y="13193"/>
                  </a:lnTo>
                  <a:lnTo>
                    <a:pt x="39016" y="13193"/>
                  </a:lnTo>
                  <a:lnTo>
                    <a:pt x="39016" y="13193"/>
                  </a:lnTo>
                  <a:lnTo>
                    <a:pt x="35330" y="9502"/>
                  </a:lnTo>
                  <a:lnTo>
                    <a:pt x="35330" y="9502"/>
                  </a:lnTo>
                  <a:lnTo>
                    <a:pt x="31643" y="9502"/>
                  </a:lnTo>
                  <a:lnTo>
                    <a:pt x="24261" y="9502"/>
                  </a:lnTo>
                  <a:lnTo>
                    <a:pt x="20575" y="13193"/>
                  </a:lnTo>
                  <a:lnTo>
                    <a:pt x="27948" y="13193"/>
                  </a:lnTo>
                  <a:lnTo>
                    <a:pt x="31643" y="13193"/>
                  </a:lnTo>
                  <a:lnTo>
                    <a:pt x="31643" y="13193"/>
                  </a:lnTo>
                  <a:lnTo>
                    <a:pt x="46398" y="16883"/>
                  </a:lnTo>
                  <a:lnTo>
                    <a:pt x="64847" y="16883"/>
                  </a:lnTo>
                  <a:close/>
                </a:path>
              </a:pathLst>
            </a:custGeom>
            <a:solidFill>
              <a:srgbClr val="BF211E"/>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77" name="Freeform: Shape 276">
              <a:extLst>
                <a:ext uri="{FF2B5EF4-FFF2-40B4-BE49-F238E27FC236}">
                  <a16:creationId xmlns:a16="http://schemas.microsoft.com/office/drawing/2014/main" id="{24C403EB-9614-4C83-8650-C4C3FB8B7473}"/>
                </a:ext>
              </a:extLst>
            </p:cNvPr>
            <p:cNvSpPr/>
            <p:nvPr/>
          </p:nvSpPr>
          <p:spPr>
            <a:xfrm>
              <a:off x="6442586" y="2466921"/>
              <a:ext cx="184472" cy="92236"/>
            </a:xfrm>
            <a:custGeom>
              <a:avLst/>
              <a:gdLst>
                <a:gd name="connsiteX0" fmla="*/ 112806 w 114300"/>
                <a:gd name="connsiteY0" fmla="*/ 9502 h 57150"/>
                <a:gd name="connsiteX1" fmla="*/ 112806 w 114300"/>
                <a:gd name="connsiteY1" fmla="*/ 16883 h 57150"/>
                <a:gd name="connsiteX2" fmla="*/ 109110 w 114300"/>
                <a:gd name="connsiteY2" fmla="*/ 16883 h 57150"/>
                <a:gd name="connsiteX3" fmla="*/ 105424 w 114300"/>
                <a:gd name="connsiteY3" fmla="*/ 16883 h 57150"/>
                <a:gd name="connsiteX4" fmla="*/ 101738 w 114300"/>
                <a:gd name="connsiteY4" fmla="*/ 16883 h 57150"/>
                <a:gd name="connsiteX5" fmla="*/ 98042 w 114300"/>
                <a:gd name="connsiteY5" fmla="*/ 16883 h 57150"/>
                <a:gd name="connsiteX6" fmla="*/ 90670 w 114300"/>
                <a:gd name="connsiteY6" fmla="*/ 20574 h 57150"/>
                <a:gd name="connsiteX7" fmla="*/ 90670 w 114300"/>
                <a:gd name="connsiteY7" fmla="*/ 20574 h 57150"/>
                <a:gd name="connsiteX8" fmla="*/ 79602 w 114300"/>
                <a:gd name="connsiteY8" fmla="*/ 24264 h 57150"/>
                <a:gd name="connsiteX9" fmla="*/ 75906 w 114300"/>
                <a:gd name="connsiteY9" fmla="*/ 27955 h 57150"/>
                <a:gd name="connsiteX10" fmla="*/ 75906 w 114300"/>
                <a:gd name="connsiteY10" fmla="*/ 31646 h 57150"/>
                <a:gd name="connsiteX11" fmla="*/ 68534 w 114300"/>
                <a:gd name="connsiteY11" fmla="*/ 35336 h 57150"/>
                <a:gd name="connsiteX12" fmla="*/ 64838 w 114300"/>
                <a:gd name="connsiteY12" fmla="*/ 35336 h 57150"/>
                <a:gd name="connsiteX13" fmla="*/ 57466 w 114300"/>
                <a:gd name="connsiteY13" fmla="*/ 35336 h 57150"/>
                <a:gd name="connsiteX14" fmla="*/ 57466 w 114300"/>
                <a:gd name="connsiteY14" fmla="*/ 35336 h 57150"/>
                <a:gd name="connsiteX15" fmla="*/ 53770 w 114300"/>
                <a:gd name="connsiteY15" fmla="*/ 35336 h 57150"/>
                <a:gd name="connsiteX16" fmla="*/ 53770 w 114300"/>
                <a:gd name="connsiteY16" fmla="*/ 35336 h 57150"/>
                <a:gd name="connsiteX17" fmla="*/ 42702 w 114300"/>
                <a:gd name="connsiteY17" fmla="*/ 39027 h 57150"/>
                <a:gd name="connsiteX18" fmla="*/ 39016 w 114300"/>
                <a:gd name="connsiteY18" fmla="*/ 39027 h 57150"/>
                <a:gd name="connsiteX19" fmla="*/ 39016 w 114300"/>
                <a:gd name="connsiteY19" fmla="*/ 39027 h 57150"/>
                <a:gd name="connsiteX20" fmla="*/ 27948 w 114300"/>
                <a:gd name="connsiteY20" fmla="*/ 39027 h 57150"/>
                <a:gd name="connsiteX21" fmla="*/ 24261 w 114300"/>
                <a:gd name="connsiteY21" fmla="*/ 39027 h 57150"/>
                <a:gd name="connsiteX22" fmla="*/ 20575 w 114300"/>
                <a:gd name="connsiteY22" fmla="*/ 46408 h 57150"/>
                <a:gd name="connsiteX23" fmla="*/ 20575 w 114300"/>
                <a:gd name="connsiteY23" fmla="*/ 50098 h 57150"/>
                <a:gd name="connsiteX24" fmla="*/ 16879 w 114300"/>
                <a:gd name="connsiteY24" fmla="*/ 50098 h 57150"/>
                <a:gd name="connsiteX25" fmla="*/ 16879 w 114300"/>
                <a:gd name="connsiteY25" fmla="*/ 53789 h 57150"/>
                <a:gd name="connsiteX26" fmla="*/ 16879 w 114300"/>
                <a:gd name="connsiteY26" fmla="*/ 53789 h 57150"/>
                <a:gd name="connsiteX27" fmla="*/ 13193 w 114300"/>
                <a:gd name="connsiteY27" fmla="*/ 53789 h 57150"/>
                <a:gd name="connsiteX28" fmla="*/ 13193 w 114300"/>
                <a:gd name="connsiteY28" fmla="*/ 53789 h 57150"/>
                <a:gd name="connsiteX29" fmla="*/ 9507 w 114300"/>
                <a:gd name="connsiteY29" fmla="*/ 53789 h 57150"/>
                <a:gd name="connsiteX30" fmla="*/ 9507 w 114300"/>
                <a:gd name="connsiteY30" fmla="*/ 57480 h 57150"/>
                <a:gd name="connsiteX31" fmla="*/ 9507 w 114300"/>
                <a:gd name="connsiteY31" fmla="*/ 57480 h 57150"/>
                <a:gd name="connsiteX32" fmla="*/ 5812 w 114300"/>
                <a:gd name="connsiteY32" fmla="*/ 50098 h 57150"/>
                <a:gd name="connsiteX33" fmla="*/ 5812 w 114300"/>
                <a:gd name="connsiteY33" fmla="*/ 50098 h 57150"/>
                <a:gd name="connsiteX34" fmla="*/ 5812 w 114300"/>
                <a:gd name="connsiteY34" fmla="*/ 46408 h 57150"/>
                <a:gd name="connsiteX35" fmla="*/ 9507 w 114300"/>
                <a:gd name="connsiteY35" fmla="*/ 46408 h 57150"/>
                <a:gd name="connsiteX36" fmla="*/ 13193 w 114300"/>
                <a:gd name="connsiteY36" fmla="*/ 42717 h 57150"/>
                <a:gd name="connsiteX37" fmla="*/ 9507 w 114300"/>
                <a:gd name="connsiteY37" fmla="*/ 39027 h 57150"/>
                <a:gd name="connsiteX38" fmla="*/ 9507 w 114300"/>
                <a:gd name="connsiteY38" fmla="*/ 35336 h 57150"/>
                <a:gd name="connsiteX39" fmla="*/ 9507 w 114300"/>
                <a:gd name="connsiteY39" fmla="*/ 27955 h 57150"/>
                <a:gd name="connsiteX40" fmla="*/ 13193 w 114300"/>
                <a:gd name="connsiteY40" fmla="*/ 24264 h 57150"/>
                <a:gd name="connsiteX41" fmla="*/ 20575 w 114300"/>
                <a:gd name="connsiteY41" fmla="*/ 20574 h 57150"/>
                <a:gd name="connsiteX42" fmla="*/ 20575 w 114300"/>
                <a:gd name="connsiteY42" fmla="*/ 16883 h 57150"/>
                <a:gd name="connsiteX43" fmla="*/ 20575 w 114300"/>
                <a:gd name="connsiteY43" fmla="*/ 16883 h 57150"/>
                <a:gd name="connsiteX44" fmla="*/ 16879 w 114300"/>
                <a:gd name="connsiteY44" fmla="*/ 16883 h 57150"/>
                <a:gd name="connsiteX45" fmla="*/ 13193 w 114300"/>
                <a:gd name="connsiteY45" fmla="*/ 16883 h 57150"/>
                <a:gd name="connsiteX46" fmla="*/ 9507 w 114300"/>
                <a:gd name="connsiteY46" fmla="*/ 16883 h 57150"/>
                <a:gd name="connsiteX47" fmla="*/ 9507 w 114300"/>
                <a:gd name="connsiteY47" fmla="*/ 16883 h 57150"/>
                <a:gd name="connsiteX48" fmla="*/ 5812 w 114300"/>
                <a:gd name="connsiteY48" fmla="*/ 16883 h 57150"/>
                <a:gd name="connsiteX49" fmla="*/ 9507 w 114300"/>
                <a:gd name="connsiteY49" fmla="*/ 16883 h 57150"/>
                <a:gd name="connsiteX50" fmla="*/ 9507 w 114300"/>
                <a:gd name="connsiteY50" fmla="*/ 16883 h 57150"/>
                <a:gd name="connsiteX51" fmla="*/ 13193 w 114300"/>
                <a:gd name="connsiteY51" fmla="*/ 13193 h 57150"/>
                <a:gd name="connsiteX52" fmla="*/ 20575 w 114300"/>
                <a:gd name="connsiteY52" fmla="*/ 16883 h 57150"/>
                <a:gd name="connsiteX53" fmla="*/ 31643 w 114300"/>
                <a:gd name="connsiteY53" fmla="*/ 16883 h 57150"/>
                <a:gd name="connsiteX54" fmla="*/ 68534 w 114300"/>
                <a:gd name="connsiteY54" fmla="*/ 13193 h 57150"/>
                <a:gd name="connsiteX55" fmla="*/ 79602 w 114300"/>
                <a:gd name="connsiteY55" fmla="*/ 13193 h 57150"/>
                <a:gd name="connsiteX56" fmla="*/ 101738 w 114300"/>
                <a:gd name="connsiteY56" fmla="*/ 9502 h 57150"/>
                <a:gd name="connsiteX57" fmla="*/ 109110 w 114300"/>
                <a:gd name="connsiteY57" fmla="*/ 5812 h 57150"/>
                <a:gd name="connsiteX58" fmla="*/ 112806 w 114300"/>
                <a:gd name="connsiteY58" fmla="*/ 950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14300" h="57150">
                  <a:moveTo>
                    <a:pt x="112806" y="9502"/>
                  </a:moveTo>
                  <a:lnTo>
                    <a:pt x="112806" y="16883"/>
                  </a:lnTo>
                  <a:lnTo>
                    <a:pt x="109110" y="16883"/>
                  </a:lnTo>
                  <a:lnTo>
                    <a:pt x="105424" y="16883"/>
                  </a:lnTo>
                  <a:lnTo>
                    <a:pt x="101738" y="16883"/>
                  </a:lnTo>
                  <a:lnTo>
                    <a:pt x="98042" y="16883"/>
                  </a:lnTo>
                  <a:lnTo>
                    <a:pt x="90670" y="20574"/>
                  </a:lnTo>
                  <a:lnTo>
                    <a:pt x="90670" y="20574"/>
                  </a:lnTo>
                  <a:lnTo>
                    <a:pt x="79602" y="24264"/>
                  </a:lnTo>
                  <a:lnTo>
                    <a:pt x="75906" y="27955"/>
                  </a:lnTo>
                  <a:lnTo>
                    <a:pt x="75906" y="31646"/>
                  </a:lnTo>
                  <a:lnTo>
                    <a:pt x="68534" y="35336"/>
                  </a:lnTo>
                  <a:lnTo>
                    <a:pt x="64838" y="35336"/>
                  </a:lnTo>
                  <a:lnTo>
                    <a:pt x="57466" y="35336"/>
                  </a:lnTo>
                  <a:lnTo>
                    <a:pt x="57466" y="35336"/>
                  </a:lnTo>
                  <a:lnTo>
                    <a:pt x="53770" y="35336"/>
                  </a:lnTo>
                  <a:lnTo>
                    <a:pt x="53770" y="35336"/>
                  </a:lnTo>
                  <a:lnTo>
                    <a:pt x="42702" y="39027"/>
                  </a:lnTo>
                  <a:lnTo>
                    <a:pt x="39016" y="39027"/>
                  </a:lnTo>
                  <a:lnTo>
                    <a:pt x="39016" y="39027"/>
                  </a:lnTo>
                  <a:lnTo>
                    <a:pt x="27948" y="39027"/>
                  </a:lnTo>
                  <a:lnTo>
                    <a:pt x="24261" y="39027"/>
                  </a:lnTo>
                  <a:lnTo>
                    <a:pt x="20575" y="46408"/>
                  </a:lnTo>
                  <a:lnTo>
                    <a:pt x="20575" y="50098"/>
                  </a:lnTo>
                  <a:lnTo>
                    <a:pt x="16879" y="50098"/>
                  </a:lnTo>
                  <a:lnTo>
                    <a:pt x="16879" y="53789"/>
                  </a:lnTo>
                  <a:lnTo>
                    <a:pt x="16879" y="53789"/>
                  </a:lnTo>
                  <a:lnTo>
                    <a:pt x="13193" y="53789"/>
                  </a:lnTo>
                  <a:lnTo>
                    <a:pt x="13193" y="53789"/>
                  </a:lnTo>
                  <a:lnTo>
                    <a:pt x="9507" y="53789"/>
                  </a:lnTo>
                  <a:lnTo>
                    <a:pt x="9507" y="57480"/>
                  </a:lnTo>
                  <a:lnTo>
                    <a:pt x="9507" y="57480"/>
                  </a:lnTo>
                  <a:lnTo>
                    <a:pt x="5812" y="50098"/>
                  </a:lnTo>
                  <a:lnTo>
                    <a:pt x="5812" y="50098"/>
                  </a:lnTo>
                  <a:lnTo>
                    <a:pt x="5812" y="46408"/>
                  </a:lnTo>
                  <a:lnTo>
                    <a:pt x="9507" y="46408"/>
                  </a:lnTo>
                  <a:lnTo>
                    <a:pt x="13193" y="42717"/>
                  </a:lnTo>
                  <a:lnTo>
                    <a:pt x="9507" y="39027"/>
                  </a:lnTo>
                  <a:lnTo>
                    <a:pt x="9507" y="35336"/>
                  </a:lnTo>
                  <a:lnTo>
                    <a:pt x="9507" y="27955"/>
                  </a:lnTo>
                  <a:lnTo>
                    <a:pt x="13193" y="24264"/>
                  </a:lnTo>
                  <a:lnTo>
                    <a:pt x="20575" y="20574"/>
                  </a:lnTo>
                  <a:lnTo>
                    <a:pt x="20575" y="16883"/>
                  </a:lnTo>
                  <a:lnTo>
                    <a:pt x="20575" y="16883"/>
                  </a:lnTo>
                  <a:lnTo>
                    <a:pt x="16879" y="16883"/>
                  </a:lnTo>
                  <a:lnTo>
                    <a:pt x="13193" y="16883"/>
                  </a:lnTo>
                  <a:lnTo>
                    <a:pt x="9507" y="16883"/>
                  </a:lnTo>
                  <a:lnTo>
                    <a:pt x="9507" y="16883"/>
                  </a:lnTo>
                  <a:lnTo>
                    <a:pt x="5812" y="16883"/>
                  </a:lnTo>
                  <a:lnTo>
                    <a:pt x="9507" y="16883"/>
                  </a:lnTo>
                  <a:lnTo>
                    <a:pt x="9507" y="16883"/>
                  </a:lnTo>
                  <a:lnTo>
                    <a:pt x="13193" y="13193"/>
                  </a:lnTo>
                  <a:lnTo>
                    <a:pt x="20575" y="16883"/>
                  </a:lnTo>
                  <a:lnTo>
                    <a:pt x="31643" y="16883"/>
                  </a:lnTo>
                  <a:lnTo>
                    <a:pt x="68534" y="13193"/>
                  </a:lnTo>
                  <a:lnTo>
                    <a:pt x="79602" y="13193"/>
                  </a:lnTo>
                  <a:lnTo>
                    <a:pt x="101738" y="9502"/>
                  </a:lnTo>
                  <a:lnTo>
                    <a:pt x="109110" y="5812"/>
                  </a:lnTo>
                  <a:lnTo>
                    <a:pt x="112806" y="9502"/>
                  </a:lnTo>
                  <a:close/>
                </a:path>
              </a:pathLst>
            </a:custGeom>
            <a:solidFill>
              <a:srgbClr val="BF211E"/>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78" name="Freeform: Shape 277">
              <a:extLst>
                <a:ext uri="{FF2B5EF4-FFF2-40B4-BE49-F238E27FC236}">
                  <a16:creationId xmlns:a16="http://schemas.microsoft.com/office/drawing/2014/main" id="{64AA518A-9174-404C-8980-C8773CA97F5F}"/>
                </a:ext>
              </a:extLst>
            </p:cNvPr>
            <p:cNvSpPr/>
            <p:nvPr/>
          </p:nvSpPr>
          <p:spPr>
            <a:xfrm>
              <a:off x="5763826" y="2806430"/>
              <a:ext cx="30745" cy="15373"/>
            </a:xfrm>
            <a:custGeom>
              <a:avLst/>
              <a:gdLst>
                <a:gd name="connsiteX0" fmla="*/ 9501 w 19050"/>
                <a:gd name="connsiteY0" fmla="*/ 9503 h 9525"/>
                <a:gd name="connsiteX1" fmla="*/ 9501 w 19050"/>
                <a:gd name="connsiteY1" fmla="*/ 9503 h 9525"/>
                <a:gd name="connsiteX2" fmla="*/ 9501 w 19050"/>
                <a:gd name="connsiteY2" fmla="*/ 9503 h 9525"/>
                <a:gd name="connsiteX3" fmla="*/ 5812 w 19050"/>
                <a:gd name="connsiteY3" fmla="*/ 5812 h 9525"/>
                <a:gd name="connsiteX4" fmla="*/ 9501 w 19050"/>
                <a:gd name="connsiteY4" fmla="*/ 5812 h 9525"/>
                <a:gd name="connsiteX5" fmla="*/ 9501 w 19050"/>
                <a:gd name="connsiteY5" fmla="*/ 5812 h 9525"/>
                <a:gd name="connsiteX6" fmla="*/ 16877 w 19050"/>
                <a:gd name="connsiteY6" fmla="*/ 5812 h 9525"/>
                <a:gd name="connsiteX7" fmla="*/ 20573 w 19050"/>
                <a:gd name="connsiteY7" fmla="*/ 5812 h 9525"/>
                <a:gd name="connsiteX8" fmla="*/ 20573 w 19050"/>
                <a:gd name="connsiteY8" fmla="*/ 5812 h 9525"/>
                <a:gd name="connsiteX9" fmla="*/ 16877 w 19050"/>
                <a:gd name="connsiteY9" fmla="*/ 5812 h 9525"/>
                <a:gd name="connsiteX10" fmla="*/ 16877 w 19050"/>
                <a:gd name="connsiteY10" fmla="*/ 9503 h 9525"/>
                <a:gd name="connsiteX11" fmla="*/ 13191 w 19050"/>
                <a:gd name="connsiteY11" fmla="*/ 9503 h 9525"/>
                <a:gd name="connsiteX12" fmla="*/ 13191 w 19050"/>
                <a:gd name="connsiteY12" fmla="*/ 9503 h 9525"/>
                <a:gd name="connsiteX13" fmla="*/ 9501 w 19050"/>
                <a:gd name="connsiteY13" fmla="*/ 9503 h 9525"/>
                <a:gd name="connsiteX14" fmla="*/ 9501 w 19050"/>
                <a:gd name="connsiteY14" fmla="*/ 5812 h 9525"/>
                <a:gd name="connsiteX15" fmla="*/ 9501 w 19050"/>
                <a:gd name="connsiteY15" fmla="*/ 5812 h 9525"/>
                <a:gd name="connsiteX16" fmla="*/ 9501 w 19050"/>
                <a:gd name="connsiteY16" fmla="*/ 5812 h 9525"/>
                <a:gd name="connsiteX17" fmla="*/ 9501 w 19050"/>
                <a:gd name="connsiteY17" fmla="*/ 5812 h 9525"/>
                <a:gd name="connsiteX18" fmla="*/ 9501 w 19050"/>
                <a:gd name="connsiteY18" fmla="*/ 9503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050" h="9525">
                  <a:moveTo>
                    <a:pt x="9501" y="9503"/>
                  </a:moveTo>
                  <a:lnTo>
                    <a:pt x="9501" y="9503"/>
                  </a:lnTo>
                  <a:lnTo>
                    <a:pt x="9501" y="9503"/>
                  </a:lnTo>
                  <a:lnTo>
                    <a:pt x="5812" y="5812"/>
                  </a:lnTo>
                  <a:lnTo>
                    <a:pt x="9501" y="5812"/>
                  </a:lnTo>
                  <a:lnTo>
                    <a:pt x="9501" y="5812"/>
                  </a:lnTo>
                  <a:lnTo>
                    <a:pt x="16877" y="5812"/>
                  </a:lnTo>
                  <a:lnTo>
                    <a:pt x="20573" y="5812"/>
                  </a:lnTo>
                  <a:lnTo>
                    <a:pt x="20573" y="5812"/>
                  </a:lnTo>
                  <a:lnTo>
                    <a:pt x="16877" y="5812"/>
                  </a:lnTo>
                  <a:lnTo>
                    <a:pt x="16877" y="9503"/>
                  </a:lnTo>
                  <a:lnTo>
                    <a:pt x="13191" y="9503"/>
                  </a:lnTo>
                  <a:lnTo>
                    <a:pt x="13191" y="9503"/>
                  </a:lnTo>
                  <a:lnTo>
                    <a:pt x="9501" y="9503"/>
                  </a:lnTo>
                  <a:lnTo>
                    <a:pt x="9501" y="5812"/>
                  </a:lnTo>
                  <a:lnTo>
                    <a:pt x="9501" y="5812"/>
                  </a:lnTo>
                  <a:lnTo>
                    <a:pt x="9501" y="5812"/>
                  </a:lnTo>
                  <a:lnTo>
                    <a:pt x="9501" y="5812"/>
                  </a:lnTo>
                  <a:lnTo>
                    <a:pt x="9501" y="9503"/>
                  </a:lnTo>
                  <a:close/>
                </a:path>
              </a:pathLst>
            </a:custGeom>
            <a:solidFill>
              <a:srgbClr val="BF211E"/>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79" name="Freeform: Shape 278">
              <a:extLst>
                <a:ext uri="{FF2B5EF4-FFF2-40B4-BE49-F238E27FC236}">
                  <a16:creationId xmlns:a16="http://schemas.microsoft.com/office/drawing/2014/main" id="{FFF178EA-4179-4FC4-BD3E-C6162BE8BD26}"/>
                </a:ext>
              </a:extLst>
            </p:cNvPr>
            <p:cNvSpPr/>
            <p:nvPr/>
          </p:nvSpPr>
          <p:spPr>
            <a:xfrm>
              <a:off x="5698331" y="2550309"/>
              <a:ext cx="322827" cy="153727"/>
            </a:xfrm>
            <a:custGeom>
              <a:avLst/>
              <a:gdLst>
                <a:gd name="connsiteX0" fmla="*/ 138621 w 200025"/>
                <a:gd name="connsiteY0" fmla="*/ 42717 h 95250"/>
                <a:gd name="connsiteX1" fmla="*/ 123866 w 200025"/>
                <a:gd name="connsiteY1" fmla="*/ 42717 h 95250"/>
                <a:gd name="connsiteX2" fmla="*/ 116484 w 200025"/>
                <a:gd name="connsiteY2" fmla="*/ 46408 h 95250"/>
                <a:gd name="connsiteX3" fmla="*/ 112798 w 200025"/>
                <a:gd name="connsiteY3" fmla="*/ 46408 h 95250"/>
                <a:gd name="connsiteX4" fmla="*/ 109112 w 200025"/>
                <a:gd name="connsiteY4" fmla="*/ 50098 h 95250"/>
                <a:gd name="connsiteX5" fmla="*/ 109112 w 200025"/>
                <a:gd name="connsiteY5" fmla="*/ 50098 h 95250"/>
                <a:gd name="connsiteX6" fmla="*/ 101730 w 200025"/>
                <a:gd name="connsiteY6" fmla="*/ 57480 h 95250"/>
                <a:gd name="connsiteX7" fmla="*/ 98044 w 200025"/>
                <a:gd name="connsiteY7" fmla="*/ 61170 h 95250"/>
                <a:gd name="connsiteX8" fmla="*/ 98044 w 200025"/>
                <a:gd name="connsiteY8" fmla="*/ 61170 h 95250"/>
                <a:gd name="connsiteX9" fmla="*/ 94348 w 200025"/>
                <a:gd name="connsiteY9" fmla="*/ 61170 h 95250"/>
                <a:gd name="connsiteX10" fmla="*/ 90662 w 200025"/>
                <a:gd name="connsiteY10" fmla="*/ 61170 h 95250"/>
                <a:gd name="connsiteX11" fmla="*/ 90662 w 200025"/>
                <a:gd name="connsiteY11" fmla="*/ 64861 h 95250"/>
                <a:gd name="connsiteX12" fmla="*/ 86976 w 200025"/>
                <a:gd name="connsiteY12" fmla="*/ 64861 h 95250"/>
                <a:gd name="connsiteX13" fmla="*/ 83280 w 200025"/>
                <a:gd name="connsiteY13" fmla="*/ 61170 h 95250"/>
                <a:gd name="connsiteX14" fmla="*/ 83280 w 200025"/>
                <a:gd name="connsiteY14" fmla="*/ 64861 h 95250"/>
                <a:gd name="connsiteX15" fmla="*/ 79594 w 200025"/>
                <a:gd name="connsiteY15" fmla="*/ 64861 h 95250"/>
                <a:gd name="connsiteX16" fmla="*/ 75908 w 200025"/>
                <a:gd name="connsiteY16" fmla="*/ 68552 h 95250"/>
                <a:gd name="connsiteX17" fmla="*/ 75908 w 200025"/>
                <a:gd name="connsiteY17" fmla="*/ 68552 h 95250"/>
                <a:gd name="connsiteX18" fmla="*/ 75908 w 200025"/>
                <a:gd name="connsiteY18" fmla="*/ 68552 h 95250"/>
                <a:gd name="connsiteX19" fmla="*/ 72222 w 200025"/>
                <a:gd name="connsiteY19" fmla="*/ 68552 h 95250"/>
                <a:gd name="connsiteX20" fmla="*/ 72222 w 200025"/>
                <a:gd name="connsiteY20" fmla="*/ 72242 h 95250"/>
                <a:gd name="connsiteX21" fmla="*/ 72222 w 200025"/>
                <a:gd name="connsiteY21" fmla="*/ 72242 h 95250"/>
                <a:gd name="connsiteX22" fmla="*/ 68526 w 200025"/>
                <a:gd name="connsiteY22" fmla="*/ 68552 h 95250"/>
                <a:gd name="connsiteX23" fmla="*/ 64840 w 200025"/>
                <a:gd name="connsiteY23" fmla="*/ 68552 h 95250"/>
                <a:gd name="connsiteX24" fmla="*/ 64840 w 200025"/>
                <a:gd name="connsiteY24" fmla="*/ 68552 h 95250"/>
                <a:gd name="connsiteX25" fmla="*/ 61154 w 200025"/>
                <a:gd name="connsiteY25" fmla="*/ 68552 h 95250"/>
                <a:gd name="connsiteX26" fmla="*/ 57458 w 200025"/>
                <a:gd name="connsiteY26" fmla="*/ 68552 h 95250"/>
                <a:gd name="connsiteX27" fmla="*/ 57458 w 200025"/>
                <a:gd name="connsiteY27" fmla="*/ 68552 h 95250"/>
                <a:gd name="connsiteX28" fmla="*/ 53772 w 200025"/>
                <a:gd name="connsiteY28" fmla="*/ 72242 h 95250"/>
                <a:gd name="connsiteX29" fmla="*/ 50082 w 200025"/>
                <a:gd name="connsiteY29" fmla="*/ 75933 h 95250"/>
                <a:gd name="connsiteX30" fmla="*/ 46393 w 200025"/>
                <a:gd name="connsiteY30" fmla="*/ 72242 h 95250"/>
                <a:gd name="connsiteX31" fmla="*/ 42704 w 200025"/>
                <a:gd name="connsiteY31" fmla="*/ 75933 h 95250"/>
                <a:gd name="connsiteX32" fmla="*/ 39015 w 200025"/>
                <a:gd name="connsiteY32" fmla="*/ 75933 h 95250"/>
                <a:gd name="connsiteX33" fmla="*/ 35326 w 200025"/>
                <a:gd name="connsiteY33" fmla="*/ 79623 h 95250"/>
                <a:gd name="connsiteX34" fmla="*/ 35326 w 200025"/>
                <a:gd name="connsiteY34" fmla="*/ 83314 h 95250"/>
                <a:gd name="connsiteX35" fmla="*/ 35326 w 200025"/>
                <a:gd name="connsiteY35" fmla="*/ 83314 h 95250"/>
                <a:gd name="connsiteX36" fmla="*/ 35326 w 200025"/>
                <a:gd name="connsiteY36" fmla="*/ 83314 h 95250"/>
                <a:gd name="connsiteX37" fmla="*/ 31637 w 200025"/>
                <a:gd name="connsiteY37" fmla="*/ 83314 h 95250"/>
                <a:gd name="connsiteX38" fmla="*/ 24258 w 200025"/>
                <a:gd name="connsiteY38" fmla="*/ 87004 h 95250"/>
                <a:gd name="connsiteX39" fmla="*/ 27947 w 200025"/>
                <a:gd name="connsiteY39" fmla="*/ 87004 h 95250"/>
                <a:gd name="connsiteX40" fmla="*/ 24258 w 200025"/>
                <a:gd name="connsiteY40" fmla="*/ 90694 h 95250"/>
                <a:gd name="connsiteX41" fmla="*/ 20569 w 200025"/>
                <a:gd name="connsiteY41" fmla="*/ 90694 h 95250"/>
                <a:gd name="connsiteX42" fmla="*/ 13191 w 200025"/>
                <a:gd name="connsiteY42" fmla="*/ 90694 h 95250"/>
                <a:gd name="connsiteX43" fmla="*/ 9502 w 200025"/>
                <a:gd name="connsiteY43" fmla="*/ 83314 h 95250"/>
                <a:gd name="connsiteX44" fmla="*/ 5812 w 200025"/>
                <a:gd name="connsiteY44" fmla="*/ 83314 h 95250"/>
                <a:gd name="connsiteX45" fmla="*/ 5812 w 200025"/>
                <a:gd name="connsiteY45" fmla="*/ 83314 h 95250"/>
                <a:gd name="connsiteX46" fmla="*/ 5812 w 200025"/>
                <a:gd name="connsiteY46" fmla="*/ 79623 h 95250"/>
                <a:gd name="connsiteX47" fmla="*/ 9502 w 200025"/>
                <a:gd name="connsiteY47" fmla="*/ 75933 h 95250"/>
                <a:gd name="connsiteX48" fmla="*/ 16880 w 200025"/>
                <a:gd name="connsiteY48" fmla="*/ 64861 h 95250"/>
                <a:gd name="connsiteX49" fmla="*/ 24258 w 200025"/>
                <a:gd name="connsiteY49" fmla="*/ 53789 h 95250"/>
                <a:gd name="connsiteX50" fmla="*/ 24258 w 200025"/>
                <a:gd name="connsiteY50" fmla="*/ 53789 h 95250"/>
                <a:gd name="connsiteX51" fmla="*/ 31637 w 200025"/>
                <a:gd name="connsiteY51" fmla="*/ 50098 h 95250"/>
                <a:gd name="connsiteX52" fmla="*/ 39015 w 200025"/>
                <a:gd name="connsiteY52" fmla="*/ 46408 h 95250"/>
                <a:gd name="connsiteX53" fmla="*/ 53772 w 200025"/>
                <a:gd name="connsiteY53" fmla="*/ 42717 h 95250"/>
                <a:gd name="connsiteX54" fmla="*/ 75908 w 200025"/>
                <a:gd name="connsiteY54" fmla="*/ 39027 h 95250"/>
                <a:gd name="connsiteX55" fmla="*/ 83280 w 200025"/>
                <a:gd name="connsiteY55" fmla="*/ 39027 h 95250"/>
                <a:gd name="connsiteX56" fmla="*/ 105416 w 200025"/>
                <a:gd name="connsiteY56" fmla="*/ 31645 h 95250"/>
                <a:gd name="connsiteX57" fmla="*/ 123866 w 200025"/>
                <a:gd name="connsiteY57" fmla="*/ 24264 h 95250"/>
                <a:gd name="connsiteX58" fmla="*/ 164443 w 200025"/>
                <a:gd name="connsiteY58" fmla="*/ 9502 h 95250"/>
                <a:gd name="connsiteX59" fmla="*/ 175511 w 200025"/>
                <a:gd name="connsiteY59" fmla="*/ 9502 h 95250"/>
                <a:gd name="connsiteX60" fmla="*/ 186579 w 200025"/>
                <a:gd name="connsiteY60" fmla="*/ 5812 h 95250"/>
                <a:gd name="connsiteX61" fmla="*/ 190275 w 200025"/>
                <a:gd name="connsiteY61" fmla="*/ 9502 h 95250"/>
                <a:gd name="connsiteX62" fmla="*/ 193961 w 200025"/>
                <a:gd name="connsiteY62" fmla="*/ 9502 h 95250"/>
                <a:gd name="connsiteX63" fmla="*/ 197647 w 200025"/>
                <a:gd name="connsiteY63" fmla="*/ 13192 h 95250"/>
                <a:gd name="connsiteX64" fmla="*/ 197647 w 200025"/>
                <a:gd name="connsiteY64" fmla="*/ 13192 h 95250"/>
                <a:gd name="connsiteX65" fmla="*/ 197647 w 200025"/>
                <a:gd name="connsiteY65" fmla="*/ 20574 h 95250"/>
                <a:gd name="connsiteX66" fmla="*/ 197647 w 200025"/>
                <a:gd name="connsiteY66" fmla="*/ 24264 h 95250"/>
                <a:gd name="connsiteX67" fmla="*/ 197647 w 200025"/>
                <a:gd name="connsiteY67" fmla="*/ 24264 h 95250"/>
                <a:gd name="connsiteX68" fmla="*/ 197647 w 200025"/>
                <a:gd name="connsiteY68" fmla="*/ 20574 h 95250"/>
                <a:gd name="connsiteX69" fmla="*/ 197647 w 200025"/>
                <a:gd name="connsiteY69" fmla="*/ 16883 h 95250"/>
                <a:gd name="connsiteX70" fmla="*/ 193961 w 200025"/>
                <a:gd name="connsiteY70" fmla="*/ 13192 h 95250"/>
                <a:gd name="connsiteX71" fmla="*/ 193961 w 200025"/>
                <a:gd name="connsiteY71" fmla="*/ 13192 h 95250"/>
                <a:gd name="connsiteX72" fmla="*/ 193961 w 200025"/>
                <a:gd name="connsiteY72" fmla="*/ 16883 h 95250"/>
                <a:gd name="connsiteX73" fmla="*/ 190275 w 200025"/>
                <a:gd name="connsiteY73" fmla="*/ 20574 h 95250"/>
                <a:gd name="connsiteX74" fmla="*/ 190275 w 200025"/>
                <a:gd name="connsiteY74" fmla="*/ 20574 h 95250"/>
                <a:gd name="connsiteX75" fmla="*/ 186579 w 200025"/>
                <a:gd name="connsiteY75" fmla="*/ 24264 h 95250"/>
                <a:gd name="connsiteX76" fmla="*/ 179207 w 200025"/>
                <a:gd name="connsiteY76" fmla="*/ 24264 h 95250"/>
                <a:gd name="connsiteX77" fmla="*/ 175511 w 200025"/>
                <a:gd name="connsiteY77" fmla="*/ 24264 h 95250"/>
                <a:gd name="connsiteX78" fmla="*/ 168139 w 200025"/>
                <a:gd name="connsiteY78" fmla="*/ 27955 h 95250"/>
                <a:gd name="connsiteX79" fmla="*/ 168139 w 200025"/>
                <a:gd name="connsiteY79" fmla="*/ 27955 h 95250"/>
                <a:gd name="connsiteX80" fmla="*/ 168139 w 200025"/>
                <a:gd name="connsiteY80" fmla="*/ 27955 h 95250"/>
                <a:gd name="connsiteX81" fmla="*/ 164443 w 200025"/>
                <a:gd name="connsiteY81" fmla="*/ 24264 h 95250"/>
                <a:gd name="connsiteX82" fmla="*/ 164443 w 200025"/>
                <a:gd name="connsiteY82" fmla="*/ 24264 h 95250"/>
                <a:gd name="connsiteX83" fmla="*/ 164443 w 200025"/>
                <a:gd name="connsiteY83" fmla="*/ 24264 h 95250"/>
                <a:gd name="connsiteX84" fmla="*/ 164443 w 200025"/>
                <a:gd name="connsiteY84" fmla="*/ 24264 h 95250"/>
                <a:gd name="connsiteX85" fmla="*/ 164443 w 200025"/>
                <a:gd name="connsiteY85" fmla="*/ 27955 h 95250"/>
                <a:gd name="connsiteX86" fmla="*/ 168139 w 200025"/>
                <a:gd name="connsiteY86" fmla="*/ 27955 h 95250"/>
                <a:gd name="connsiteX87" fmla="*/ 164443 w 200025"/>
                <a:gd name="connsiteY87" fmla="*/ 31645 h 95250"/>
                <a:gd name="connsiteX88" fmla="*/ 160757 w 200025"/>
                <a:gd name="connsiteY88" fmla="*/ 31645 h 95250"/>
                <a:gd name="connsiteX89" fmla="*/ 160757 w 200025"/>
                <a:gd name="connsiteY89" fmla="*/ 31645 h 95250"/>
                <a:gd name="connsiteX90" fmla="*/ 157070 w 200025"/>
                <a:gd name="connsiteY90" fmla="*/ 31645 h 95250"/>
                <a:gd name="connsiteX91" fmla="*/ 157070 w 200025"/>
                <a:gd name="connsiteY91" fmla="*/ 27955 h 95250"/>
                <a:gd name="connsiteX92" fmla="*/ 153375 w 200025"/>
                <a:gd name="connsiteY92" fmla="*/ 27955 h 95250"/>
                <a:gd name="connsiteX93" fmla="*/ 153375 w 200025"/>
                <a:gd name="connsiteY93" fmla="*/ 27955 h 95250"/>
                <a:gd name="connsiteX94" fmla="*/ 157070 w 200025"/>
                <a:gd name="connsiteY94" fmla="*/ 31645 h 95250"/>
                <a:gd name="connsiteX95" fmla="*/ 157070 w 200025"/>
                <a:gd name="connsiteY95" fmla="*/ 35336 h 95250"/>
                <a:gd name="connsiteX96" fmla="*/ 153375 w 200025"/>
                <a:gd name="connsiteY96" fmla="*/ 35336 h 95250"/>
                <a:gd name="connsiteX97" fmla="*/ 149689 w 200025"/>
                <a:gd name="connsiteY97" fmla="*/ 35336 h 95250"/>
                <a:gd name="connsiteX98" fmla="*/ 149689 w 200025"/>
                <a:gd name="connsiteY98" fmla="*/ 35336 h 95250"/>
                <a:gd name="connsiteX99" fmla="*/ 146002 w 200025"/>
                <a:gd name="connsiteY99" fmla="*/ 31645 h 95250"/>
                <a:gd name="connsiteX100" fmla="*/ 146002 w 200025"/>
                <a:gd name="connsiteY100" fmla="*/ 31645 h 95250"/>
                <a:gd name="connsiteX101" fmla="*/ 146002 w 200025"/>
                <a:gd name="connsiteY101" fmla="*/ 31645 h 95250"/>
                <a:gd name="connsiteX102" fmla="*/ 149689 w 200025"/>
                <a:gd name="connsiteY102" fmla="*/ 35336 h 95250"/>
                <a:gd name="connsiteX103" fmla="*/ 153375 w 200025"/>
                <a:gd name="connsiteY103" fmla="*/ 39027 h 95250"/>
                <a:gd name="connsiteX104" fmla="*/ 157070 w 200025"/>
                <a:gd name="connsiteY104" fmla="*/ 39027 h 95250"/>
                <a:gd name="connsiteX105" fmla="*/ 160757 w 200025"/>
                <a:gd name="connsiteY105" fmla="*/ 39027 h 95250"/>
                <a:gd name="connsiteX106" fmla="*/ 160757 w 200025"/>
                <a:gd name="connsiteY106" fmla="*/ 39027 h 95250"/>
                <a:gd name="connsiteX107" fmla="*/ 157070 w 200025"/>
                <a:gd name="connsiteY107" fmla="*/ 42717 h 95250"/>
                <a:gd name="connsiteX108" fmla="*/ 149689 w 200025"/>
                <a:gd name="connsiteY108" fmla="*/ 42717 h 95250"/>
                <a:gd name="connsiteX109" fmla="*/ 142316 w 200025"/>
                <a:gd name="connsiteY109" fmla="*/ 42717 h 95250"/>
                <a:gd name="connsiteX110" fmla="*/ 138621 w 200025"/>
                <a:gd name="connsiteY110" fmla="*/ 42717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00025" h="95250">
                  <a:moveTo>
                    <a:pt x="138621" y="42717"/>
                  </a:moveTo>
                  <a:lnTo>
                    <a:pt x="123866" y="42717"/>
                  </a:lnTo>
                  <a:lnTo>
                    <a:pt x="116484" y="46408"/>
                  </a:lnTo>
                  <a:lnTo>
                    <a:pt x="112798" y="46408"/>
                  </a:lnTo>
                  <a:lnTo>
                    <a:pt x="109112" y="50098"/>
                  </a:lnTo>
                  <a:lnTo>
                    <a:pt x="109112" y="50098"/>
                  </a:lnTo>
                  <a:lnTo>
                    <a:pt x="101730" y="57480"/>
                  </a:lnTo>
                  <a:lnTo>
                    <a:pt x="98044" y="61170"/>
                  </a:lnTo>
                  <a:lnTo>
                    <a:pt x="98044" y="61170"/>
                  </a:lnTo>
                  <a:lnTo>
                    <a:pt x="94348" y="61170"/>
                  </a:lnTo>
                  <a:lnTo>
                    <a:pt x="90662" y="61170"/>
                  </a:lnTo>
                  <a:lnTo>
                    <a:pt x="90662" y="64861"/>
                  </a:lnTo>
                  <a:lnTo>
                    <a:pt x="86976" y="64861"/>
                  </a:lnTo>
                  <a:lnTo>
                    <a:pt x="83280" y="61170"/>
                  </a:lnTo>
                  <a:lnTo>
                    <a:pt x="83280" y="64861"/>
                  </a:lnTo>
                  <a:lnTo>
                    <a:pt x="79594" y="64861"/>
                  </a:lnTo>
                  <a:lnTo>
                    <a:pt x="75908" y="68552"/>
                  </a:lnTo>
                  <a:lnTo>
                    <a:pt x="75908" y="68552"/>
                  </a:lnTo>
                  <a:lnTo>
                    <a:pt x="75908" y="68552"/>
                  </a:lnTo>
                  <a:lnTo>
                    <a:pt x="72222" y="68552"/>
                  </a:lnTo>
                  <a:lnTo>
                    <a:pt x="72222" y="72242"/>
                  </a:lnTo>
                  <a:lnTo>
                    <a:pt x="72222" y="72242"/>
                  </a:lnTo>
                  <a:lnTo>
                    <a:pt x="68526" y="68552"/>
                  </a:lnTo>
                  <a:lnTo>
                    <a:pt x="64840" y="68552"/>
                  </a:lnTo>
                  <a:lnTo>
                    <a:pt x="64840" y="68552"/>
                  </a:lnTo>
                  <a:lnTo>
                    <a:pt x="61154" y="68552"/>
                  </a:lnTo>
                  <a:lnTo>
                    <a:pt x="57458" y="68552"/>
                  </a:lnTo>
                  <a:lnTo>
                    <a:pt x="57458" y="68552"/>
                  </a:lnTo>
                  <a:lnTo>
                    <a:pt x="53772" y="72242"/>
                  </a:lnTo>
                  <a:lnTo>
                    <a:pt x="50082" y="75933"/>
                  </a:lnTo>
                  <a:lnTo>
                    <a:pt x="46393" y="72242"/>
                  </a:lnTo>
                  <a:lnTo>
                    <a:pt x="42704" y="75933"/>
                  </a:lnTo>
                  <a:lnTo>
                    <a:pt x="39015" y="75933"/>
                  </a:lnTo>
                  <a:lnTo>
                    <a:pt x="35326" y="79623"/>
                  </a:lnTo>
                  <a:lnTo>
                    <a:pt x="35326" y="83314"/>
                  </a:lnTo>
                  <a:lnTo>
                    <a:pt x="35326" y="83314"/>
                  </a:lnTo>
                  <a:lnTo>
                    <a:pt x="35326" y="83314"/>
                  </a:lnTo>
                  <a:lnTo>
                    <a:pt x="31637" y="83314"/>
                  </a:lnTo>
                  <a:lnTo>
                    <a:pt x="24258" y="87004"/>
                  </a:lnTo>
                  <a:lnTo>
                    <a:pt x="27947" y="87004"/>
                  </a:lnTo>
                  <a:lnTo>
                    <a:pt x="24258" y="90694"/>
                  </a:lnTo>
                  <a:lnTo>
                    <a:pt x="20569" y="90694"/>
                  </a:lnTo>
                  <a:lnTo>
                    <a:pt x="13191" y="90694"/>
                  </a:lnTo>
                  <a:lnTo>
                    <a:pt x="9502" y="83314"/>
                  </a:lnTo>
                  <a:lnTo>
                    <a:pt x="5812" y="83314"/>
                  </a:lnTo>
                  <a:lnTo>
                    <a:pt x="5812" y="83314"/>
                  </a:lnTo>
                  <a:lnTo>
                    <a:pt x="5812" y="79623"/>
                  </a:lnTo>
                  <a:lnTo>
                    <a:pt x="9502" y="75933"/>
                  </a:lnTo>
                  <a:lnTo>
                    <a:pt x="16880" y="64861"/>
                  </a:lnTo>
                  <a:lnTo>
                    <a:pt x="24258" y="53789"/>
                  </a:lnTo>
                  <a:lnTo>
                    <a:pt x="24258" y="53789"/>
                  </a:lnTo>
                  <a:lnTo>
                    <a:pt x="31637" y="50098"/>
                  </a:lnTo>
                  <a:lnTo>
                    <a:pt x="39015" y="46408"/>
                  </a:lnTo>
                  <a:lnTo>
                    <a:pt x="53772" y="42717"/>
                  </a:lnTo>
                  <a:lnTo>
                    <a:pt x="75908" y="39027"/>
                  </a:lnTo>
                  <a:lnTo>
                    <a:pt x="83280" y="39027"/>
                  </a:lnTo>
                  <a:lnTo>
                    <a:pt x="105416" y="31645"/>
                  </a:lnTo>
                  <a:lnTo>
                    <a:pt x="123866" y="24264"/>
                  </a:lnTo>
                  <a:lnTo>
                    <a:pt x="164443" y="9502"/>
                  </a:lnTo>
                  <a:lnTo>
                    <a:pt x="175511" y="9502"/>
                  </a:lnTo>
                  <a:lnTo>
                    <a:pt x="186579" y="5812"/>
                  </a:lnTo>
                  <a:lnTo>
                    <a:pt x="190275" y="9502"/>
                  </a:lnTo>
                  <a:lnTo>
                    <a:pt x="193961" y="9502"/>
                  </a:lnTo>
                  <a:lnTo>
                    <a:pt x="197647" y="13192"/>
                  </a:lnTo>
                  <a:lnTo>
                    <a:pt x="197647" y="13192"/>
                  </a:lnTo>
                  <a:lnTo>
                    <a:pt x="197647" y="20574"/>
                  </a:lnTo>
                  <a:lnTo>
                    <a:pt x="197647" y="24264"/>
                  </a:lnTo>
                  <a:lnTo>
                    <a:pt x="197647" y="24264"/>
                  </a:lnTo>
                  <a:lnTo>
                    <a:pt x="197647" y="20574"/>
                  </a:lnTo>
                  <a:lnTo>
                    <a:pt x="197647" y="16883"/>
                  </a:lnTo>
                  <a:lnTo>
                    <a:pt x="193961" y="13192"/>
                  </a:lnTo>
                  <a:lnTo>
                    <a:pt x="193961" y="13192"/>
                  </a:lnTo>
                  <a:lnTo>
                    <a:pt x="193961" y="16883"/>
                  </a:lnTo>
                  <a:lnTo>
                    <a:pt x="190275" y="20574"/>
                  </a:lnTo>
                  <a:lnTo>
                    <a:pt x="190275" y="20574"/>
                  </a:lnTo>
                  <a:lnTo>
                    <a:pt x="186579" y="24264"/>
                  </a:lnTo>
                  <a:lnTo>
                    <a:pt x="179207" y="24264"/>
                  </a:lnTo>
                  <a:lnTo>
                    <a:pt x="175511" y="24264"/>
                  </a:lnTo>
                  <a:lnTo>
                    <a:pt x="168139" y="27955"/>
                  </a:lnTo>
                  <a:lnTo>
                    <a:pt x="168139" y="27955"/>
                  </a:lnTo>
                  <a:lnTo>
                    <a:pt x="168139" y="27955"/>
                  </a:lnTo>
                  <a:lnTo>
                    <a:pt x="164443" y="24264"/>
                  </a:lnTo>
                  <a:lnTo>
                    <a:pt x="164443" y="24264"/>
                  </a:lnTo>
                  <a:lnTo>
                    <a:pt x="164443" y="24264"/>
                  </a:lnTo>
                  <a:lnTo>
                    <a:pt x="164443" y="24264"/>
                  </a:lnTo>
                  <a:lnTo>
                    <a:pt x="164443" y="27955"/>
                  </a:lnTo>
                  <a:lnTo>
                    <a:pt x="168139" y="27955"/>
                  </a:lnTo>
                  <a:lnTo>
                    <a:pt x="164443" y="31645"/>
                  </a:lnTo>
                  <a:lnTo>
                    <a:pt x="160757" y="31645"/>
                  </a:lnTo>
                  <a:lnTo>
                    <a:pt x="160757" y="31645"/>
                  </a:lnTo>
                  <a:lnTo>
                    <a:pt x="157070" y="31645"/>
                  </a:lnTo>
                  <a:lnTo>
                    <a:pt x="157070" y="27955"/>
                  </a:lnTo>
                  <a:lnTo>
                    <a:pt x="153375" y="27955"/>
                  </a:lnTo>
                  <a:lnTo>
                    <a:pt x="153375" y="27955"/>
                  </a:lnTo>
                  <a:lnTo>
                    <a:pt x="157070" y="31645"/>
                  </a:lnTo>
                  <a:lnTo>
                    <a:pt x="157070" y="35336"/>
                  </a:lnTo>
                  <a:lnTo>
                    <a:pt x="153375" y="35336"/>
                  </a:lnTo>
                  <a:lnTo>
                    <a:pt x="149689" y="35336"/>
                  </a:lnTo>
                  <a:lnTo>
                    <a:pt x="149689" y="35336"/>
                  </a:lnTo>
                  <a:lnTo>
                    <a:pt x="146002" y="31645"/>
                  </a:lnTo>
                  <a:lnTo>
                    <a:pt x="146002" y="31645"/>
                  </a:lnTo>
                  <a:lnTo>
                    <a:pt x="146002" y="31645"/>
                  </a:lnTo>
                  <a:lnTo>
                    <a:pt x="149689" y="35336"/>
                  </a:lnTo>
                  <a:lnTo>
                    <a:pt x="153375" y="39027"/>
                  </a:lnTo>
                  <a:lnTo>
                    <a:pt x="157070" y="39027"/>
                  </a:lnTo>
                  <a:lnTo>
                    <a:pt x="160757" y="39027"/>
                  </a:lnTo>
                  <a:lnTo>
                    <a:pt x="160757" y="39027"/>
                  </a:lnTo>
                  <a:lnTo>
                    <a:pt x="157070" y="42717"/>
                  </a:lnTo>
                  <a:lnTo>
                    <a:pt x="149689" y="42717"/>
                  </a:lnTo>
                  <a:lnTo>
                    <a:pt x="142316" y="42717"/>
                  </a:lnTo>
                  <a:lnTo>
                    <a:pt x="138621" y="42717"/>
                  </a:lnTo>
                  <a:close/>
                </a:path>
              </a:pathLst>
            </a:custGeom>
            <a:solidFill>
              <a:srgbClr val="BF211E"/>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80" name="Freeform: Shape 279">
              <a:extLst>
                <a:ext uri="{FF2B5EF4-FFF2-40B4-BE49-F238E27FC236}">
                  <a16:creationId xmlns:a16="http://schemas.microsoft.com/office/drawing/2014/main" id="{2BD3165E-29DC-4CFD-B935-8354707FB4C5}"/>
                </a:ext>
              </a:extLst>
            </p:cNvPr>
            <p:cNvSpPr/>
            <p:nvPr/>
          </p:nvSpPr>
          <p:spPr>
            <a:xfrm>
              <a:off x="5668563" y="2746866"/>
              <a:ext cx="46118" cy="30745"/>
            </a:xfrm>
            <a:custGeom>
              <a:avLst/>
              <a:gdLst>
                <a:gd name="connsiteX0" fmla="*/ 27947 w 28575"/>
                <a:gd name="connsiteY0" fmla="*/ 5812 h 19050"/>
                <a:gd name="connsiteX1" fmla="*/ 27947 w 28575"/>
                <a:gd name="connsiteY1" fmla="*/ 5812 h 19050"/>
                <a:gd name="connsiteX2" fmla="*/ 24257 w 28575"/>
                <a:gd name="connsiteY2" fmla="*/ 9503 h 19050"/>
                <a:gd name="connsiteX3" fmla="*/ 20568 w 28575"/>
                <a:gd name="connsiteY3" fmla="*/ 13193 h 19050"/>
                <a:gd name="connsiteX4" fmla="*/ 16879 w 28575"/>
                <a:gd name="connsiteY4" fmla="*/ 13193 h 19050"/>
                <a:gd name="connsiteX5" fmla="*/ 13190 w 28575"/>
                <a:gd name="connsiteY5" fmla="*/ 13193 h 19050"/>
                <a:gd name="connsiteX6" fmla="*/ 9501 w 28575"/>
                <a:gd name="connsiteY6" fmla="*/ 13193 h 19050"/>
                <a:gd name="connsiteX7" fmla="*/ 9501 w 28575"/>
                <a:gd name="connsiteY7" fmla="*/ 13193 h 19050"/>
                <a:gd name="connsiteX8" fmla="*/ 9501 w 28575"/>
                <a:gd name="connsiteY8" fmla="*/ 16883 h 19050"/>
                <a:gd name="connsiteX9" fmla="*/ 9501 w 28575"/>
                <a:gd name="connsiteY9" fmla="*/ 16883 h 19050"/>
                <a:gd name="connsiteX10" fmla="*/ 5812 w 28575"/>
                <a:gd name="connsiteY10" fmla="*/ 16883 h 19050"/>
                <a:gd name="connsiteX11" fmla="*/ 5812 w 28575"/>
                <a:gd name="connsiteY11" fmla="*/ 16883 h 19050"/>
                <a:gd name="connsiteX12" fmla="*/ 5812 w 28575"/>
                <a:gd name="connsiteY12" fmla="*/ 13193 h 19050"/>
                <a:gd name="connsiteX13" fmla="*/ 5812 w 28575"/>
                <a:gd name="connsiteY13" fmla="*/ 13193 h 19050"/>
                <a:gd name="connsiteX14" fmla="*/ 9501 w 28575"/>
                <a:gd name="connsiteY14" fmla="*/ 13193 h 19050"/>
                <a:gd name="connsiteX15" fmla="*/ 5812 w 28575"/>
                <a:gd name="connsiteY15" fmla="*/ 13193 h 19050"/>
                <a:gd name="connsiteX16" fmla="*/ 9501 w 28575"/>
                <a:gd name="connsiteY16" fmla="*/ 9503 h 19050"/>
                <a:gd name="connsiteX17" fmla="*/ 13190 w 28575"/>
                <a:gd name="connsiteY17" fmla="*/ 5812 h 19050"/>
                <a:gd name="connsiteX18" fmla="*/ 20568 w 28575"/>
                <a:gd name="connsiteY18" fmla="*/ 5812 h 19050"/>
                <a:gd name="connsiteX19" fmla="*/ 27947 w 28575"/>
                <a:gd name="connsiteY19" fmla="*/ 5812 h 19050"/>
                <a:gd name="connsiteX20" fmla="*/ 27947 w 28575"/>
                <a:gd name="connsiteY20"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575" h="19050">
                  <a:moveTo>
                    <a:pt x="27947" y="5812"/>
                  </a:moveTo>
                  <a:lnTo>
                    <a:pt x="27947" y="5812"/>
                  </a:lnTo>
                  <a:lnTo>
                    <a:pt x="24257" y="9503"/>
                  </a:lnTo>
                  <a:lnTo>
                    <a:pt x="20568" y="13193"/>
                  </a:lnTo>
                  <a:lnTo>
                    <a:pt x="16879" y="13193"/>
                  </a:lnTo>
                  <a:lnTo>
                    <a:pt x="13190" y="13193"/>
                  </a:lnTo>
                  <a:lnTo>
                    <a:pt x="9501" y="13193"/>
                  </a:lnTo>
                  <a:lnTo>
                    <a:pt x="9501" y="13193"/>
                  </a:lnTo>
                  <a:lnTo>
                    <a:pt x="9501" y="16883"/>
                  </a:lnTo>
                  <a:lnTo>
                    <a:pt x="9501" y="16883"/>
                  </a:lnTo>
                  <a:lnTo>
                    <a:pt x="5812" y="16883"/>
                  </a:lnTo>
                  <a:lnTo>
                    <a:pt x="5812" y="16883"/>
                  </a:lnTo>
                  <a:lnTo>
                    <a:pt x="5812" y="13193"/>
                  </a:lnTo>
                  <a:lnTo>
                    <a:pt x="5812" y="13193"/>
                  </a:lnTo>
                  <a:lnTo>
                    <a:pt x="9501" y="13193"/>
                  </a:lnTo>
                  <a:lnTo>
                    <a:pt x="5812" y="13193"/>
                  </a:lnTo>
                  <a:lnTo>
                    <a:pt x="9501" y="9503"/>
                  </a:lnTo>
                  <a:lnTo>
                    <a:pt x="13190" y="5812"/>
                  </a:lnTo>
                  <a:lnTo>
                    <a:pt x="20568" y="5812"/>
                  </a:lnTo>
                  <a:lnTo>
                    <a:pt x="27947" y="5812"/>
                  </a:lnTo>
                  <a:lnTo>
                    <a:pt x="27947" y="5812"/>
                  </a:lnTo>
                  <a:close/>
                </a:path>
              </a:pathLst>
            </a:custGeom>
            <a:solidFill>
              <a:srgbClr val="BF211E"/>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81" name="Freeform: Shape 280">
              <a:extLst>
                <a:ext uri="{FF2B5EF4-FFF2-40B4-BE49-F238E27FC236}">
                  <a16:creationId xmlns:a16="http://schemas.microsoft.com/office/drawing/2014/main" id="{0D178EC7-A7D8-40FC-B16E-1D1756C2BD99}"/>
                </a:ext>
              </a:extLst>
            </p:cNvPr>
            <p:cNvSpPr/>
            <p:nvPr/>
          </p:nvSpPr>
          <p:spPr>
            <a:xfrm>
              <a:off x="5466122" y="2734954"/>
              <a:ext cx="199845" cy="138354"/>
            </a:xfrm>
            <a:custGeom>
              <a:avLst/>
              <a:gdLst>
                <a:gd name="connsiteX0" fmla="*/ 105420 w 123825"/>
                <a:gd name="connsiteY0" fmla="*/ 16883 h 85725"/>
                <a:gd name="connsiteX1" fmla="*/ 105420 w 123825"/>
                <a:gd name="connsiteY1" fmla="*/ 20574 h 85725"/>
                <a:gd name="connsiteX2" fmla="*/ 101730 w 123825"/>
                <a:gd name="connsiteY2" fmla="*/ 24264 h 85725"/>
                <a:gd name="connsiteX3" fmla="*/ 94352 w 123825"/>
                <a:gd name="connsiteY3" fmla="*/ 27955 h 85725"/>
                <a:gd name="connsiteX4" fmla="*/ 72217 w 123825"/>
                <a:gd name="connsiteY4" fmla="*/ 35336 h 85725"/>
                <a:gd name="connsiteX5" fmla="*/ 64839 w 123825"/>
                <a:gd name="connsiteY5" fmla="*/ 39027 h 85725"/>
                <a:gd name="connsiteX6" fmla="*/ 64839 w 123825"/>
                <a:gd name="connsiteY6" fmla="*/ 42717 h 85725"/>
                <a:gd name="connsiteX7" fmla="*/ 64839 w 123825"/>
                <a:gd name="connsiteY7" fmla="*/ 50098 h 85725"/>
                <a:gd name="connsiteX8" fmla="*/ 68528 w 123825"/>
                <a:gd name="connsiteY8" fmla="*/ 50098 h 85725"/>
                <a:gd name="connsiteX9" fmla="*/ 68528 w 123825"/>
                <a:gd name="connsiteY9" fmla="*/ 46408 h 85725"/>
                <a:gd name="connsiteX10" fmla="*/ 68528 w 123825"/>
                <a:gd name="connsiteY10" fmla="*/ 46408 h 85725"/>
                <a:gd name="connsiteX11" fmla="*/ 68528 w 123825"/>
                <a:gd name="connsiteY11" fmla="*/ 46408 h 85725"/>
                <a:gd name="connsiteX12" fmla="*/ 68528 w 123825"/>
                <a:gd name="connsiteY12" fmla="*/ 46408 h 85725"/>
                <a:gd name="connsiteX13" fmla="*/ 72217 w 123825"/>
                <a:gd name="connsiteY13" fmla="*/ 46408 h 85725"/>
                <a:gd name="connsiteX14" fmla="*/ 68528 w 123825"/>
                <a:gd name="connsiteY14" fmla="*/ 50098 h 85725"/>
                <a:gd name="connsiteX15" fmla="*/ 64839 w 123825"/>
                <a:gd name="connsiteY15" fmla="*/ 57480 h 85725"/>
                <a:gd name="connsiteX16" fmla="*/ 64839 w 123825"/>
                <a:gd name="connsiteY16" fmla="*/ 57480 h 85725"/>
                <a:gd name="connsiteX17" fmla="*/ 64839 w 123825"/>
                <a:gd name="connsiteY17" fmla="*/ 57480 h 85725"/>
                <a:gd name="connsiteX18" fmla="*/ 53771 w 123825"/>
                <a:gd name="connsiteY18" fmla="*/ 64861 h 85725"/>
                <a:gd name="connsiteX19" fmla="*/ 50082 w 123825"/>
                <a:gd name="connsiteY19" fmla="*/ 68552 h 85725"/>
                <a:gd name="connsiteX20" fmla="*/ 46393 w 123825"/>
                <a:gd name="connsiteY20" fmla="*/ 68552 h 85725"/>
                <a:gd name="connsiteX21" fmla="*/ 46393 w 123825"/>
                <a:gd name="connsiteY21" fmla="*/ 72242 h 85725"/>
                <a:gd name="connsiteX22" fmla="*/ 42704 w 123825"/>
                <a:gd name="connsiteY22" fmla="*/ 75933 h 85725"/>
                <a:gd name="connsiteX23" fmla="*/ 35326 w 123825"/>
                <a:gd name="connsiteY23" fmla="*/ 79623 h 85725"/>
                <a:gd name="connsiteX24" fmla="*/ 35326 w 123825"/>
                <a:gd name="connsiteY24" fmla="*/ 79623 h 85725"/>
                <a:gd name="connsiteX25" fmla="*/ 35326 w 123825"/>
                <a:gd name="connsiteY25" fmla="*/ 79623 h 85725"/>
                <a:gd name="connsiteX26" fmla="*/ 31636 w 123825"/>
                <a:gd name="connsiteY26" fmla="*/ 79623 h 85725"/>
                <a:gd name="connsiteX27" fmla="*/ 24258 w 123825"/>
                <a:gd name="connsiteY27" fmla="*/ 79623 h 85725"/>
                <a:gd name="connsiteX28" fmla="*/ 13191 w 123825"/>
                <a:gd name="connsiteY28" fmla="*/ 79623 h 85725"/>
                <a:gd name="connsiteX29" fmla="*/ 9502 w 123825"/>
                <a:gd name="connsiteY29" fmla="*/ 83314 h 85725"/>
                <a:gd name="connsiteX30" fmla="*/ 9502 w 123825"/>
                <a:gd name="connsiteY30" fmla="*/ 83314 h 85725"/>
                <a:gd name="connsiteX31" fmla="*/ 9502 w 123825"/>
                <a:gd name="connsiteY31" fmla="*/ 87005 h 85725"/>
                <a:gd name="connsiteX32" fmla="*/ 13191 w 123825"/>
                <a:gd name="connsiteY32" fmla="*/ 87005 h 85725"/>
                <a:gd name="connsiteX33" fmla="*/ 9502 w 123825"/>
                <a:gd name="connsiteY33" fmla="*/ 87005 h 85725"/>
                <a:gd name="connsiteX34" fmla="*/ 5812 w 123825"/>
                <a:gd name="connsiteY34" fmla="*/ 87005 h 85725"/>
                <a:gd name="connsiteX35" fmla="*/ 5812 w 123825"/>
                <a:gd name="connsiteY35" fmla="*/ 87005 h 85725"/>
                <a:gd name="connsiteX36" fmla="*/ 5812 w 123825"/>
                <a:gd name="connsiteY36" fmla="*/ 79623 h 85725"/>
                <a:gd name="connsiteX37" fmla="*/ 5812 w 123825"/>
                <a:gd name="connsiteY37" fmla="*/ 75933 h 85725"/>
                <a:gd name="connsiteX38" fmla="*/ 5812 w 123825"/>
                <a:gd name="connsiteY38" fmla="*/ 72242 h 85725"/>
                <a:gd name="connsiteX39" fmla="*/ 27947 w 123825"/>
                <a:gd name="connsiteY39" fmla="*/ 61170 h 85725"/>
                <a:gd name="connsiteX40" fmla="*/ 39015 w 123825"/>
                <a:gd name="connsiteY40" fmla="*/ 50098 h 85725"/>
                <a:gd name="connsiteX41" fmla="*/ 46393 w 123825"/>
                <a:gd name="connsiteY41" fmla="*/ 46408 h 85725"/>
                <a:gd name="connsiteX42" fmla="*/ 53771 w 123825"/>
                <a:gd name="connsiteY42" fmla="*/ 39027 h 85725"/>
                <a:gd name="connsiteX43" fmla="*/ 57460 w 123825"/>
                <a:gd name="connsiteY43" fmla="*/ 35336 h 85725"/>
                <a:gd name="connsiteX44" fmla="*/ 72217 w 123825"/>
                <a:gd name="connsiteY44" fmla="*/ 24264 h 85725"/>
                <a:gd name="connsiteX45" fmla="*/ 79595 w 123825"/>
                <a:gd name="connsiteY45" fmla="*/ 20574 h 85725"/>
                <a:gd name="connsiteX46" fmla="*/ 83285 w 123825"/>
                <a:gd name="connsiteY46" fmla="*/ 16883 h 85725"/>
                <a:gd name="connsiteX47" fmla="*/ 83285 w 123825"/>
                <a:gd name="connsiteY47" fmla="*/ 16883 h 85725"/>
                <a:gd name="connsiteX48" fmla="*/ 94352 w 123825"/>
                <a:gd name="connsiteY48" fmla="*/ 13192 h 85725"/>
                <a:gd name="connsiteX49" fmla="*/ 101730 w 123825"/>
                <a:gd name="connsiteY49" fmla="*/ 9503 h 85725"/>
                <a:gd name="connsiteX50" fmla="*/ 109109 w 123825"/>
                <a:gd name="connsiteY50" fmla="*/ 5812 h 85725"/>
                <a:gd name="connsiteX51" fmla="*/ 112798 w 123825"/>
                <a:gd name="connsiteY51" fmla="*/ 5812 h 85725"/>
                <a:gd name="connsiteX52" fmla="*/ 123865 w 123825"/>
                <a:gd name="connsiteY52" fmla="*/ 9503 h 85725"/>
                <a:gd name="connsiteX53" fmla="*/ 123865 w 123825"/>
                <a:gd name="connsiteY53" fmla="*/ 13192 h 85725"/>
                <a:gd name="connsiteX54" fmla="*/ 120176 w 123825"/>
                <a:gd name="connsiteY54" fmla="*/ 16883 h 85725"/>
                <a:gd name="connsiteX55" fmla="*/ 120176 w 123825"/>
                <a:gd name="connsiteY55" fmla="*/ 16883 h 85725"/>
                <a:gd name="connsiteX56" fmla="*/ 120176 w 123825"/>
                <a:gd name="connsiteY56" fmla="*/ 16883 h 85725"/>
                <a:gd name="connsiteX57" fmla="*/ 116487 w 123825"/>
                <a:gd name="connsiteY57" fmla="*/ 16883 h 85725"/>
                <a:gd name="connsiteX58" fmla="*/ 112798 w 123825"/>
                <a:gd name="connsiteY58" fmla="*/ 16883 h 85725"/>
                <a:gd name="connsiteX59" fmla="*/ 105420 w 123825"/>
                <a:gd name="connsiteY59" fmla="*/ 16883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23825" h="85725">
                  <a:moveTo>
                    <a:pt x="105420" y="16883"/>
                  </a:moveTo>
                  <a:lnTo>
                    <a:pt x="105420" y="20574"/>
                  </a:lnTo>
                  <a:lnTo>
                    <a:pt x="101730" y="24264"/>
                  </a:lnTo>
                  <a:lnTo>
                    <a:pt x="94352" y="27955"/>
                  </a:lnTo>
                  <a:lnTo>
                    <a:pt x="72217" y="35336"/>
                  </a:lnTo>
                  <a:lnTo>
                    <a:pt x="64839" y="39027"/>
                  </a:lnTo>
                  <a:lnTo>
                    <a:pt x="64839" y="42717"/>
                  </a:lnTo>
                  <a:lnTo>
                    <a:pt x="64839" y="50098"/>
                  </a:lnTo>
                  <a:lnTo>
                    <a:pt x="68528" y="50098"/>
                  </a:lnTo>
                  <a:lnTo>
                    <a:pt x="68528" y="46408"/>
                  </a:lnTo>
                  <a:lnTo>
                    <a:pt x="68528" y="46408"/>
                  </a:lnTo>
                  <a:lnTo>
                    <a:pt x="68528" y="46408"/>
                  </a:lnTo>
                  <a:lnTo>
                    <a:pt x="68528" y="46408"/>
                  </a:lnTo>
                  <a:lnTo>
                    <a:pt x="72217" y="46408"/>
                  </a:lnTo>
                  <a:lnTo>
                    <a:pt x="68528" y="50098"/>
                  </a:lnTo>
                  <a:lnTo>
                    <a:pt x="64839" y="57480"/>
                  </a:lnTo>
                  <a:lnTo>
                    <a:pt x="64839" y="57480"/>
                  </a:lnTo>
                  <a:lnTo>
                    <a:pt x="64839" y="57480"/>
                  </a:lnTo>
                  <a:lnTo>
                    <a:pt x="53771" y="64861"/>
                  </a:lnTo>
                  <a:lnTo>
                    <a:pt x="50082" y="68552"/>
                  </a:lnTo>
                  <a:lnTo>
                    <a:pt x="46393" y="68552"/>
                  </a:lnTo>
                  <a:lnTo>
                    <a:pt x="46393" y="72242"/>
                  </a:lnTo>
                  <a:lnTo>
                    <a:pt x="42704" y="75933"/>
                  </a:lnTo>
                  <a:lnTo>
                    <a:pt x="35326" y="79623"/>
                  </a:lnTo>
                  <a:lnTo>
                    <a:pt x="35326" y="79623"/>
                  </a:lnTo>
                  <a:lnTo>
                    <a:pt x="35326" y="79623"/>
                  </a:lnTo>
                  <a:lnTo>
                    <a:pt x="31636" y="79623"/>
                  </a:lnTo>
                  <a:lnTo>
                    <a:pt x="24258" y="79623"/>
                  </a:lnTo>
                  <a:lnTo>
                    <a:pt x="13191" y="79623"/>
                  </a:lnTo>
                  <a:lnTo>
                    <a:pt x="9502" y="83314"/>
                  </a:lnTo>
                  <a:lnTo>
                    <a:pt x="9502" y="83314"/>
                  </a:lnTo>
                  <a:lnTo>
                    <a:pt x="9502" y="87005"/>
                  </a:lnTo>
                  <a:lnTo>
                    <a:pt x="13191" y="87005"/>
                  </a:lnTo>
                  <a:lnTo>
                    <a:pt x="9502" y="87005"/>
                  </a:lnTo>
                  <a:lnTo>
                    <a:pt x="5812" y="87005"/>
                  </a:lnTo>
                  <a:lnTo>
                    <a:pt x="5812" y="87005"/>
                  </a:lnTo>
                  <a:lnTo>
                    <a:pt x="5812" y="79623"/>
                  </a:lnTo>
                  <a:lnTo>
                    <a:pt x="5812" y="75933"/>
                  </a:lnTo>
                  <a:lnTo>
                    <a:pt x="5812" y="72242"/>
                  </a:lnTo>
                  <a:lnTo>
                    <a:pt x="27947" y="61170"/>
                  </a:lnTo>
                  <a:lnTo>
                    <a:pt x="39015" y="50098"/>
                  </a:lnTo>
                  <a:lnTo>
                    <a:pt x="46393" y="46408"/>
                  </a:lnTo>
                  <a:lnTo>
                    <a:pt x="53771" y="39027"/>
                  </a:lnTo>
                  <a:lnTo>
                    <a:pt x="57460" y="35336"/>
                  </a:lnTo>
                  <a:lnTo>
                    <a:pt x="72217" y="24264"/>
                  </a:lnTo>
                  <a:lnTo>
                    <a:pt x="79595" y="20574"/>
                  </a:lnTo>
                  <a:lnTo>
                    <a:pt x="83285" y="16883"/>
                  </a:lnTo>
                  <a:lnTo>
                    <a:pt x="83285" y="16883"/>
                  </a:lnTo>
                  <a:lnTo>
                    <a:pt x="94352" y="13192"/>
                  </a:lnTo>
                  <a:lnTo>
                    <a:pt x="101730" y="9503"/>
                  </a:lnTo>
                  <a:lnTo>
                    <a:pt x="109109" y="5812"/>
                  </a:lnTo>
                  <a:lnTo>
                    <a:pt x="112798" y="5812"/>
                  </a:lnTo>
                  <a:lnTo>
                    <a:pt x="123865" y="9503"/>
                  </a:lnTo>
                  <a:lnTo>
                    <a:pt x="123865" y="13192"/>
                  </a:lnTo>
                  <a:lnTo>
                    <a:pt x="120176" y="16883"/>
                  </a:lnTo>
                  <a:lnTo>
                    <a:pt x="120176" y="16883"/>
                  </a:lnTo>
                  <a:lnTo>
                    <a:pt x="120176" y="16883"/>
                  </a:lnTo>
                  <a:lnTo>
                    <a:pt x="116487" y="16883"/>
                  </a:lnTo>
                  <a:lnTo>
                    <a:pt x="112798" y="16883"/>
                  </a:lnTo>
                  <a:lnTo>
                    <a:pt x="105420" y="16883"/>
                  </a:lnTo>
                  <a:close/>
                </a:path>
              </a:pathLst>
            </a:custGeom>
            <a:solidFill>
              <a:srgbClr val="BF211E"/>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82" name="Freeform: Shape 281">
              <a:extLst>
                <a:ext uri="{FF2B5EF4-FFF2-40B4-BE49-F238E27FC236}">
                  <a16:creationId xmlns:a16="http://schemas.microsoft.com/office/drawing/2014/main" id="{153D9755-6D5B-47EB-96D8-B578F01729AF}"/>
                </a:ext>
              </a:extLst>
            </p:cNvPr>
            <p:cNvSpPr/>
            <p:nvPr/>
          </p:nvSpPr>
          <p:spPr>
            <a:xfrm>
              <a:off x="6615266" y="2472877"/>
              <a:ext cx="15373" cy="15373"/>
            </a:xfrm>
            <a:custGeom>
              <a:avLst/>
              <a:gdLst>
                <a:gd name="connsiteX0" fmla="*/ 5812 w 9525"/>
                <a:gd name="connsiteY0" fmla="*/ 5812 h 9525"/>
                <a:gd name="connsiteX1" fmla="*/ 13184 w 9525"/>
                <a:gd name="connsiteY1" fmla="*/ 5812 h 9525"/>
                <a:gd name="connsiteX2" fmla="*/ 13184 w 9525"/>
                <a:gd name="connsiteY2" fmla="*/ 5812 h 9525"/>
                <a:gd name="connsiteX3" fmla="*/ 13184 w 9525"/>
                <a:gd name="connsiteY3" fmla="*/ 9502 h 9525"/>
                <a:gd name="connsiteX4" fmla="*/ 13184 w 9525"/>
                <a:gd name="connsiteY4" fmla="*/ 9502 h 9525"/>
                <a:gd name="connsiteX5" fmla="*/ 5812 w 9525"/>
                <a:gd name="connsiteY5" fmla="*/ 13193 h 9525"/>
                <a:gd name="connsiteX6" fmla="*/ 5812 w 9525"/>
                <a:gd name="connsiteY6"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9525">
                  <a:moveTo>
                    <a:pt x="5812" y="5812"/>
                  </a:moveTo>
                  <a:lnTo>
                    <a:pt x="13184" y="5812"/>
                  </a:lnTo>
                  <a:lnTo>
                    <a:pt x="13184" y="5812"/>
                  </a:lnTo>
                  <a:lnTo>
                    <a:pt x="13184" y="9502"/>
                  </a:lnTo>
                  <a:lnTo>
                    <a:pt x="13184" y="9502"/>
                  </a:lnTo>
                  <a:lnTo>
                    <a:pt x="5812" y="13193"/>
                  </a:lnTo>
                  <a:lnTo>
                    <a:pt x="5812" y="5812"/>
                  </a:lnTo>
                  <a:close/>
                </a:path>
              </a:pathLst>
            </a:custGeom>
            <a:solidFill>
              <a:srgbClr val="BF211E"/>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83" name="Freeform: Shape 282">
              <a:extLst>
                <a:ext uri="{FF2B5EF4-FFF2-40B4-BE49-F238E27FC236}">
                  <a16:creationId xmlns:a16="http://schemas.microsoft.com/office/drawing/2014/main" id="{8C2A948E-C264-4985-B1CF-40F92BE1624F}"/>
                </a:ext>
              </a:extLst>
            </p:cNvPr>
            <p:cNvSpPr/>
            <p:nvPr/>
          </p:nvSpPr>
          <p:spPr>
            <a:xfrm>
              <a:off x="6692670" y="2413315"/>
              <a:ext cx="61491" cy="61491"/>
            </a:xfrm>
            <a:custGeom>
              <a:avLst/>
              <a:gdLst>
                <a:gd name="connsiteX0" fmla="*/ 24252 w 38100"/>
                <a:gd name="connsiteY0" fmla="*/ 9502 h 38100"/>
                <a:gd name="connsiteX1" fmla="*/ 24252 w 38100"/>
                <a:gd name="connsiteY1" fmla="*/ 13193 h 38100"/>
                <a:gd name="connsiteX2" fmla="*/ 24252 w 38100"/>
                <a:gd name="connsiteY2" fmla="*/ 13193 h 38100"/>
                <a:gd name="connsiteX3" fmla="*/ 27948 w 38100"/>
                <a:gd name="connsiteY3" fmla="*/ 16883 h 38100"/>
                <a:gd name="connsiteX4" fmla="*/ 31634 w 38100"/>
                <a:gd name="connsiteY4" fmla="*/ 20574 h 38100"/>
                <a:gd name="connsiteX5" fmla="*/ 35320 w 38100"/>
                <a:gd name="connsiteY5" fmla="*/ 24264 h 38100"/>
                <a:gd name="connsiteX6" fmla="*/ 31634 w 38100"/>
                <a:gd name="connsiteY6" fmla="*/ 20574 h 38100"/>
                <a:gd name="connsiteX7" fmla="*/ 27948 w 38100"/>
                <a:gd name="connsiteY7" fmla="*/ 20574 h 38100"/>
                <a:gd name="connsiteX8" fmla="*/ 20566 w 38100"/>
                <a:gd name="connsiteY8" fmla="*/ 20574 h 38100"/>
                <a:gd name="connsiteX9" fmla="*/ 16880 w 38100"/>
                <a:gd name="connsiteY9" fmla="*/ 20574 h 38100"/>
                <a:gd name="connsiteX10" fmla="*/ 16880 w 38100"/>
                <a:gd name="connsiteY10" fmla="*/ 20574 h 38100"/>
                <a:gd name="connsiteX11" fmla="*/ 16880 w 38100"/>
                <a:gd name="connsiteY11" fmla="*/ 24264 h 38100"/>
                <a:gd name="connsiteX12" fmla="*/ 16880 w 38100"/>
                <a:gd name="connsiteY12" fmla="*/ 27955 h 38100"/>
                <a:gd name="connsiteX13" fmla="*/ 20566 w 38100"/>
                <a:gd name="connsiteY13" fmla="*/ 27955 h 38100"/>
                <a:gd name="connsiteX14" fmla="*/ 20566 w 38100"/>
                <a:gd name="connsiteY14" fmla="*/ 27955 h 38100"/>
                <a:gd name="connsiteX15" fmla="*/ 16880 w 38100"/>
                <a:gd name="connsiteY15" fmla="*/ 35336 h 38100"/>
                <a:gd name="connsiteX16" fmla="*/ 13184 w 38100"/>
                <a:gd name="connsiteY16" fmla="*/ 31646 h 38100"/>
                <a:gd name="connsiteX17" fmla="*/ 9498 w 38100"/>
                <a:gd name="connsiteY17" fmla="*/ 20574 h 38100"/>
                <a:gd name="connsiteX18" fmla="*/ 5812 w 38100"/>
                <a:gd name="connsiteY18" fmla="*/ 16883 h 38100"/>
                <a:gd name="connsiteX19" fmla="*/ 5812 w 38100"/>
                <a:gd name="connsiteY19" fmla="*/ 13193 h 38100"/>
                <a:gd name="connsiteX20" fmla="*/ 9498 w 38100"/>
                <a:gd name="connsiteY20" fmla="*/ 5812 h 38100"/>
                <a:gd name="connsiteX21" fmla="*/ 13184 w 38100"/>
                <a:gd name="connsiteY21" fmla="*/ 5812 h 38100"/>
                <a:gd name="connsiteX22" fmla="*/ 16880 w 38100"/>
                <a:gd name="connsiteY22" fmla="*/ 5812 h 38100"/>
                <a:gd name="connsiteX23" fmla="*/ 20566 w 38100"/>
                <a:gd name="connsiteY23" fmla="*/ 5812 h 38100"/>
                <a:gd name="connsiteX24" fmla="*/ 24252 w 38100"/>
                <a:gd name="connsiteY24" fmla="*/ 9502 h 38100"/>
                <a:gd name="connsiteX25" fmla="*/ 24252 w 38100"/>
                <a:gd name="connsiteY25" fmla="*/ 9502 h 38100"/>
                <a:gd name="connsiteX26" fmla="*/ 24252 w 38100"/>
                <a:gd name="connsiteY26" fmla="*/ 9502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8100" h="38100">
                  <a:moveTo>
                    <a:pt x="24252" y="9502"/>
                  </a:moveTo>
                  <a:lnTo>
                    <a:pt x="24252" y="13193"/>
                  </a:lnTo>
                  <a:lnTo>
                    <a:pt x="24252" y="13193"/>
                  </a:lnTo>
                  <a:lnTo>
                    <a:pt x="27948" y="16883"/>
                  </a:lnTo>
                  <a:lnTo>
                    <a:pt x="31634" y="20574"/>
                  </a:lnTo>
                  <a:lnTo>
                    <a:pt x="35320" y="24264"/>
                  </a:lnTo>
                  <a:lnTo>
                    <a:pt x="31634" y="20574"/>
                  </a:lnTo>
                  <a:lnTo>
                    <a:pt x="27948" y="20574"/>
                  </a:lnTo>
                  <a:lnTo>
                    <a:pt x="20566" y="20574"/>
                  </a:lnTo>
                  <a:lnTo>
                    <a:pt x="16880" y="20574"/>
                  </a:lnTo>
                  <a:lnTo>
                    <a:pt x="16880" y="20574"/>
                  </a:lnTo>
                  <a:lnTo>
                    <a:pt x="16880" y="24264"/>
                  </a:lnTo>
                  <a:lnTo>
                    <a:pt x="16880" y="27955"/>
                  </a:lnTo>
                  <a:lnTo>
                    <a:pt x="20566" y="27955"/>
                  </a:lnTo>
                  <a:lnTo>
                    <a:pt x="20566" y="27955"/>
                  </a:lnTo>
                  <a:lnTo>
                    <a:pt x="16880" y="35336"/>
                  </a:lnTo>
                  <a:lnTo>
                    <a:pt x="13184" y="31646"/>
                  </a:lnTo>
                  <a:lnTo>
                    <a:pt x="9498" y="20574"/>
                  </a:lnTo>
                  <a:lnTo>
                    <a:pt x="5812" y="16883"/>
                  </a:lnTo>
                  <a:lnTo>
                    <a:pt x="5812" y="13193"/>
                  </a:lnTo>
                  <a:lnTo>
                    <a:pt x="9498" y="5812"/>
                  </a:lnTo>
                  <a:lnTo>
                    <a:pt x="13184" y="5812"/>
                  </a:lnTo>
                  <a:lnTo>
                    <a:pt x="16880" y="5812"/>
                  </a:lnTo>
                  <a:lnTo>
                    <a:pt x="20566" y="5812"/>
                  </a:lnTo>
                  <a:lnTo>
                    <a:pt x="24252" y="9502"/>
                  </a:lnTo>
                  <a:lnTo>
                    <a:pt x="24252" y="9502"/>
                  </a:lnTo>
                  <a:lnTo>
                    <a:pt x="24252" y="9502"/>
                  </a:lnTo>
                  <a:close/>
                </a:path>
              </a:pathLst>
            </a:custGeom>
            <a:solidFill>
              <a:srgbClr val="BF211E"/>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84" name="Freeform: Shape 283">
              <a:extLst>
                <a:ext uri="{FF2B5EF4-FFF2-40B4-BE49-F238E27FC236}">
                  <a16:creationId xmlns:a16="http://schemas.microsoft.com/office/drawing/2014/main" id="{4F8D8C73-296A-47C8-904C-89481BAF889D}"/>
                </a:ext>
              </a:extLst>
            </p:cNvPr>
            <p:cNvSpPr/>
            <p:nvPr/>
          </p:nvSpPr>
          <p:spPr>
            <a:xfrm>
              <a:off x="6776018" y="2425228"/>
              <a:ext cx="46118" cy="15373"/>
            </a:xfrm>
            <a:custGeom>
              <a:avLst/>
              <a:gdLst>
                <a:gd name="connsiteX0" fmla="*/ 9498 w 28575"/>
                <a:gd name="connsiteY0" fmla="*/ 5812 h 9525"/>
                <a:gd name="connsiteX1" fmla="*/ 16880 w 28575"/>
                <a:gd name="connsiteY1" fmla="*/ 5812 h 9525"/>
                <a:gd name="connsiteX2" fmla="*/ 24262 w 28575"/>
                <a:gd name="connsiteY2" fmla="*/ 5812 h 9525"/>
                <a:gd name="connsiteX3" fmla="*/ 31634 w 28575"/>
                <a:gd name="connsiteY3" fmla="*/ 9502 h 9525"/>
                <a:gd name="connsiteX4" fmla="*/ 31634 w 28575"/>
                <a:gd name="connsiteY4" fmla="*/ 13193 h 9525"/>
                <a:gd name="connsiteX5" fmla="*/ 31634 w 28575"/>
                <a:gd name="connsiteY5" fmla="*/ 9502 h 9525"/>
                <a:gd name="connsiteX6" fmla="*/ 24262 w 28575"/>
                <a:gd name="connsiteY6" fmla="*/ 9502 h 9525"/>
                <a:gd name="connsiteX7" fmla="*/ 16880 w 28575"/>
                <a:gd name="connsiteY7" fmla="*/ 9502 h 9525"/>
                <a:gd name="connsiteX8" fmla="*/ 13194 w 28575"/>
                <a:gd name="connsiteY8" fmla="*/ 9502 h 9525"/>
                <a:gd name="connsiteX9" fmla="*/ 13194 w 28575"/>
                <a:gd name="connsiteY9" fmla="*/ 9502 h 9525"/>
                <a:gd name="connsiteX10" fmla="*/ 9498 w 28575"/>
                <a:gd name="connsiteY10" fmla="*/ 9502 h 9525"/>
                <a:gd name="connsiteX11" fmla="*/ 5812 w 28575"/>
                <a:gd name="connsiteY11" fmla="*/ 13193 h 9525"/>
                <a:gd name="connsiteX12" fmla="*/ 5812 w 28575"/>
                <a:gd name="connsiteY12" fmla="*/ 13193 h 9525"/>
                <a:gd name="connsiteX13" fmla="*/ 5812 w 28575"/>
                <a:gd name="connsiteY13" fmla="*/ 9502 h 9525"/>
                <a:gd name="connsiteX14" fmla="*/ 9498 w 28575"/>
                <a:gd name="connsiteY14" fmla="*/ 5812 h 9525"/>
                <a:gd name="connsiteX15" fmla="*/ 9498 w 28575"/>
                <a:gd name="connsiteY15"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575" h="9525">
                  <a:moveTo>
                    <a:pt x="9498" y="5812"/>
                  </a:moveTo>
                  <a:lnTo>
                    <a:pt x="16880" y="5812"/>
                  </a:lnTo>
                  <a:lnTo>
                    <a:pt x="24262" y="5812"/>
                  </a:lnTo>
                  <a:lnTo>
                    <a:pt x="31634" y="9502"/>
                  </a:lnTo>
                  <a:lnTo>
                    <a:pt x="31634" y="13193"/>
                  </a:lnTo>
                  <a:lnTo>
                    <a:pt x="31634" y="9502"/>
                  </a:lnTo>
                  <a:lnTo>
                    <a:pt x="24262" y="9502"/>
                  </a:lnTo>
                  <a:lnTo>
                    <a:pt x="16880" y="9502"/>
                  </a:lnTo>
                  <a:lnTo>
                    <a:pt x="13194" y="9502"/>
                  </a:lnTo>
                  <a:lnTo>
                    <a:pt x="13194" y="9502"/>
                  </a:lnTo>
                  <a:lnTo>
                    <a:pt x="9498" y="9502"/>
                  </a:lnTo>
                  <a:lnTo>
                    <a:pt x="5812" y="13193"/>
                  </a:lnTo>
                  <a:lnTo>
                    <a:pt x="5812" y="13193"/>
                  </a:lnTo>
                  <a:lnTo>
                    <a:pt x="5812" y="9502"/>
                  </a:lnTo>
                  <a:lnTo>
                    <a:pt x="9498" y="5812"/>
                  </a:lnTo>
                  <a:lnTo>
                    <a:pt x="9498" y="5812"/>
                  </a:lnTo>
                  <a:close/>
                </a:path>
              </a:pathLst>
            </a:custGeom>
            <a:solidFill>
              <a:srgbClr val="BF211E"/>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85" name="Freeform: Shape 284">
              <a:extLst>
                <a:ext uri="{FF2B5EF4-FFF2-40B4-BE49-F238E27FC236}">
                  <a16:creationId xmlns:a16="http://schemas.microsoft.com/office/drawing/2014/main" id="{6D658AF6-F7C1-4E78-B289-05F440A9C32B}"/>
                </a:ext>
              </a:extLst>
            </p:cNvPr>
            <p:cNvSpPr/>
            <p:nvPr/>
          </p:nvSpPr>
          <p:spPr>
            <a:xfrm>
              <a:off x="6490226" y="2645611"/>
              <a:ext cx="30745" cy="15373"/>
            </a:xfrm>
            <a:custGeom>
              <a:avLst/>
              <a:gdLst>
                <a:gd name="connsiteX0" fmla="*/ 5812 w 19050"/>
                <a:gd name="connsiteY0" fmla="*/ 5812 h 9525"/>
                <a:gd name="connsiteX1" fmla="*/ 9498 w 19050"/>
                <a:gd name="connsiteY1" fmla="*/ 9503 h 9525"/>
                <a:gd name="connsiteX2" fmla="*/ 9498 w 19050"/>
                <a:gd name="connsiteY2" fmla="*/ 5812 h 9525"/>
                <a:gd name="connsiteX3" fmla="*/ 9498 w 19050"/>
                <a:gd name="connsiteY3" fmla="*/ 5812 h 9525"/>
                <a:gd name="connsiteX4" fmla="*/ 16879 w 19050"/>
                <a:gd name="connsiteY4" fmla="*/ 9503 h 9525"/>
                <a:gd name="connsiteX5" fmla="*/ 16879 w 19050"/>
                <a:gd name="connsiteY5" fmla="*/ 9503 h 9525"/>
                <a:gd name="connsiteX6" fmla="*/ 16879 w 19050"/>
                <a:gd name="connsiteY6" fmla="*/ 13192 h 9525"/>
                <a:gd name="connsiteX7" fmla="*/ 16879 w 19050"/>
                <a:gd name="connsiteY7" fmla="*/ 13192 h 9525"/>
                <a:gd name="connsiteX8" fmla="*/ 13184 w 19050"/>
                <a:gd name="connsiteY8" fmla="*/ 13192 h 9525"/>
                <a:gd name="connsiteX9" fmla="*/ 9498 w 19050"/>
                <a:gd name="connsiteY9" fmla="*/ 13192 h 9525"/>
                <a:gd name="connsiteX10" fmla="*/ 5812 w 19050"/>
                <a:gd name="connsiteY10" fmla="*/ 9503 h 9525"/>
                <a:gd name="connsiteX11" fmla="*/ 5812 w 19050"/>
                <a:gd name="connsiteY11" fmla="*/ 5812 h 9525"/>
                <a:gd name="connsiteX12" fmla="*/ 5812 w 19050"/>
                <a:gd name="connsiteY12"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 h="9525">
                  <a:moveTo>
                    <a:pt x="5812" y="5812"/>
                  </a:moveTo>
                  <a:lnTo>
                    <a:pt x="9498" y="9503"/>
                  </a:lnTo>
                  <a:lnTo>
                    <a:pt x="9498" y="5812"/>
                  </a:lnTo>
                  <a:lnTo>
                    <a:pt x="9498" y="5812"/>
                  </a:lnTo>
                  <a:lnTo>
                    <a:pt x="16879" y="9503"/>
                  </a:lnTo>
                  <a:lnTo>
                    <a:pt x="16879" y="9503"/>
                  </a:lnTo>
                  <a:lnTo>
                    <a:pt x="16879" y="13192"/>
                  </a:lnTo>
                  <a:lnTo>
                    <a:pt x="16879" y="13192"/>
                  </a:lnTo>
                  <a:lnTo>
                    <a:pt x="13184" y="13192"/>
                  </a:lnTo>
                  <a:lnTo>
                    <a:pt x="9498" y="13192"/>
                  </a:lnTo>
                  <a:lnTo>
                    <a:pt x="5812" y="9503"/>
                  </a:lnTo>
                  <a:lnTo>
                    <a:pt x="5812" y="5812"/>
                  </a:lnTo>
                  <a:lnTo>
                    <a:pt x="5812" y="5812"/>
                  </a:lnTo>
                  <a:close/>
                </a:path>
              </a:pathLst>
            </a:custGeom>
            <a:solidFill>
              <a:srgbClr val="BF211E"/>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35" name="Freeform: Shape 234">
              <a:extLst>
                <a:ext uri="{FF2B5EF4-FFF2-40B4-BE49-F238E27FC236}">
                  <a16:creationId xmlns:a16="http://schemas.microsoft.com/office/drawing/2014/main" id="{D898DBFE-76CB-43AF-BDD8-5FCCF2D22890}"/>
                </a:ext>
              </a:extLst>
            </p:cNvPr>
            <p:cNvSpPr/>
            <p:nvPr/>
          </p:nvSpPr>
          <p:spPr>
            <a:xfrm>
              <a:off x="6448551" y="2865994"/>
              <a:ext cx="768634" cy="768633"/>
            </a:xfrm>
            <a:custGeom>
              <a:avLst/>
              <a:gdLst>
                <a:gd name="connsiteX0" fmla="*/ 168137 w 476250"/>
                <a:gd name="connsiteY0" fmla="*/ 5812 h 476250"/>
                <a:gd name="connsiteX1" fmla="*/ 160755 w 476250"/>
                <a:gd name="connsiteY1" fmla="*/ 9502 h 476250"/>
                <a:gd name="connsiteX2" fmla="*/ 157068 w 476250"/>
                <a:gd name="connsiteY2" fmla="*/ 13192 h 476250"/>
                <a:gd name="connsiteX3" fmla="*/ 157068 w 476250"/>
                <a:gd name="connsiteY3" fmla="*/ 16882 h 476250"/>
                <a:gd name="connsiteX4" fmla="*/ 149687 w 476250"/>
                <a:gd name="connsiteY4" fmla="*/ 20573 h 476250"/>
                <a:gd name="connsiteX5" fmla="*/ 142305 w 476250"/>
                <a:gd name="connsiteY5" fmla="*/ 24264 h 476250"/>
                <a:gd name="connsiteX6" fmla="*/ 138619 w 476250"/>
                <a:gd name="connsiteY6" fmla="*/ 27954 h 476250"/>
                <a:gd name="connsiteX7" fmla="*/ 138619 w 476250"/>
                <a:gd name="connsiteY7" fmla="*/ 31645 h 476250"/>
                <a:gd name="connsiteX8" fmla="*/ 134932 w 476250"/>
                <a:gd name="connsiteY8" fmla="*/ 35335 h 476250"/>
                <a:gd name="connsiteX9" fmla="*/ 131237 w 476250"/>
                <a:gd name="connsiteY9" fmla="*/ 42717 h 476250"/>
                <a:gd name="connsiteX10" fmla="*/ 127550 w 476250"/>
                <a:gd name="connsiteY10" fmla="*/ 46407 h 476250"/>
                <a:gd name="connsiteX11" fmla="*/ 127550 w 476250"/>
                <a:gd name="connsiteY11" fmla="*/ 50098 h 476250"/>
                <a:gd name="connsiteX12" fmla="*/ 120169 w 476250"/>
                <a:gd name="connsiteY12" fmla="*/ 68551 h 476250"/>
                <a:gd name="connsiteX13" fmla="*/ 120169 w 476250"/>
                <a:gd name="connsiteY13" fmla="*/ 72242 h 476250"/>
                <a:gd name="connsiteX14" fmla="*/ 120169 w 476250"/>
                <a:gd name="connsiteY14" fmla="*/ 83313 h 476250"/>
                <a:gd name="connsiteX15" fmla="*/ 116482 w 476250"/>
                <a:gd name="connsiteY15" fmla="*/ 83313 h 476250"/>
                <a:gd name="connsiteX16" fmla="*/ 112796 w 476250"/>
                <a:gd name="connsiteY16" fmla="*/ 98075 h 476250"/>
                <a:gd name="connsiteX17" fmla="*/ 109110 w 476250"/>
                <a:gd name="connsiteY17" fmla="*/ 98075 h 476250"/>
                <a:gd name="connsiteX18" fmla="*/ 98042 w 476250"/>
                <a:gd name="connsiteY18" fmla="*/ 94385 h 476250"/>
                <a:gd name="connsiteX19" fmla="*/ 94346 w 476250"/>
                <a:gd name="connsiteY19" fmla="*/ 101765 h 476250"/>
                <a:gd name="connsiteX20" fmla="*/ 105414 w 476250"/>
                <a:gd name="connsiteY20" fmla="*/ 109147 h 476250"/>
                <a:gd name="connsiteX21" fmla="*/ 116482 w 476250"/>
                <a:gd name="connsiteY21" fmla="*/ 109147 h 476250"/>
                <a:gd name="connsiteX22" fmla="*/ 123864 w 476250"/>
                <a:gd name="connsiteY22" fmla="*/ 112837 h 476250"/>
                <a:gd name="connsiteX23" fmla="*/ 120169 w 476250"/>
                <a:gd name="connsiteY23" fmla="*/ 123909 h 476250"/>
                <a:gd name="connsiteX24" fmla="*/ 120169 w 476250"/>
                <a:gd name="connsiteY24" fmla="*/ 134981 h 476250"/>
                <a:gd name="connsiteX25" fmla="*/ 120169 w 476250"/>
                <a:gd name="connsiteY25" fmla="*/ 138672 h 476250"/>
                <a:gd name="connsiteX26" fmla="*/ 127550 w 476250"/>
                <a:gd name="connsiteY26" fmla="*/ 149743 h 476250"/>
                <a:gd name="connsiteX27" fmla="*/ 142305 w 476250"/>
                <a:gd name="connsiteY27" fmla="*/ 171887 h 476250"/>
                <a:gd name="connsiteX28" fmla="*/ 146000 w 476250"/>
                <a:gd name="connsiteY28" fmla="*/ 179268 h 476250"/>
                <a:gd name="connsiteX29" fmla="*/ 149687 w 476250"/>
                <a:gd name="connsiteY29" fmla="*/ 186649 h 476250"/>
                <a:gd name="connsiteX30" fmla="*/ 153373 w 476250"/>
                <a:gd name="connsiteY30" fmla="*/ 190339 h 476250"/>
                <a:gd name="connsiteX31" fmla="*/ 142305 w 476250"/>
                <a:gd name="connsiteY31" fmla="*/ 208792 h 476250"/>
                <a:gd name="connsiteX32" fmla="*/ 142305 w 476250"/>
                <a:gd name="connsiteY32" fmla="*/ 212483 h 476250"/>
                <a:gd name="connsiteX33" fmla="*/ 138619 w 476250"/>
                <a:gd name="connsiteY33" fmla="*/ 216173 h 476250"/>
                <a:gd name="connsiteX34" fmla="*/ 134932 w 476250"/>
                <a:gd name="connsiteY34" fmla="*/ 219864 h 476250"/>
                <a:gd name="connsiteX35" fmla="*/ 123864 w 476250"/>
                <a:gd name="connsiteY35" fmla="*/ 230936 h 476250"/>
                <a:gd name="connsiteX36" fmla="*/ 109110 w 476250"/>
                <a:gd name="connsiteY36" fmla="*/ 242008 h 476250"/>
                <a:gd name="connsiteX37" fmla="*/ 94346 w 476250"/>
                <a:gd name="connsiteY37" fmla="*/ 227245 h 476250"/>
                <a:gd name="connsiteX38" fmla="*/ 83278 w 476250"/>
                <a:gd name="connsiteY38" fmla="*/ 227245 h 476250"/>
                <a:gd name="connsiteX39" fmla="*/ 72210 w 476250"/>
                <a:gd name="connsiteY39" fmla="*/ 223555 h 476250"/>
                <a:gd name="connsiteX40" fmla="*/ 64838 w 476250"/>
                <a:gd name="connsiteY40" fmla="*/ 227245 h 476250"/>
                <a:gd name="connsiteX41" fmla="*/ 64838 w 476250"/>
                <a:gd name="connsiteY41" fmla="*/ 230936 h 476250"/>
                <a:gd name="connsiteX42" fmla="*/ 64838 w 476250"/>
                <a:gd name="connsiteY42" fmla="*/ 234627 h 476250"/>
                <a:gd name="connsiteX43" fmla="*/ 57456 w 476250"/>
                <a:gd name="connsiteY43" fmla="*/ 238317 h 476250"/>
                <a:gd name="connsiteX44" fmla="*/ 46388 w 476250"/>
                <a:gd name="connsiteY44" fmla="*/ 253080 h 476250"/>
                <a:gd name="connsiteX45" fmla="*/ 42702 w 476250"/>
                <a:gd name="connsiteY45" fmla="*/ 256770 h 476250"/>
                <a:gd name="connsiteX46" fmla="*/ 39006 w 476250"/>
                <a:gd name="connsiteY46" fmla="*/ 260461 h 476250"/>
                <a:gd name="connsiteX47" fmla="*/ 24252 w 476250"/>
                <a:gd name="connsiteY47" fmla="*/ 267841 h 476250"/>
                <a:gd name="connsiteX48" fmla="*/ 16879 w 476250"/>
                <a:gd name="connsiteY48" fmla="*/ 275222 h 476250"/>
                <a:gd name="connsiteX49" fmla="*/ 5812 w 476250"/>
                <a:gd name="connsiteY49" fmla="*/ 282603 h 476250"/>
                <a:gd name="connsiteX50" fmla="*/ 9498 w 476250"/>
                <a:gd name="connsiteY50" fmla="*/ 289985 h 476250"/>
                <a:gd name="connsiteX51" fmla="*/ 9498 w 476250"/>
                <a:gd name="connsiteY51" fmla="*/ 293675 h 476250"/>
                <a:gd name="connsiteX52" fmla="*/ 20566 w 476250"/>
                <a:gd name="connsiteY52" fmla="*/ 304747 h 476250"/>
                <a:gd name="connsiteX53" fmla="*/ 24252 w 476250"/>
                <a:gd name="connsiteY53" fmla="*/ 308438 h 476250"/>
                <a:gd name="connsiteX54" fmla="*/ 31634 w 476250"/>
                <a:gd name="connsiteY54" fmla="*/ 315819 h 476250"/>
                <a:gd name="connsiteX55" fmla="*/ 35320 w 476250"/>
                <a:gd name="connsiteY55" fmla="*/ 319510 h 476250"/>
                <a:gd name="connsiteX56" fmla="*/ 39006 w 476250"/>
                <a:gd name="connsiteY56" fmla="*/ 323200 h 476250"/>
                <a:gd name="connsiteX57" fmla="*/ 42702 w 476250"/>
                <a:gd name="connsiteY57" fmla="*/ 330581 h 476250"/>
                <a:gd name="connsiteX58" fmla="*/ 46388 w 476250"/>
                <a:gd name="connsiteY58" fmla="*/ 330581 h 476250"/>
                <a:gd name="connsiteX59" fmla="*/ 42702 w 476250"/>
                <a:gd name="connsiteY59" fmla="*/ 337963 h 476250"/>
                <a:gd name="connsiteX60" fmla="*/ 39006 w 476250"/>
                <a:gd name="connsiteY60" fmla="*/ 341653 h 476250"/>
                <a:gd name="connsiteX61" fmla="*/ 31634 w 476250"/>
                <a:gd name="connsiteY61" fmla="*/ 349034 h 476250"/>
                <a:gd name="connsiteX62" fmla="*/ 31634 w 476250"/>
                <a:gd name="connsiteY62" fmla="*/ 352724 h 476250"/>
                <a:gd name="connsiteX63" fmla="*/ 27948 w 476250"/>
                <a:gd name="connsiteY63" fmla="*/ 352724 h 476250"/>
                <a:gd name="connsiteX64" fmla="*/ 24252 w 476250"/>
                <a:gd name="connsiteY64" fmla="*/ 356415 h 476250"/>
                <a:gd name="connsiteX65" fmla="*/ 13184 w 476250"/>
                <a:gd name="connsiteY65" fmla="*/ 360105 h 476250"/>
                <a:gd name="connsiteX66" fmla="*/ 9498 w 476250"/>
                <a:gd name="connsiteY66" fmla="*/ 363796 h 476250"/>
                <a:gd name="connsiteX67" fmla="*/ 5812 w 476250"/>
                <a:gd name="connsiteY67" fmla="*/ 363796 h 476250"/>
                <a:gd name="connsiteX68" fmla="*/ 5812 w 476250"/>
                <a:gd name="connsiteY68" fmla="*/ 367486 h 476250"/>
                <a:gd name="connsiteX69" fmla="*/ 9498 w 476250"/>
                <a:gd name="connsiteY69" fmla="*/ 374868 h 476250"/>
                <a:gd name="connsiteX70" fmla="*/ 13184 w 476250"/>
                <a:gd name="connsiteY70" fmla="*/ 382249 h 476250"/>
                <a:gd name="connsiteX71" fmla="*/ 16879 w 476250"/>
                <a:gd name="connsiteY71" fmla="*/ 389630 h 476250"/>
                <a:gd name="connsiteX72" fmla="*/ 16879 w 476250"/>
                <a:gd name="connsiteY72" fmla="*/ 393321 h 476250"/>
                <a:gd name="connsiteX73" fmla="*/ 16879 w 476250"/>
                <a:gd name="connsiteY73" fmla="*/ 397011 h 476250"/>
                <a:gd name="connsiteX74" fmla="*/ 24252 w 476250"/>
                <a:gd name="connsiteY74" fmla="*/ 408083 h 476250"/>
                <a:gd name="connsiteX75" fmla="*/ 24252 w 476250"/>
                <a:gd name="connsiteY75" fmla="*/ 411774 h 476250"/>
                <a:gd name="connsiteX76" fmla="*/ 31634 w 476250"/>
                <a:gd name="connsiteY76" fmla="*/ 415464 h 476250"/>
                <a:gd name="connsiteX77" fmla="*/ 31634 w 476250"/>
                <a:gd name="connsiteY77" fmla="*/ 419155 h 476250"/>
                <a:gd name="connsiteX78" fmla="*/ 27948 w 476250"/>
                <a:gd name="connsiteY78" fmla="*/ 422846 h 476250"/>
                <a:gd name="connsiteX79" fmla="*/ 39006 w 476250"/>
                <a:gd name="connsiteY79" fmla="*/ 426536 h 476250"/>
                <a:gd name="connsiteX80" fmla="*/ 35320 w 476250"/>
                <a:gd name="connsiteY80" fmla="*/ 422846 h 476250"/>
                <a:gd name="connsiteX81" fmla="*/ 39006 w 476250"/>
                <a:gd name="connsiteY81" fmla="*/ 419155 h 476250"/>
                <a:gd name="connsiteX82" fmla="*/ 39006 w 476250"/>
                <a:gd name="connsiteY82" fmla="*/ 422846 h 476250"/>
                <a:gd name="connsiteX83" fmla="*/ 42702 w 476250"/>
                <a:gd name="connsiteY83" fmla="*/ 426536 h 476250"/>
                <a:gd name="connsiteX84" fmla="*/ 42702 w 476250"/>
                <a:gd name="connsiteY84" fmla="*/ 422846 h 476250"/>
                <a:gd name="connsiteX85" fmla="*/ 46388 w 476250"/>
                <a:gd name="connsiteY85" fmla="*/ 419155 h 476250"/>
                <a:gd name="connsiteX86" fmla="*/ 50074 w 476250"/>
                <a:gd name="connsiteY86" fmla="*/ 419155 h 476250"/>
                <a:gd name="connsiteX87" fmla="*/ 53770 w 476250"/>
                <a:gd name="connsiteY87" fmla="*/ 419155 h 476250"/>
                <a:gd name="connsiteX88" fmla="*/ 57456 w 476250"/>
                <a:gd name="connsiteY88" fmla="*/ 419155 h 476250"/>
                <a:gd name="connsiteX89" fmla="*/ 57456 w 476250"/>
                <a:gd name="connsiteY89" fmla="*/ 422846 h 476250"/>
                <a:gd name="connsiteX90" fmla="*/ 61142 w 476250"/>
                <a:gd name="connsiteY90" fmla="*/ 422846 h 476250"/>
                <a:gd name="connsiteX91" fmla="*/ 64838 w 476250"/>
                <a:gd name="connsiteY91" fmla="*/ 422846 h 476250"/>
                <a:gd name="connsiteX92" fmla="*/ 68524 w 476250"/>
                <a:gd name="connsiteY92" fmla="*/ 422846 h 476250"/>
                <a:gd name="connsiteX93" fmla="*/ 68524 w 476250"/>
                <a:gd name="connsiteY93" fmla="*/ 426536 h 476250"/>
                <a:gd name="connsiteX94" fmla="*/ 72210 w 476250"/>
                <a:gd name="connsiteY94" fmla="*/ 430227 h 476250"/>
                <a:gd name="connsiteX95" fmla="*/ 75906 w 476250"/>
                <a:gd name="connsiteY95" fmla="*/ 430227 h 476250"/>
                <a:gd name="connsiteX96" fmla="*/ 75906 w 476250"/>
                <a:gd name="connsiteY96" fmla="*/ 433917 h 476250"/>
                <a:gd name="connsiteX97" fmla="*/ 79592 w 476250"/>
                <a:gd name="connsiteY97" fmla="*/ 433917 h 476250"/>
                <a:gd name="connsiteX98" fmla="*/ 83278 w 476250"/>
                <a:gd name="connsiteY98" fmla="*/ 433917 h 476250"/>
                <a:gd name="connsiteX99" fmla="*/ 83278 w 476250"/>
                <a:gd name="connsiteY99" fmla="*/ 430227 h 476250"/>
                <a:gd name="connsiteX100" fmla="*/ 86974 w 476250"/>
                <a:gd name="connsiteY100" fmla="*/ 430227 h 476250"/>
                <a:gd name="connsiteX101" fmla="*/ 86974 w 476250"/>
                <a:gd name="connsiteY101" fmla="*/ 433917 h 476250"/>
                <a:gd name="connsiteX102" fmla="*/ 90660 w 476250"/>
                <a:gd name="connsiteY102" fmla="*/ 433917 h 476250"/>
                <a:gd name="connsiteX103" fmla="*/ 94346 w 476250"/>
                <a:gd name="connsiteY103" fmla="*/ 433917 h 476250"/>
                <a:gd name="connsiteX104" fmla="*/ 98042 w 476250"/>
                <a:gd name="connsiteY104" fmla="*/ 433917 h 476250"/>
                <a:gd name="connsiteX105" fmla="*/ 101728 w 476250"/>
                <a:gd name="connsiteY105" fmla="*/ 430227 h 476250"/>
                <a:gd name="connsiteX106" fmla="*/ 105414 w 476250"/>
                <a:gd name="connsiteY106" fmla="*/ 430227 h 476250"/>
                <a:gd name="connsiteX107" fmla="*/ 109110 w 476250"/>
                <a:gd name="connsiteY107" fmla="*/ 430227 h 476250"/>
                <a:gd name="connsiteX108" fmla="*/ 109110 w 476250"/>
                <a:gd name="connsiteY108" fmla="*/ 433917 h 476250"/>
                <a:gd name="connsiteX109" fmla="*/ 105414 w 476250"/>
                <a:gd name="connsiteY109" fmla="*/ 433917 h 476250"/>
                <a:gd name="connsiteX110" fmla="*/ 105414 w 476250"/>
                <a:gd name="connsiteY110" fmla="*/ 437607 h 476250"/>
                <a:gd name="connsiteX111" fmla="*/ 109110 w 476250"/>
                <a:gd name="connsiteY111" fmla="*/ 437607 h 476250"/>
                <a:gd name="connsiteX112" fmla="*/ 109110 w 476250"/>
                <a:gd name="connsiteY112" fmla="*/ 441298 h 476250"/>
                <a:gd name="connsiteX113" fmla="*/ 112796 w 476250"/>
                <a:gd name="connsiteY113" fmla="*/ 444988 h 476250"/>
                <a:gd name="connsiteX114" fmla="*/ 116482 w 476250"/>
                <a:gd name="connsiteY114" fmla="*/ 444988 h 476250"/>
                <a:gd name="connsiteX115" fmla="*/ 120169 w 476250"/>
                <a:gd name="connsiteY115" fmla="*/ 448679 h 476250"/>
                <a:gd name="connsiteX116" fmla="*/ 123864 w 476250"/>
                <a:gd name="connsiteY116" fmla="*/ 448679 h 476250"/>
                <a:gd name="connsiteX117" fmla="*/ 123864 w 476250"/>
                <a:gd name="connsiteY117" fmla="*/ 452370 h 476250"/>
                <a:gd name="connsiteX118" fmla="*/ 123864 w 476250"/>
                <a:gd name="connsiteY118" fmla="*/ 456060 h 476250"/>
                <a:gd name="connsiteX119" fmla="*/ 127550 w 476250"/>
                <a:gd name="connsiteY119" fmla="*/ 456060 h 476250"/>
                <a:gd name="connsiteX120" fmla="*/ 127550 w 476250"/>
                <a:gd name="connsiteY120" fmla="*/ 459751 h 476250"/>
                <a:gd name="connsiteX121" fmla="*/ 131237 w 476250"/>
                <a:gd name="connsiteY121" fmla="*/ 463441 h 476250"/>
                <a:gd name="connsiteX122" fmla="*/ 131237 w 476250"/>
                <a:gd name="connsiteY122" fmla="*/ 470823 h 476250"/>
                <a:gd name="connsiteX123" fmla="*/ 134932 w 476250"/>
                <a:gd name="connsiteY123" fmla="*/ 474513 h 476250"/>
                <a:gd name="connsiteX124" fmla="*/ 138619 w 476250"/>
                <a:gd name="connsiteY124" fmla="*/ 474513 h 476250"/>
                <a:gd name="connsiteX125" fmla="*/ 138619 w 476250"/>
                <a:gd name="connsiteY125" fmla="*/ 470823 h 476250"/>
                <a:gd name="connsiteX126" fmla="*/ 142305 w 476250"/>
                <a:gd name="connsiteY126" fmla="*/ 470823 h 476250"/>
                <a:gd name="connsiteX127" fmla="*/ 146000 w 476250"/>
                <a:gd name="connsiteY127" fmla="*/ 470823 h 476250"/>
                <a:gd name="connsiteX128" fmla="*/ 146000 w 476250"/>
                <a:gd name="connsiteY128" fmla="*/ 467132 h 476250"/>
                <a:gd name="connsiteX129" fmla="*/ 149687 w 476250"/>
                <a:gd name="connsiteY129" fmla="*/ 467132 h 476250"/>
                <a:gd name="connsiteX130" fmla="*/ 149687 w 476250"/>
                <a:gd name="connsiteY130" fmla="*/ 470823 h 476250"/>
                <a:gd name="connsiteX131" fmla="*/ 153373 w 476250"/>
                <a:gd name="connsiteY131" fmla="*/ 470823 h 476250"/>
                <a:gd name="connsiteX132" fmla="*/ 153373 w 476250"/>
                <a:gd name="connsiteY132" fmla="*/ 467132 h 476250"/>
                <a:gd name="connsiteX133" fmla="*/ 157068 w 476250"/>
                <a:gd name="connsiteY133" fmla="*/ 463441 h 476250"/>
                <a:gd name="connsiteX134" fmla="*/ 160755 w 476250"/>
                <a:gd name="connsiteY134" fmla="*/ 463441 h 476250"/>
                <a:gd name="connsiteX135" fmla="*/ 160755 w 476250"/>
                <a:gd name="connsiteY135" fmla="*/ 467132 h 476250"/>
                <a:gd name="connsiteX136" fmla="*/ 160755 w 476250"/>
                <a:gd name="connsiteY136" fmla="*/ 470823 h 476250"/>
                <a:gd name="connsiteX137" fmla="*/ 164441 w 476250"/>
                <a:gd name="connsiteY137" fmla="*/ 470823 h 476250"/>
                <a:gd name="connsiteX138" fmla="*/ 168137 w 476250"/>
                <a:gd name="connsiteY138" fmla="*/ 474513 h 476250"/>
                <a:gd name="connsiteX139" fmla="*/ 171823 w 476250"/>
                <a:gd name="connsiteY139" fmla="*/ 470823 h 476250"/>
                <a:gd name="connsiteX140" fmla="*/ 175509 w 476250"/>
                <a:gd name="connsiteY140" fmla="*/ 467132 h 476250"/>
                <a:gd name="connsiteX141" fmla="*/ 175509 w 476250"/>
                <a:gd name="connsiteY141" fmla="*/ 463441 h 476250"/>
                <a:gd name="connsiteX142" fmla="*/ 179205 w 476250"/>
                <a:gd name="connsiteY142" fmla="*/ 467132 h 476250"/>
                <a:gd name="connsiteX143" fmla="*/ 182891 w 476250"/>
                <a:gd name="connsiteY143" fmla="*/ 470823 h 476250"/>
                <a:gd name="connsiteX144" fmla="*/ 190263 w 476250"/>
                <a:gd name="connsiteY144" fmla="*/ 470823 h 476250"/>
                <a:gd name="connsiteX145" fmla="*/ 193959 w 476250"/>
                <a:gd name="connsiteY145" fmla="*/ 470823 h 476250"/>
                <a:gd name="connsiteX146" fmla="*/ 197645 w 476250"/>
                <a:gd name="connsiteY146" fmla="*/ 474513 h 476250"/>
                <a:gd name="connsiteX147" fmla="*/ 201331 w 476250"/>
                <a:gd name="connsiteY147" fmla="*/ 474513 h 476250"/>
                <a:gd name="connsiteX148" fmla="*/ 201331 w 476250"/>
                <a:gd name="connsiteY148" fmla="*/ 470823 h 476250"/>
                <a:gd name="connsiteX149" fmla="*/ 197645 w 476250"/>
                <a:gd name="connsiteY149" fmla="*/ 448679 h 476250"/>
                <a:gd name="connsiteX150" fmla="*/ 205027 w 476250"/>
                <a:gd name="connsiteY150" fmla="*/ 441298 h 476250"/>
                <a:gd name="connsiteX151" fmla="*/ 212399 w 476250"/>
                <a:gd name="connsiteY151" fmla="*/ 433917 h 476250"/>
                <a:gd name="connsiteX152" fmla="*/ 216095 w 476250"/>
                <a:gd name="connsiteY152" fmla="*/ 430227 h 476250"/>
                <a:gd name="connsiteX153" fmla="*/ 230849 w 476250"/>
                <a:gd name="connsiteY153" fmla="*/ 430227 h 476250"/>
                <a:gd name="connsiteX154" fmla="*/ 241917 w 476250"/>
                <a:gd name="connsiteY154" fmla="*/ 426536 h 476250"/>
                <a:gd name="connsiteX155" fmla="*/ 245603 w 476250"/>
                <a:gd name="connsiteY155" fmla="*/ 426536 h 476250"/>
                <a:gd name="connsiteX156" fmla="*/ 245603 w 476250"/>
                <a:gd name="connsiteY156" fmla="*/ 422846 h 476250"/>
                <a:gd name="connsiteX157" fmla="*/ 252985 w 476250"/>
                <a:gd name="connsiteY157" fmla="*/ 426536 h 476250"/>
                <a:gd name="connsiteX158" fmla="*/ 260358 w 476250"/>
                <a:gd name="connsiteY158" fmla="*/ 430227 h 476250"/>
                <a:gd name="connsiteX159" fmla="*/ 267739 w 476250"/>
                <a:gd name="connsiteY159" fmla="*/ 433917 h 476250"/>
                <a:gd name="connsiteX160" fmla="*/ 282494 w 476250"/>
                <a:gd name="connsiteY160" fmla="*/ 441298 h 476250"/>
                <a:gd name="connsiteX161" fmla="*/ 289876 w 476250"/>
                <a:gd name="connsiteY161" fmla="*/ 441298 h 476250"/>
                <a:gd name="connsiteX162" fmla="*/ 293562 w 476250"/>
                <a:gd name="connsiteY162" fmla="*/ 444988 h 476250"/>
                <a:gd name="connsiteX163" fmla="*/ 289876 w 476250"/>
                <a:gd name="connsiteY163" fmla="*/ 448679 h 476250"/>
                <a:gd name="connsiteX164" fmla="*/ 289876 w 476250"/>
                <a:gd name="connsiteY164" fmla="*/ 452370 h 476250"/>
                <a:gd name="connsiteX165" fmla="*/ 289876 w 476250"/>
                <a:gd name="connsiteY165" fmla="*/ 456060 h 476250"/>
                <a:gd name="connsiteX166" fmla="*/ 289876 w 476250"/>
                <a:gd name="connsiteY166" fmla="*/ 459751 h 476250"/>
                <a:gd name="connsiteX167" fmla="*/ 293562 w 476250"/>
                <a:gd name="connsiteY167" fmla="*/ 459751 h 476250"/>
                <a:gd name="connsiteX168" fmla="*/ 297257 w 476250"/>
                <a:gd name="connsiteY168" fmla="*/ 456060 h 476250"/>
                <a:gd name="connsiteX169" fmla="*/ 300944 w 476250"/>
                <a:gd name="connsiteY169" fmla="*/ 456060 h 476250"/>
                <a:gd name="connsiteX170" fmla="*/ 304630 w 476250"/>
                <a:gd name="connsiteY170" fmla="*/ 452370 h 476250"/>
                <a:gd name="connsiteX171" fmla="*/ 308326 w 476250"/>
                <a:gd name="connsiteY171" fmla="*/ 444988 h 476250"/>
                <a:gd name="connsiteX172" fmla="*/ 315698 w 476250"/>
                <a:gd name="connsiteY172" fmla="*/ 444988 h 476250"/>
                <a:gd name="connsiteX173" fmla="*/ 319394 w 476250"/>
                <a:gd name="connsiteY173" fmla="*/ 444988 h 476250"/>
                <a:gd name="connsiteX174" fmla="*/ 323080 w 476250"/>
                <a:gd name="connsiteY174" fmla="*/ 441298 h 476250"/>
                <a:gd name="connsiteX175" fmla="*/ 326766 w 476250"/>
                <a:gd name="connsiteY175" fmla="*/ 441298 h 476250"/>
                <a:gd name="connsiteX176" fmla="*/ 330452 w 476250"/>
                <a:gd name="connsiteY176" fmla="*/ 441298 h 476250"/>
                <a:gd name="connsiteX177" fmla="*/ 334148 w 476250"/>
                <a:gd name="connsiteY177" fmla="*/ 441298 h 476250"/>
                <a:gd name="connsiteX178" fmla="*/ 337834 w 476250"/>
                <a:gd name="connsiteY178" fmla="*/ 441298 h 476250"/>
                <a:gd name="connsiteX179" fmla="*/ 341520 w 476250"/>
                <a:gd name="connsiteY179" fmla="*/ 441298 h 476250"/>
                <a:gd name="connsiteX180" fmla="*/ 345216 w 476250"/>
                <a:gd name="connsiteY180" fmla="*/ 444988 h 476250"/>
                <a:gd name="connsiteX181" fmla="*/ 348902 w 476250"/>
                <a:gd name="connsiteY181" fmla="*/ 441298 h 476250"/>
                <a:gd name="connsiteX182" fmla="*/ 352588 w 476250"/>
                <a:gd name="connsiteY182" fmla="*/ 441298 h 476250"/>
                <a:gd name="connsiteX183" fmla="*/ 359970 w 476250"/>
                <a:gd name="connsiteY183" fmla="*/ 441298 h 476250"/>
                <a:gd name="connsiteX184" fmla="*/ 367352 w 476250"/>
                <a:gd name="connsiteY184" fmla="*/ 441298 h 476250"/>
                <a:gd name="connsiteX185" fmla="*/ 371038 w 476250"/>
                <a:gd name="connsiteY185" fmla="*/ 437607 h 476250"/>
                <a:gd name="connsiteX186" fmla="*/ 374724 w 476250"/>
                <a:gd name="connsiteY186" fmla="*/ 441298 h 476250"/>
                <a:gd name="connsiteX187" fmla="*/ 382106 w 476250"/>
                <a:gd name="connsiteY187" fmla="*/ 441298 h 476250"/>
                <a:gd name="connsiteX188" fmla="*/ 385792 w 476250"/>
                <a:gd name="connsiteY188" fmla="*/ 441298 h 476250"/>
                <a:gd name="connsiteX189" fmla="*/ 393174 w 476250"/>
                <a:gd name="connsiteY189" fmla="*/ 444988 h 476250"/>
                <a:gd name="connsiteX190" fmla="*/ 393174 w 476250"/>
                <a:gd name="connsiteY190" fmla="*/ 448679 h 476250"/>
                <a:gd name="connsiteX191" fmla="*/ 396860 w 476250"/>
                <a:gd name="connsiteY191" fmla="*/ 448679 h 476250"/>
                <a:gd name="connsiteX192" fmla="*/ 404242 w 476250"/>
                <a:gd name="connsiteY192" fmla="*/ 448679 h 476250"/>
                <a:gd name="connsiteX193" fmla="*/ 407928 w 476250"/>
                <a:gd name="connsiteY193" fmla="*/ 448679 h 476250"/>
                <a:gd name="connsiteX194" fmla="*/ 411615 w 476250"/>
                <a:gd name="connsiteY194" fmla="*/ 448679 h 476250"/>
                <a:gd name="connsiteX195" fmla="*/ 418997 w 476250"/>
                <a:gd name="connsiteY195" fmla="*/ 448679 h 476250"/>
                <a:gd name="connsiteX196" fmla="*/ 422683 w 476250"/>
                <a:gd name="connsiteY196" fmla="*/ 444988 h 476250"/>
                <a:gd name="connsiteX197" fmla="*/ 426378 w 476250"/>
                <a:gd name="connsiteY197" fmla="*/ 444988 h 476250"/>
                <a:gd name="connsiteX198" fmla="*/ 430064 w 476250"/>
                <a:gd name="connsiteY198" fmla="*/ 448679 h 476250"/>
                <a:gd name="connsiteX199" fmla="*/ 433751 w 476250"/>
                <a:gd name="connsiteY199" fmla="*/ 444988 h 476250"/>
                <a:gd name="connsiteX200" fmla="*/ 433751 w 476250"/>
                <a:gd name="connsiteY200" fmla="*/ 448679 h 476250"/>
                <a:gd name="connsiteX201" fmla="*/ 437446 w 476250"/>
                <a:gd name="connsiteY201" fmla="*/ 448679 h 476250"/>
                <a:gd name="connsiteX202" fmla="*/ 448514 w 476250"/>
                <a:gd name="connsiteY202" fmla="*/ 452370 h 476250"/>
                <a:gd name="connsiteX203" fmla="*/ 452201 w 476250"/>
                <a:gd name="connsiteY203" fmla="*/ 452370 h 476250"/>
                <a:gd name="connsiteX204" fmla="*/ 459583 w 476250"/>
                <a:gd name="connsiteY204" fmla="*/ 444988 h 476250"/>
                <a:gd name="connsiteX205" fmla="*/ 459583 w 476250"/>
                <a:gd name="connsiteY205" fmla="*/ 441298 h 476250"/>
                <a:gd name="connsiteX206" fmla="*/ 459583 w 476250"/>
                <a:gd name="connsiteY206" fmla="*/ 433917 h 476250"/>
                <a:gd name="connsiteX207" fmla="*/ 459583 w 476250"/>
                <a:gd name="connsiteY207" fmla="*/ 419155 h 476250"/>
                <a:gd name="connsiteX208" fmla="*/ 463269 w 476250"/>
                <a:gd name="connsiteY208" fmla="*/ 382249 h 476250"/>
                <a:gd name="connsiteX209" fmla="*/ 463269 w 476250"/>
                <a:gd name="connsiteY209" fmla="*/ 334272 h 476250"/>
                <a:gd name="connsiteX210" fmla="*/ 463269 w 476250"/>
                <a:gd name="connsiteY210" fmla="*/ 312128 h 476250"/>
                <a:gd name="connsiteX211" fmla="*/ 474337 w 476250"/>
                <a:gd name="connsiteY211" fmla="*/ 289985 h 476250"/>
                <a:gd name="connsiteX212" fmla="*/ 463269 w 476250"/>
                <a:gd name="connsiteY212" fmla="*/ 289985 h 476250"/>
                <a:gd name="connsiteX213" fmla="*/ 463269 w 476250"/>
                <a:gd name="connsiteY213" fmla="*/ 282603 h 476250"/>
                <a:gd name="connsiteX214" fmla="*/ 459583 w 476250"/>
                <a:gd name="connsiteY214" fmla="*/ 278913 h 476250"/>
                <a:gd name="connsiteX215" fmla="*/ 452201 w 476250"/>
                <a:gd name="connsiteY215" fmla="*/ 267841 h 476250"/>
                <a:gd name="connsiteX216" fmla="*/ 448514 w 476250"/>
                <a:gd name="connsiteY216" fmla="*/ 267841 h 476250"/>
                <a:gd name="connsiteX217" fmla="*/ 448514 w 476250"/>
                <a:gd name="connsiteY217" fmla="*/ 264151 h 476250"/>
                <a:gd name="connsiteX218" fmla="*/ 437446 w 476250"/>
                <a:gd name="connsiteY218" fmla="*/ 264151 h 476250"/>
                <a:gd name="connsiteX219" fmla="*/ 437446 w 476250"/>
                <a:gd name="connsiteY219" fmla="*/ 260461 h 476250"/>
                <a:gd name="connsiteX220" fmla="*/ 444819 w 476250"/>
                <a:gd name="connsiteY220" fmla="*/ 238317 h 476250"/>
                <a:gd name="connsiteX221" fmla="*/ 448514 w 476250"/>
                <a:gd name="connsiteY221" fmla="*/ 234627 h 476250"/>
                <a:gd name="connsiteX222" fmla="*/ 448514 w 476250"/>
                <a:gd name="connsiteY222" fmla="*/ 227245 h 476250"/>
                <a:gd name="connsiteX223" fmla="*/ 441133 w 476250"/>
                <a:gd name="connsiteY223" fmla="*/ 227245 h 476250"/>
                <a:gd name="connsiteX224" fmla="*/ 437446 w 476250"/>
                <a:gd name="connsiteY224" fmla="*/ 223555 h 476250"/>
                <a:gd name="connsiteX225" fmla="*/ 433751 w 476250"/>
                <a:gd name="connsiteY225" fmla="*/ 219864 h 476250"/>
                <a:gd name="connsiteX226" fmla="*/ 430064 w 476250"/>
                <a:gd name="connsiteY226" fmla="*/ 212483 h 476250"/>
                <a:gd name="connsiteX227" fmla="*/ 422683 w 476250"/>
                <a:gd name="connsiteY227" fmla="*/ 201411 h 476250"/>
                <a:gd name="connsiteX228" fmla="*/ 418997 w 476250"/>
                <a:gd name="connsiteY228" fmla="*/ 201411 h 476250"/>
                <a:gd name="connsiteX229" fmla="*/ 418997 w 476250"/>
                <a:gd name="connsiteY229" fmla="*/ 197720 h 476250"/>
                <a:gd name="connsiteX230" fmla="*/ 415310 w 476250"/>
                <a:gd name="connsiteY230" fmla="*/ 197720 h 476250"/>
                <a:gd name="connsiteX231" fmla="*/ 411615 w 476250"/>
                <a:gd name="connsiteY231" fmla="*/ 190339 h 476250"/>
                <a:gd name="connsiteX232" fmla="*/ 407928 w 476250"/>
                <a:gd name="connsiteY232" fmla="*/ 182958 h 476250"/>
                <a:gd name="connsiteX233" fmla="*/ 404242 w 476250"/>
                <a:gd name="connsiteY233" fmla="*/ 179268 h 476250"/>
                <a:gd name="connsiteX234" fmla="*/ 400546 w 476250"/>
                <a:gd name="connsiteY234" fmla="*/ 175578 h 476250"/>
                <a:gd name="connsiteX235" fmla="*/ 400546 w 476250"/>
                <a:gd name="connsiteY235" fmla="*/ 171887 h 476250"/>
                <a:gd name="connsiteX236" fmla="*/ 396860 w 476250"/>
                <a:gd name="connsiteY236" fmla="*/ 168196 h 476250"/>
                <a:gd name="connsiteX237" fmla="*/ 389488 w 476250"/>
                <a:gd name="connsiteY237" fmla="*/ 160815 h 476250"/>
                <a:gd name="connsiteX238" fmla="*/ 382106 w 476250"/>
                <a:gd name="connsiteY238" fmla="*/ 153434 h 476250"/>
                <a:gd name="connsiteX239" fmla="*/ 378420 w 476250"/>
                <a:gd name="connsiteY239" fmla="*/ 149743 h 476250"/>
                <a:gd name="connsiteX240" fmla="*/ 359970 w 476250"/>
                <a:gd name="connsiteY240" fmla="*/ 131290 h 476250"/>
                <a:gd name="connsiteX241" fmla="*/ 348902 w 476250"/>
                <a:gd name="connsiteY241" fmla="*/ 120219 h 476250"/>
                <a:gd name="connsiteX242" fmla="*/ 337834 w 476250"/>
                <a:gd name="connsiteY242" fmla="*/ 109147 h 476250"/>
                <a:gd name="connsiteX243" fmla="*/ 337834 w 476250"/>
                <a:gd name="connsiteY243" fmla="*/ 105456 h 476250"/>
                <a:gd name="connsiteX244" fmla="*/ 323080 w 476250"/>
                <a:gd name="connsiteY244" fmla="*/ 94385 h 476250"/>
                <a:gd name="connsiteX245" fmla="*/ 319394 w 476250"/>
                <a:gd name="connsiteY245" fmla="*/ 87004 h 476250"/>
                <a:gd name="connsiteX246" fmla="*/ 304630 w 476250"/>
                <a:gd name="connsiteY246" fmla="*/ 75932 h 476250"/>
                <a:gd name="connsiteX247" fmla="*/ 304630 w 476250"/>
                <a:gd name="connsiteY247" fmla="*/ 72242 h 476250"/>
                <a:gd name="connsiteX248" fmla="*/ 300944 w 476250"/>
                <a:gd name="connsiteY248" fmla="*/ 72242 h 476250"/>
                <a:gd name="connsiteX249" fmla="*/ 297257 w 476250"/>
                <a:gd name="connsiteY249" fmla="*/ 68551 h 476250"/>
                <a:gd name="connsiteX250" fmla="*/ 293562 w 476250"/>
                <a:gd name="connsiteY250" fmla="*/ 68551 h 476250"/>
                <a:gd name="connsiteX251" fmla="*/ 289876 w 476250"/>
                <a:gd name="connsiteY251" fmla="*/ 68551 h 476250"/>
                <a:gd name="connsiteX252" fmla="*/ 278808 w 476250"/>
                <a:gd name="connsiteY252" fmla="*/ 68551 h 476250"/>
                <a:gd name="connsiteX253" fmla="*/ 271426 w 476250"/>
                <a:gd name="connsiteY253" fmla="*/ 72242 h 476250"/>
                <a:gd name="connsiteX254" fmla="*/ 267739 w 476250"/>
                <a:gd name="connsiteY254" fmla="*/ 72242 h 476250"/>
                <a:gd name="connsiteX255" fmla="*/ 249299 w 476250"/>
                <a:gd name="connsiteY255" fmla="*/ 79623 h 476250"/>
                <a:gd name="connsiteX256" fmla="*/ 249299 w 476250"/>
                <a:gd name="connsiteY256" fmla="*/ 75932 h 476250"/>
                <a:gd name="connsiteX257" fmla="*/ 245603 w 476250"/>
                <a:gd name="connsiteY257" fmla="*/ 72242 h 476250"/>
                <a:gd name="connsiteX258" fmla="*/ 249299 w 476250"/>
                <a:gd name="connsiteY258" fmla="*/ 68551 h 476250"/>
                <a:gd name="connsiteX259" fmla="*/ 245603 w 476250"/>
                <a:gd name="connsiteY259" fmla="*/ 68551 h 476250"/>
                <a:gd name="connsiteX260" fmla="*/ 245603 w 476250"/>
                <a:gd name="connsiteY260" fmla="*/ 64860 h 476250"/>
                <a:gd name="connsiteX261" fmla="*/ 241917 w 476250"/>
                <a:gd name="connsiteY261" fmla="*/ 61170 h 476250"/>
                <a:gd name="connsiteX262" fmla="*/ 238231 w 476250"/>
                <a:gd name="connsiteY262" fmla="*/ 57479 h 476250"/>
                <a:gd name="connsiteX263" fmla="*/ 234535 w 476250"/>
                <a:gd name="connsiteY263" fmla="*/ 53789 h 476250"/>
                <a:gd name="connsiteX264" fmla="*/ 234535 w 476250"/>
                <a:gd name="connsiteY264" fmla="*/ 50098 h 476250"/>
                <a:gd name="connsiteX265" fmla="*/ 227163 w 476250"/>
                <a:gd name="connsiteY265" fmla="*/ 50098 h 476250"/>
                <a:gd name="connsiteX266" fmla="*/ 227163 w 476250"/>
                <a:gd name="connsiteY266" fmla="*/ 46407 h 476250"/>
                <a:gd name="connsiteX267" fmla="*/ 223467 w 476250"/>
                <a:gd name="connsiteY267" fmla="*/ 42717 h 476250"/>
                <a:gd name="connsiteX268" fmla="*/ 223467 w 476250"/>
                <a:gd name="connsiteY268" fmla="*/ 39026 h 476250"/>
                <a:gd name="connsiteX269" fmla="*/ 223467 w 476250"/>
                <a:gd name="connsiteY269" fmla="*/ 35335 h 476250"/>
                <a:gd name="connsiteX270" fmla="*/ 216095 w 476250"/>
                <a:gd name="connsiteY270" fmla="*/ 39026 h 476250"/>
                <a:gd name="connsiteX271" fmla="*/ 212399 w 476250"/>
                <a:gd name="connsiteY271" fmla="*/ 35335 h 476250"/>
                <a:gd name="connsiteX272" fmla="*/ 212399 w 476250"/>
                <a:gd name="connsiteY272" fmla="*/ 31645 h 476250"/>
                <a:gd name="connsiteX273" fmla="*/ 208713 w 476250"/>
                <a:gd name="connsiteY273" fmla="*/ 20573 h 476250"/>
                <a:gd name="connsiteX274" fmla="*/ 205027 w 476250"/>
                <a:gd name="connsiteY274" fmla="*/ 24264 h 476250"/>
                <a:gd name="connsiteX275" fmla="*/ 201331 w 476250"/>
                <a:gd name="connsiteY275" fmla="*/ 20573 h 476250"/>
                <a:gd name="connsiteX276" fmla="*/ 197645 w 476250"/>
                <a:gd name="connsiteY276" fmla="*/ 9502 h 476250"/>
                <a:gd name="connsiteX277" fmla="*/ 190263 w 476250"/>
                <a:gd name="connsiteY277" fmla="*/ 9502 h 476250"/>
                <a:gd name="connsiteX278" fmla="*/ 186577 w 476250"/>
                <a:gd name="connsiteY278" fmla="*/ 5812 h 476250"/>
                <a:gd name="connsiteX279" fmla="*/ 182891 w 476250"/>
                <a:gd name="connsiteY279" fmla="*/ 9502 h 476250"/>
                <a:gd name="connsiteX280" fmla="*/ 179205 w 476250"/>
                <a:gd name="connsiteY280" fmla="*/ 5812 h 476250"/>
                <a:gd name="connsiteX281" fmla="*/ 175509 w 476250"/>
                <a:gd name="connsiteY281" fmla="*/ 5812 h 476250"/>
                <a:gd name="connsiteX282" fmla="*/ 168137 w 476250"/>
                <a:gd name="connsiteY282" fmla="*/ 5812 h 476250"/>
                <a:gd name="connsiteX283" fmla="*/ 463269 w 476250"/>
                <a:gd name="connsiteY283" fmla="*/ 282603 h 476250"/>
                <a:gd name="connsiteX284" fmla="*/ 466955 w 476250"/>
                <a:gd name="connsiteY284" fmla="*/ 282603 h 476250"/>
                <a:gd name="connsiteX285" fmla="*/ 466955 w 476250"/>
                <a:gd name="connsiteY285" fmla="*/ 278913 h 476250"/>
                <a:gd name="connsiteX286" fmla="*/ 463269 w 476250"/>
                <a:gd name="connsiteY286" fmla="*/ 282603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Lst>
              <a:rect l="l" t="t" r="r" b="b"/>
              <a:pathLst>
                <a:path w="476250" h="476250">
                  <a:moveTo>
                    <a:pt x="168137" y="5812"/>
                  </a:moveTo>
                  <a:lnTo>
                    <a:pt x="160755" y="9502"/>
                  </a:lnTo>
                  <a:lnTo>
                    <a:pt x="157068" y="13192"/>
                  </a:lnTo>
                  <a:lnTo>
                    <a:pt x="157068" y="16882"/>
                  </a:lnTo>
                  <a:lnTo>
                    <a:pt x="149687" y="20573"/>
                  </a:lnTo>
                  <a:lnTo>
                    <a:pt x="142305" y="24264"/>
                  </a:lnTo>
                  <a:lnTo>
                    <a:pt x="138619" y="27954"/>
                  </a:lnTo>
                  <a:lnTo>
                    <a:pt x="138619" y="31645"/>
                  </a:lnTo>
                  <a:lnTo>
                    <a:pt x="134932" y="35335"/>
                  </a:lnTo>
                  <a:lnTo>
                    <a:pt x="131237" y="42717"/>
                  </a:lnTo>
                  <a:lnTo>
                    <a:pt x="127550" y="46407"/>
                  </a:lnTo>
                  <a:lnTo>
                    <a:pt x="127550" y="50098"/>
                  </a:lnTo>
                  <a:lnTo>
                    <a:pt x="120169" y="68551"/>
                  </a:lnTo>
                  <a:lnTo>
                    <a:pt x="120169" y="72242"/>
                  </a:lnTo>
                  <a:lnTo>
                    <a:pt x="120169" y="83313"/>
                  </a:lnTo>
                  <a:lnTo>
                    <a:pt x="116482" y="83313"/>
                  </a:lnTo>
                  <a:lnTo>
                    <a:pt x="112796" y="98075"/>
                  </a:lnTo>
                  <a:lnTo>
                    <a:pt x="109110" y="98075"/>
                  </a:lnTo>
                  <a:lnTo>
                    <a:pt x="98042" y="94385"/>
                  </a:lnTo>
                  <a:lnTo>
                    <a:pt x="94346" y="101765"/>
                  </a:lnTo>
                  <a:lnTo>
                    <a:pt x="105414" y="109147"/>
                  </a:lnTo>
                  <a:lnTo>
                    <a:pt x="116482" y="109147"/>
                  </a:lnTo>
                  <a:lnTo>
                    <a:pt x="123864" y="112837"/>
                  </a:lnTo>
                  <a:lnTo>
                    <a:pt x="120169" y="123909"/>
                  </a:lnTo>
                  <a:lnTo>
                    <a:pt x="120169" y="134981"/>
                  </a:lnTo>
                  <a:lnTo>
                    <a:pt x="120169" y="138672"/>
                  </a:lnTo>
                  <a:lnTo>
                    <a:pt x="127550" y="149743"/>
                  </a:lnTo>
                  <a:lnTo>
                    <a:pt x="142305" y="171887"/>
                  </a:lnTo>
                  <a:lnTo>
                    <a:pt x="146000" y="179268"/>
                  </a:lnTo>
                  <a:lnTo>
                    <a:pt x="149687" y="186649"/>
                  </a:lnTo>
                  <a:lnTo>
                    <a:pt x="153373" y="190339"/>
                  </a:lnTo>
                  <a:lnTo>
                    <a:pt x="142305" y="208792"/>
                  </a:lnTo>
                  <a:lnTo>
                    <a:pt x="142305" y="212483"/>
                  </a:lnTo>
                  <a:lnTo>
                    <a:pt x="138619" y="216173"/>
                  </a:lnTo>
                  <a:lnTo>
                    <a:pt x="134932" y="219864"/>
                  </a:lnTo>
                  <a:lnTo>
                    <a:pt x="123864" y="230936"/>
                  </a:lnTo>
                  <a:lnTo>
                    <a:pt x="109110" y="242008"/>
                  </a:lnTo>
                  <a:lnTo>
                    <a:pt x="94346" y="227245"/>
                  </a:lnTo>
                  <a:lnTo>
                    <a:pt x="83278" y="227245"/>
                  </a:lnTo>
                  <a:lnTo>
                    <a:pt x="72210" y="223555"/>
                  </a:lnTo>
                  <a:lnTo>
                    <a:pt x="64838" y="227245"/>
                  </a:lnTo>
                  <a:lnTo>
                    <a:pt x="64838" y="230936"/>
                  </a:lnTo>
                  <a:lnTo>
                    <a:pt x="64838" y="234627"/>
                  </a:lnTo>
                  <a:lnTo>
                    <a:pt x="57456" y="238317"/>
                  </a:lnTo>
                  <a:lnTo>
                    <a:pt x="46388" y="253080"/>
                  </a:lnTo>
                  <a:lnTo>
                    <a:pt x="42702" y="256770"/>
                  </a:lnTo>
                  <a:lnTo>
                    <a:pt x="39006" y="260461"/>
                  </a:lnTo>
                  <a:lnTo>
                    <a:pt x="24252" y="267841"/>
                  </a:lnTo>
                  <a:lnTo>
                    <a:pt x="16879" y="275222"/>
                  </a:lnTo>
                  <a:lnTo>
                    <a:pt x="5812" y="282603"/>
                  </a:lnTo>
                  <a:lnTo>
                    <a:pt x="9498" y="289985"/>
                  </a:lnTo>
                  <a:lnTo>
                    <a:pt x="9498" y="293675"/>
                  </a:lnTo>
                  <a:lnTo>
                    <a:pt x="20566" y="304747"/>
                  </a:lnTo>
                  <a:lnTo>
                    <a:pt x="24252" y="308438"/>
                  </a:lnTo>
                  <a:lnTo>
                    <a:pt x="31634" y="315819"/>
                  </a:lnTo>
                  <a:lnTo>
                    <a:pt x="35320" y="319510"/>
                  </a:lnTo>
                  <a:lnTo>
                    <a:pt x="39006" y="323200"/>
                  </a:lnTo>
                  <a:lnTo>
                    <a:pt x="42702" y="330581"/>
                  </a:lnTo>
                  <a:lnTo>
                    <a:pt x="46388" y="330581"/>
                  </a:lnTo>
                  <a:lnTo>
                    <a:pt x="42702" y="337963"/>
                  </a:lnTo>
                  <a:lnTo>
                    <a:pt x="39006" y="341653"/>
                  </a:lnTo>
                  <a:lnTo>
                    <a:pt x="31634" y="349034"/>
                  </a:lnTo>
                  <a:lnTo>
                    <a:pt x="31634" y="352724"/>
                  </a:lnTo>
                  <a:lnTo>
                    <a:pt x="27948" y="352724"/>
                  </a:lnTo>
                  <a:lnTo>
                    <a:pt x="24252" y="356415"/>
                  </a:lnTo>
                  <a:lnTo>
                    <a:pt x="13184" y="360105"/>
                  </a:lnTo>
                  <a:lnTo>
                    <a:pt x="9498" y="363796"/>
                  </a:lnTo>
                  <a:lnTo>
                    <a:pt x="5812" y="363796"/>
                  </a:lnTo>
                  <a:lnTo>
                    <a:pt x="5812" y="367486"/>
                  </a:lnTo>
                  <a:lnTo>
                    <a:pt x="9498" y="374868"/>
                  </a:lnTo>
                  <a:lnTo>
                    <a:pt x="13184" y="382249"/>
                  </a:lnTo>
                  <a:lnTo>
                    <a:pt x="16879" y="389630"/>
                  </a:lnTo>
                  <a:lnTo>
                    <a:pt x="16879" y="393321"/>
                  </a:lnTo>
                  <a:lnTo>
                    <a:pt x="16879" y="397011"/>
                  </a:lnTo>
                  <a:lnTo>
                    <a:pt x="24252" y="408083"/>
                  </a:lnTo>
                  <a:lnTo>
                    <a:pt x="24252" y="411774"/>
                  </a:lnTo>
                  <a:lnTo>
                    <a:pt x="31634" y="415464"/>
                  </a:lnTo>
                  <a:lnTo>
                    <a:pt x="31634" y="419155"/>
                  </a:lnTo>
                  <a:lnTo>
                    <a:pt x="27948" y="422846"/>
                  </a:lnTo>
                  <a:lnTo>
                    <a:pt x="39006" y="426536"/>
                  </a:lnTo>
                  <a:lnTo>
                    <a:pt x="35320" y="422846"/>
                  </a:lnTo>
                  <a:lnTo>
                    <a:pt x="39006" y="419155"/>
                  </a:lnTo>
                  <a:lnTo>
                    <a:pt x="39006" y="422846"/>
                  </a:lnTo>
                  <a:lnTo>
                    <a:pt x="42702" y="426536"/>
                  </a:lnTo>
                  <a:lnTo>
                    <a:pt x="42702" y="422846"/>
                  </a:lnTo>
                  <a:lnTo>
                    <a:pt x="46388" y="419155"/>
                  </a:lnTo>
                  <a:lnTo>
                    <a:pt x="50074" y="419155"/>
                  </a:lnTo>
                  <a:lnTo>
                    <a:pt x="53770" y="419155"/>
                  </a:lnTo>
                  <a:lnTo>
                    <a:pt x="57456" y="419155"/>
                  </a:lnTo>
                  <a:lnTo>
                    <a:pt x="57456" y="422846"/>
                  </a:lnTo>
                  <a:lnTo>
                    <a:pt x="61142" y="422846"/>
                  </a:lnTo>
                  <a:lnTo>
                    <a:pt x="64838" y="422846"/>
                  </a:lnTo>
                  <a:lnTo>
                    <a:pt x="68524" y="422846"/>
                  </a:lnTo>
                  <a:lnTo>
                    <a:pt x="68524" y="426536"/>
                  </a:lnTo>
                  <a:lnTo>
                    <a:pt x="72210" y="430227"/>
                  </a:lnTo>
                  <a:lnTo>
                    <a:pt x="75906" y="430227"/>
                  </a:lnTo>
                  <a:lnTo>
                    <a:pt x="75906" y="433917"/>
                  </a:lnTo>
                  <a:lnTo>
                    <a:pt x="79592" y="433917"/>
                  </a:lnTo>
                  <a:lnTo>
                    <a:pt x="83278" y="433917"/>
                  </a:lnTo>
                  <a:lnTo>
                    <a:pt x="83278" y="430227"/>
                  </a:lnTo>
                  <a:lnTo>
                    <a:pt x="86974" y="430227"/>
                  </a:lnTo>
                  <a:lnTo>
                    <a:pt x="86974" y="433917"/>
                  </a:lnTo>
                  <a:lnTo>
                    <a:pt x="90660" y="433917"/>
                  </a:lnTo>
                  <a:lnTo>
                    <a:pt x="94346" y="433917"/>
                  </a:lnTo>
                  <a:lnTo>
                    <a:pt x="98042" y="433917"/>
                  </a:lnTo>
                  <a:lnTo>
                    <a:pt x="101728" y="430227"/>
                  </a:lnTo>
                  <a:lnTo>
                    <a:pt x="105414" y="430227"/>
                  </a:lnTo>
                  <a:lnTo>
                    <a:pt x="109110" y="430227"/>
                  </a:lnTo>
                  <a:lnTo>
                    <a:pt x="109110" y="433917"/>
                  </a:lnTo>
                  <a:lnTo>
                    <a:pt x="105414" y="433917"/>
                  </a:lnTo>
                  <a:lnTo>
                    <a:pt x="105414" y="437607"/>
                  </a:lnTo>
                  <a:lnTo>
                    <a:pt x="109110" y="437607"/>
                  </a:lnTo>
                  <a:lnTo>
                    <a:pt x="109110" y="441298"/>
                  </a:lnTo>
                  <a:lnTo>
                    <a:pt x="112796" y="444988"/>
                  </a:lnTo>
                  <a:lnTo>
                    <a:pt x="116482" y="444988"/>
                  </a:lnTo>
                  <a:lnTo>
                    <a:pt x="120169" y="448679"/>
                  </a:lnTo>
                  <a:lnTo>
                    <a:pt x="123864" y="448679"/>
                  </a:lnTo>
                  <a:lnTo>
                    <a:pt x="123864" y="452370"/>
                  </a:lnTo>
                  <a:lnTo>
                    <a:pt x="123864" y="456060"/>
                  </a:lnTo>
                  <a:lnTo>
                    <a:pt x="127550" y="456060"/>
                  </a:lnTo>
                  <a:lnTo>
                    <a:pt x="127550" y="459751"/>
                  </a:lnTo>
                  <a:lnTo>
                    <a:pt x="131237" y="463441"/>
                  </a:lnTo>
                  <a:lnTo>
                    <a:pt x="131237" y="470823"/>
                  </a:lnTo>
                  <a:lnTo>
                    <a:pt x="134932" y="474513"/>
                  </a:lnTo>
                  <a:lnTo>
                    <a:pt x="138619" y="474513"/>
                  </a:lnTo>
                  <a:lnTo>
                    <a:pt x="138619" y="470823"/>
                  </a:lnTo>
                  <a:lnTo>
                    <a:pt x="142305" y="470823"/>
                  </a:lnTo>
                  <a:lnTo>
                    <a:pt x="146000" y="470823"/>
                  </a:lnTo>
                  <a:lnTo>
                    <a:pt x="146000" y="467132"/>
                  </a:lnTo>
                  <a:lnTo>
                    <a:pt x="149687" y="467132"/>
                  </a:lnTo>
                  <a:lnTo>
                    <a:pt x="149687" y="470823"/>
                  </a:lnTo>
                  <a:lnTo>
                    <a:pt x="153373" y="470823"/>
                  </a:lnTo>
                  <a:lnTo>
                    <a:pt x="153373" y="467132"/>
                  </a:lnTo>
                  <a:lnTo>
                    <a:pt x="157068" y="463441"/>
                  </a:lnTo>
                  <a:lnTo>
                    <a:pt x="160755" y="463441"/>
                  </a:lnTo>
                  <a:lnTo>
                    <a:pt x="160755" y="467132"/>
                  </a:lnTo>
                  <a:lnTo>
                    <a:pt x="160755" y="470823"/>
                  </a:lnTo>
                  <a:lnTo>
                    <a:pt x="164441" y="470823"/>
                  </a:lnTo>
                  <a:lnTo>
                    <a:pt x="168137" y="474513"/>
                  </a:lnTo>
                  <a:lnTo>
                    <a:pt x="171823" y="470823"/>
                  </a:lnTo>
                  <a:lnTo>
                    <a:pt x="175509" y="467132"/>
                  </a:lnTo>
                  <a:lnTo>
                    <a:pt x="175509" y="463441"/>
                  </a:lnTo>
                  <a:lnTo>
                    <a:pt x="179205" y="467132"/>
                  </a:lnTo>
                  <a:lnTo>
                    <a:pt x="182891" y="470823"/>
                  </a:lnTo>
                  <a:lnTo>
                    <a:pt x="190263" y="470823"/>
                  </a:lnTo>
                  <a:lnTo>
                    <a:pt x="193959" y="470823"/>
                  </a:lnTo>
                  <a:lnTo>
                    <a:pt x="197645" y="474513"/>
                  </a:lnTo>
                  <a:lnTo>
                    <a:pt x="201331" y="474513"/>
                  </a:lnTo>
                  <a:lnTo>
                    <a:pt x="201331" y="470823"/>
                  </a:lnTo>
                  <a:lnTo>
                    <a:pt x="197645" y="448679"/>
                  </a:lnTo>
                  <a:lnTo>
                    <a:pt x="205027" y="441298"/>
                  </a:lnTo>
                  <a:lnTo>
                    <a:pt x="212399" y="433917"/>
                  </a:lnTo>
                  <a:lnTo>
                    <a:pt x="216095" y="430227"/>
                  </a:lnTo>
                  <a:lnTo>
                    <a:pt x="230849" y="430227"/>
                  </a:lnTo>
                  <a:lnTo>
                    <a:pt x="241917" y="426536"/>
                  </a:lnTo>
                  <a:lnTo>
                    <a:pt x="245603" y="426536"/>
                  </a:lnTo>
                  <a:lnTo>
                    <a:pt x="245603" y="422846"/>
                  </a:lnTo>
                  <a:lnTo>
                    <a:pt x="252985" y="426536"/>
                  </a:lnTo>
                  <a:lnTo>
                    <a:pt x="260358" y="430227"/>
                  </a:lnTo>
                  <a:lnTo>
                    <a:pt x="267739" y="433917"/>
                  </a:lnTo>
                  <a:lnTo>
                    <a:pt x="282494" y="441298"/>
                  </a:lnTo>
                  <a:lnTo>
                    <a:pt x="289876" y="441298"/>
                  </a:lnTo>
                  <a:lnTo>
                    <a:pt x="293562" y="444988"/>
                  </a:lnTo>
                  <a:lnTo>
                    <a:pt x="289876" y="448679"/>
                  </a:lnTo>
                  <a:lnTo>
                    <a:pt x="289876" y="452370"/>
                  </a:lnTo>
                  <a:lnTo>
                    <a:pt x="289876" y="456060"/>
                  </a:lnTo>
                  <a:lnTo>
                    <a:pt x="289876" y="459751"/>
                  </a:lnTo>
                  <a:lnTo>
                    <a:pt x="293562" y="459751"/>
                  </a:lnTo>
                  <a:lnTo>
                    <a:pt x="297257" y="456060"/>
                  </a:lnTo>
                  <a:lnTo>
                    <a:pt x="300944" y="456060"/>
                  </a:lnTo>
                  <a:lnTo>
                    <a:pt x="304630" y="452370"/>
                  </a:lnTo>
                  <a:lnTo>
                    <a:pt x="308326" y="444988"/>
                  </a:lnTo>
                  <a:lnTo>
                    <a:pt x="315698" y="444988"/>
                  </a:lnTo>
                  <a:lnTo>
                    <a:pt x="319394" y="444988"/>
                  </a:lnTo>
                  <a:lnTo>
                    <a:pt x="323080" y="441298"/>
                  </a:lnTo>
                  <a:lnTo>
                    <a:pt x="326766" y="441298"/>
                  </a:lnTo>
                  <a:lnTo>
                    <a:pt x="330452" y="441298"/>
                  </a:lnTo>
                  <a:lnTo>
                    <a:pt x="334148" y="441298"/>
                  </a:lnTo>
                  <a:lnTo>
                    <a:pt x="337834" y="441298"/>
                  </a:lnTo>
                  <a:lnTo>
                    <a:pt x="341520" y="441298"/>
                  </a:lnTo>
                  <a:lnTo>
                    <a:pt x="345216" y="444988"/>
                  </a:lnTo>
                  <a:lnTo>
                    <a:pt x="348902" y="441298"/>
                  </a:lnTo>
                  <a:lnTo>
                    <a:pt x="352588" y="441298"/>
                  </a:lnTo>
                  <a:lnTo>
                    <a:pt x="359970" y="441298"/>
                  </a:lnTo>
                  <a:lnTo>
                    <a:pt x="367352" y="441298"/>
                  </a:lnTo>
                  <a:lnTo>
                    <a:pt x="371038" y="437607"/>
                  </a:lnTo>
                  <a:lnTo>
                    <a:pt x="374724" y="441298"/>
                  </a:lnTo>
                  <a:lnTo>
                    <a:pt x="382106" y="441298"/>
                  </a:lnTo>
                  <a:lnTo>
                    <a:pt x="385792" y="441298"/>
                  </a:lnTo>
                  <a:lnTo>
                    <a:pt x="393174" y="444988"/>
                  </a:lnTo>
                  <a:lnTo>
                    <a:pt x="393174" y="448679"/>
                  </a:lnTo>
                  <a:lnTo>
                    <a:pt x="396860" y="448679"/>
                  </a:lnTo>
                  <a:lnTo>
                    <a:pt x="404242" y="448679"/>
                  </a:lnTo>
                  <a:lnTo>
                    <a:pt x="407928" y="448679"/>
                  </a:lnTo>
                  <a:lnTo>
                    <a:pt x="411615" y="448679"/>
                  </a:lnTo>
                  <a:lnTo>
                    <a:pt x="418997" y="448679"/>
                  </a:lnTo>
                  <a:lnTo>
                    <a:pt x="422683" y="444988"/>
                  </a:lnTo>
                  <a:lnTo>
                    <a:pt x="426378" y="444988"/>
                  </a:lnTo>
                  <a:lnTo>
                    <a:pt x="430064" y="448679"/>
                  </a:lnTo>
                  <a:lnTo>
                    <a:pt x="433751" y="444988"/>
                  </a:lnTo>
                  <a:lnTo>
                    <a:pt x="433751" y="448679"/>
                  </a:lnTo>
                  <a:lnTo>
                    <a:pt x="437446" y="448679"/>
                  </a:lnTo>
                  <a:lnTo>
                    <a:pt x="448514" y="452370"/>
                  </a:lnTo>
                  <a:lnTo>
                    <a:pt x="452201" y="452370"/>
                  </a:lnTo>
                  <a:lnTo>
                    <a:pt x="459583" y="444988"/>
                  </a:lnTo>
                  <a:lnTo>
                    <a:pt x="459583" y="441298"/>
                  </a:lnTo>
                  <a:lnTo>
                    <a:pt x="459583" y="433917"/>
                  </a:lnTo>
                  <a:lnTo>
                    <a:pt x="459583" y="419155"/>
                  </a:lnTo>
                  <a:lnTo>
                    <a:pt x="463269" y="382249"/>
                  </a:lnTo>
                  <a:lnTo>
                    <a:pt x="463269" y="334272"/>
                  </a:lnTo>
                  <a:lnTo>
                    <a:pt x="463269" y="312128"/>
                  </a:lnTo>
                  <a:lnTo>
                    <a:pt x="474337" y="289985"/>
                  </a:lnTo>
                  <a:lnTo>
                    <a:pt x="463269" y="289985"/>
                  </a:lnTo>
                  <a:lnTo>
                    <a:pt x="463269" y="282603"/>
                  </a:lnTo>
                  <a:lnTo>
                    <a:pt x="459583" y="278913"/>
                  </a:lnTo>
                  <a:lnTo>
                    <a:pt x="452201" y="267841"/>
                  </a:lnTo>
                  <a:lnTo>
                    <a:pt x="448514" y="267841"/>
                  </a:lnTo>
                  <a:lnTo>
                    <a:pt x="448514" y="264151"/>
                  </a:lnTo>
                  <a:lnTo>
                    <a:pt x="437446" y="264151"/>
                  </a:lnTo>
                  <a:lnTo>
                    <a:pt x="437446" y="260461"/>
                  </a:lnTo>
                  <a:lnTo>
                    <a:pt x="444819" y="238317"/>
                  </a:lnTo>
                  <a:lnTo>
                    <a:pt x="448514" y="234627"/>
                  </a:lnTo>
                  <a:lnTo>
                    <a:pt x="448514" y="227245"/>
                  </a:lnTo>
                  <a:lnTo>
                    <a:pt x="441133" y="227245"/>
                  </a:lnTo>
                  <a:lnTo>
                    <a:pt x="437446" y="223555"/>
                  </a:lnTo>
                  <a:lnTo>
                    <a:pt x="433751" y="219864"/>
                  </a:lnTo>
                  <a:lnTo>
                    <a:pt x="430064" y="212483"/>
                  </a:lnTo>
                  <a:lnTo>
                    <a:pt x="422683" y="201411"/>
                  </a:lnTo>
                  <a:lnTo>
                    <a:pt x="418997" y="201411"/>
                  </a:lnTo>
                  <a:lnTo>
                    <a:pt x="418997" y="197720"/>
                  </a:lnTo>
                  <a:lnTo>
                    <a:pt x="415310" y="197720"/>
                  </a:lnTo>
                  <a:lnTo>
                    <a:pt x="411615" y="190339"/>
                  </a:lnTo>
                  <a:lnTo>
                    <a:pt x="407928" y="182958"/>
                  </a:lnTo>
                  <a:lnTo>
                    <a:pt x="404242" y="179268"/>
                  </a:lnTo>
                  <a:lnTo>
                    <a:pt x="400546" y="175578"/>
                  </a:lnTo>
                  <a:lnTo>
                    <a:pt x="400546" y="171887"/>
                  </a:lnTo>
                  <a:lnTo>
                    <a:pt x="396860" y="168196"/>
                  </a:lnTo>
                  <a:lnTo>
                    <a:pt x="389488" y="160815"/>
                  </a:lnTo>
                  <a:lnTo>
                    <a:pt x="382106" y="153434"/>
                  </a:lnTo>
                  <a:lnTo>
                    <a:pt x="378420" y="149743"/>
                  </a:lnTo>
                  <a:lnTo>
                    <a:pt x="359970" y="131290"/>
                  </a:lnTo>
                  <a:lnTo>
                    <a:pt x="348902" y="120219"/>
                  </a:lnTo>
                  <a:lnTo>
                    <a:pt x="337834" y="109147"/>
                  </a:lnTo>
                  <a:lnTo>
                    <a:pt x="337834" y="105456"/>
                  </a:lnTo>
                  <a:lnTo>
                    <a:pt x="323080" y="94385"/>
                  </a:lnTo>
                  <a:lnTo>
                    <a:pt x="319394" y="87004"/>
                  </a:lnTo>
                  <a:lnTo>
                    <a:pt x="304630" y="75932"/>
                  </a:lnTo>
                  <a:lnTo>
                    <a:pt x="304630" y="72242"/>
                  </a:lnTo>
                  <a:lnTo>
                    <a:pt x="300944" y="72242"/>
                  </a:lnTo>
                  <a:lnTo>
                    <a:pt x="297257" y="68551"/>
                  </a:lnTo>
                  <a:lnTo>
                    <a:pt x="293562" y="68551"/>
                  </a:lnTo>
                  <a:lnTo>
                    <a:pt x="289876" y="68551"/>
                  </a:lnTo>
                  <a:lnTo>
                    <a:pt x="278808" y="68551"/>
                  </a:lnTo>
                  <a:lnTo>
                    <a:pt x="271426" y="72242"/>
                  </a:lnTo>
                  <a:lnTo>
                    <a:pt x="267739" y="72242"/>
                  </a:lnTo>
                  <a:lnTo>
                    <a:pt x="249299" y="79623"/>
                  </a:lnTo>
                  <a:lnTo>
                    <a:pt x="249299" y="75932"/>
                  </a:lnTo>
                  <a:lnTo>
                    <a:pt x="245603" y="72242"/>
                  </a:lnTo>
                  <a:lnTo>
                    <a:pt x="249299" y="68551"/>
                  </a:lnTo>
                  <a:lnTo>
                    <a:pt x="245603" y="68551"/>
                  </a:lnTo>
                  <a:lnTo>
                    <a:pt x="245603" y="64860"/>
                  </a:lnTo>
                  <a:lnTo>
                    <a:pt x="241917" y="61170"/>
                  </a:lnTo>
                  <a:lnTo>
                    <a:pt x="238231" y="57479"/>
                  </a:lnTo>
                  <a:lnTo>
                    <a:pt x="234535" y="53789"/>
                  </a:lnTo>
                  <a:lnTo>
                    <a:pt x="234535" y="50098"/>
                  </a:lnTo>
                  <a:lnTo>
                    <a:pt x="227163" y="50098"/>
                  </a:lnTo>
                  <a:lnTo>
                    <a:pt x="227163" y="46407"/>
                  </a:lnTo>
                  <a:lnTo>
                    <a:pt x="223467" y="42717"/>
                  </a:lnTo>
                  <a:lnTo>
                    <a:pt x="223467" y="39026"/>
                  </a:lnTo>
                  <a:lnTo>
                    <a:pt x="223467" y="35335"/>
                  </a:lnTo>
                  <a:lnTo>
                    <a:pt x="216095" y="39026"/>
                  </a:lnTo>
                  <a:lnTo>
                    <a:pt x="212399" y="35335"/>
                  </a:lnTo>
                  <a:lnTo>
                    <a:pt x="212399" y="31645"/>
                  </a:lnTo>
                  <a:lnTo>
                    <a:pt x="208713" y="20573"/>
                  </a:lnTo>
                  <a:lnTo>
                    <a:pt x="205027" y="24264"/>
                  </a:lnTo>
                  <a:lnTo>
                    <a:pt x="201331" y="20573"/>
                  </a:lnTo>
                  <a:lnTo>
                    <a:pt x="197645" y="9502"/>
                  </a:lnTo>
                  <a:lnTo>
                    <a:pt x="190263" y="9502"/>
                  </a:lnTo>
                  <a:lnTo>
                    <a:pt x="186577" y="5812"/>
                  </a:lnTo>
                  <a:lnTo>
                    <a:pt x="182891" y="9502"/>
                  </a:lnTo>
                  <a:lnTo>
                    <a:pt x="179205" y="5812"/>
                  </a:lnTo>
                  <a:lnTo>
                    <a:pt x="175509" y="5812"/>
                  </a:lnTo>
                  <a:lnTo>
                    <a:pt x="168137" y="5812"/>
                  </a:lnTo>
                  <a:close/>
                  <a:moveTo>
                    <a:pt x="463269" y="282603"/>
                  </a:moveTo>
                  <a:lnTo>
                    <a:pt x="466955" y="282603"/>
                  </a:lnTo>
                  <a:lnTo>
                    <a:pt x="466955" y="278913"/>
                  </a:lnTo>
                  <a:lnTo>
                    <a:pt x="463269" y="282603"/>
                  </a:lnTo>
                  <a:close/>
                </a:path>
              </a:pathLst>
            </a:custGeom>
            <a:solidFill>
              <a:srgbClr val="FFBD42"/>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59</a:t>
              </a:r>
            </a:p>
          </p:txBody>
        </p:sp>
        <p:sp>
          <p:nvSpPr>
            <p:cNvPr id="236" name="Freeform: Shape 235">
              <a:extLst>
                <a:ext uri="{FF2B5EF4-FFF2-40B4-BE49-F238E27FC236}">
                  <a16:creationId xmlns:a16="http://schemas.microsoft.com/office/drawing/2014/main" id="{46495BFE-CC34-4DE0-BADD-0CCD6894C80A}"/>
                </a:ext>
              </a:extLst>
            </p:cNvPr>
            <p:cNvSpPr/>
            <p:nvPr/>
          </p:nvSpPr>
          <p:spPr>
            <a:xfrm>
              <a:off x="6198463" y="3312712"/>
              <a:ext cx="1014597" cy="953106"/>
            </a:xfrm>
            <a:custGeom>
              <a:avLst/>
              <a:gdLst>
                <a:gd name="connsiteX0" fmla="*/ 160768 w 628650"/>
                <a:gd name="connsiteY0" fmla="*/ 5815 h 590550"/>
                <a:gd name="connsiteX1" fmla="*/ 149700 w 628650"/>
                <a:gd name="connsiteY1" fmla="*/ 13197 h 590550"/>
                <a:gd name="connsiteX2" fmla="*/ 146004 w 628650"/>
                <a:gd name="connsiteY2" fmla="*/ 16887 h 590550"/>
                <a:gd name="connsiteX3" fmla="*/ 142318 w 628650"/>
                <a:gd name="connsiteY3" fmla="*/ 20578 h 590550"/>
                <a:gd name="connsiteX4" fmla="*/ 131250 w 628650"/>
                <a:gd name="connsiteY4" fmla="*/ 20578 h 590550"/>
                <a:gd name="connsiteX5" fmla="*/ 127564 w 628650"/>
                <a:gd name="connsiteY5" fmla="*/ 20578 h 590550"/>
                <a:gd name="connsiteX6" fmla="*/ 131250 w 628650"/>
                <a:gd name="connsiteY6" fmla="*/ 27959 h 590550"/>
                <a:gd name="connsiteX7" fmla="*/ 131250 w 628650"/>
                <a:gd name="connsiteY7" fmla="*/ 31650 h 590550"/>
                <a:gd name="connsiteX8" fmla="*/ 127564 w 628650"/>
                <a:gd name="connsiteY8" fmla="*/ 31650 h 590550"/>
                <a:gd name="connsiteX9" fmla="*/ 123877 w 628650"/>
                <a:gd name="connsiteY9" fmla="*/ 35340 h 590550"/>
                <a:gd name="connsiteX10" fmla="*/ 116495 w 628650"/>
                <a:gd name="connsiteY10" fmla="*/ 39031 h 590550"/>
                <a:gd name="connsiteX11" fmla="*/ 116495 w 628650"/>
                <a:gd name="connsiteY11" fmla="*/ 31650 h 590550"/>
                <a:gd name="connsiteX12" fmla="*/ 105427 w 628650"/>
                <a:gd name="connsiteY12" fmla="*/ 35340 h 590550"/>
                <a:gd name="connsiteX13" fmla="*/ 101741 w 628650"/>
                <a:gd name="connsiteY13" fmla="*/ 39031 h 590550"/>
                <a:gd name="connsiteX14" fmla="*/ 101741 w 628650"/>
                <a:gd name="connsiteY14" fmla="*/ 35340 h 590550"/>
                <a:gd name="connsiteX15" fmla="*/ 98046 w 628650"/>
                <a:gd name="connsiteY15" fmla="*/ 35340 h 590550"/>
                <a:gd name="connsiteX16" fmla="*/ 94359 w 628650"/>
                <a:gd name="connsiteY16" fmla="*/ 31650 h 590550"/>
                <a:gd name="connsiteX17" fmla="*/ 90673 w 628650"/>
                <a:gd name="connsiteY17" fmla="*/ 24269 h 590550"/>
                <a:gd name="connsiteX18" fmla="*/ 90673 w 628650"/>
                <a:gd name="connsiteY18" fmla="*/ 16887 h 590550"/>
                <a:gd name="connsiteX19" fmla="*/ 83291 w 628650"/>
                <a:gd name="connsiteY19" fmla="*/ 20578 h 590550"/>
                <a:gd name="connsiteX20" fmla="*/ 83291 w 628650"/>
                <a:gd name="connsiteY20" fmla="*/ 24269 h 590550"/>
                <a:gd name="connsiteX21" fmla="*/ 75909 w 628650"/>
                <a:gd name="connsiteY21" fmla="*/ 20578 h 590550"/>
                <a:gd name="connsiteX22" fmla="*/ 75909 w 628650"/>
                <a:gd name="connsiteY22" fmla="*/ 24269 h 590550"/>
                <a:gd name="connsiteX23" fmla="*/ 68537 w 628650"/>
                <a:gd name="connsiteY23" fmla="*/ 24269 h 590550"/>
                <a:gd name="connsiteX24" fmla="*/ 64841 w 628650"/>
                <a:gd name="connsiteY24" fmla="*/ 27959 h 590550"/>
                <a:gd name="connsiteX25" fmla="*/ 64841 w 628650"/>
                <a:gd name="connsiteY25" fmla="*/ 31650 h 590550"/>
                <a:gd name="connsiteX26" fmla="*/ 61155 w 628650"/>
                <a:gd name="connsiteY26" fmla="*/ 35340 h 590550"/>
                <a:gd name="connsiteX27" fmla="*/ 61155 w 628650"/>
                <a:gd name="connsiteY27" fmla="*/ 39031 h 590550"/>
                <a:gd name="connsiteX28" fmla="*/ 57469 w 628650"/>
                <a:gd name="connsiteY28" fmla="*/ 42722 h 590550"/>
                <a:gd name="connsiteX29" fmla="*/ 53773 w 628650"/>
                <a:gd name="connsiteY29" fmla="*/ 42722 h 590550"/>
                <a:gd name="connsiteX30" fmla="*/ 53773 w 628650"/>
                <a:gd name="connsiteY30" fmla="*/ 46412 h 590550"/>
                <a:gd name="connsiteX31" fmla="*/ 50087 w 628650"/>
                <a:gd name="connsiteY31" fmla="*/ 46412 h 590550"/>
                <a:gd name="connsiteX32" fmla="*/ 46401 w 628650"/>
                <a:gd name="connsiteY32" fmla="*/ 50102 h 590550"/>
                <a:gd name="connsiteX33" fmla="*/ 42715 w 628650"/>
                <a:gd name="connsiteY33" fmla="*/ 50102 h 590550"/>
                <a:gd name="connsiteX34" fmla="*/ 39019 w 628650"/>
                <a:gd name="connsiteY34" fmla="*/ 50102 h 590550"/>
                <a:gd name="connsiteX35" fmla="*/ 35333 w 628650"/>
                <a:gd name="connsiteY35" fmla="*/ 50102 h 590550"/>
                <a:gd name="connsiteX36" fmla="*/ 31647 w 628650"/>
                <a:gd name="connsiteY36" fmla="*/ 46412 h 590550"/>
                <a:gd name="connsiteX37" fmla="*/ 27951 w 628650"/>
                <a:gd name="connsiteY37" fmla="*/ 46412 h 590550"/>
                <a:gd name="connsiteX38" fmla="*/ 24265 w 628650"/>
                <a:gd name="connsiteY38" fmla="*/ 46412 h 590550"/>
                <a:gd name="connsiteX39" fmla="*/ 24265 w 628650"/>
                <a:gd name="connsiteY39" fmla="*/ 42722 h 590550"/>
                <a:gd name="connsiteX40" fmla="*/ 20579 w 628650"/>
                <a:gd name="connsiteY40" fmla="*/ 42722 h 590550"/>
                <a:gd name="connsiteX41" fmla="*/ 16883 w 628650"/>
                <a:gd name="connsiteY41" fmla="*/ 42722 h 590550"/>
                <a:gd name="connsiteX42" fmla="*/ 16883 w 628650"/>
                <a:gd name="connsiteY42" fmla="*/ 39031 h 590550"/>
                <a:gd name="connsiteX43" fmla="*/ 13197 w 628650"/>
                <a:gd name="connsiteY43" fmla="*/ 39031 h 590550"/>
                <a:gd name="connsiteX44" fmla="*/ 5815 w 628650"/>
                <a:gd name="connsiteY44" fmla="*/ 46412 h 590550"/>
                <a:gd name="connsiteX45" fmla="*/ 9511 w 628650"/>
                <a:gd name="connsiteY45" fmla="*/ 53792 h 590550"/>
                <a:gd name="connsiteX46" fmla="*/ 13197 w 628650"/>
                <a:gd name="connsiteY46" fmla="*/ 57483 h 590550"/>
                <a:gd name="connsiteX47" fmla="*/ 16883 w 628650"/>
                <a:gd name="connsiteY47" fmla="*/ 61174 h 590550"/>
                <a:gd name="connsiteX48" fmla="*/ 16883 w 628650"/>
                <a:gd name="connsiteY48" fmla="*/ 64864 h 590550"/>
                <a:gd name="connsiteX49" fmla="*/ 24265 w 628650"/>
                <a:gd name="connsiteY49" fmla="*/ 64864 h 590550"/>
                <a:gd name="connsiteX50" fmla="*/ 31647 w 628650"/>
                <a:gd name="connsiteY50" fmla="*/ 64864 h 590550"/>
                <a:gd name="connsiteX51" fmla="*/ 35333 w 628650"/>
                <a:gd name="connsiteY51" fmla="*/ 68555 h 590550"/>
                <a:gd name="connsiteX52" fmla="*/ 46401 w 628650"/>
                <a:gd name="connsiteY52" fmla="*/ 72246 h 590550"/>
                <a:gd name="connsiteX53" fmla="*/ 50087 w 628650"/>
                <a:gd name="connsiteY53" fmla="*/ 79627 h 590550"/>
                <a:gd name="connsiteX54" fmla="*/ 53773 w 628650"/>
                <a:gd name="connsiteY54" fmla="*/ 83317 h 590550"/>
                <a:gd name="connsiteX55" fmla="*/ 57469 w 628650"/>
                <a:gd name="connsiteY55" fmla="*/ 83317 h 590550"/>
                <a:gd name="connsiteX56" fmla="*/ 64841 w 628650"/>
                <a:gd name="connsiteY56" fmla="*/ 90698 h 590550"/>
                <a:gd name="connsiteX57" fmla="*/ 68537 w 628650"/>
                <a:gd name="connsiteY57" fmla="*/ 101770 h 590550"/>
                <a:gd name="connsiteX58" fmla="*/ 75909 w 628650"/>
                <a:gd name="connsiteY58" fmla="*/ 116533 h 590550"/>
                <a:gd name="connsiteX59" fmla="*/ 75909 w 628650"/>
                <a:gd name="connsiteY59" fmla="*/ 120223 h 590550"/>
                <a:gd name="connsiteX60" fmla="*/ 79605 w 628650"/>
                <a:gd name="connsiteY60" fmla="*/ 120223 h 590550"/>
                <a:gd name="connsiteX61" fmla="*/ 83291 w 628650"/>
                <a:gd name="connsiteY61" fmla="*/ 123914 h 590550"/>
                <a:gd name="connsiteX62" fmla="*/ 83291 w 628650"/>
                <a:gd name="connsiteY62" fmla="*/ 127604 h 590550"/>
                <a:gd name="connsiteX63" fmla="*/ 86978 w 628650"/>
                <a:gd name="connsiteY63" fmla="*/ 131295 h 590550"/>
                <a:gd name="connsiteX64" fmla="*/ 86978 w 628650"/>
                <a:gd name="connsiteY64" fmla="*/ 134985 h 590550"/>
                <a:gd name="connsiteX65" fmla="*/ 86978 w 628650"/>
                <a:gd name="connsiteY65" fmla="*/ 138675 h 590550"/>
                <a:gd name="connsiteX66" fmla="*/ 79605 w 628650"/>
                <a:gd name="connsiteY66" fmla="*/ 142366 h 590550"/>
                <a:gd name="connsiteX67" fmla="*/ 75909 w 628650"/>
                <a:gd name="connsiteY67" fmla="*/ 146057 h 590550"/>
                <a:gd name="connsiteX68" fmla="*/ 72223 w 628650"/>
                <a:gd name="connsiteY68" fmla="*/ 149747 h 590550"/>
                <a:gd name="connsiteX69" fmla="*/ 72223 w 628650"/>
                <a:gd name="connsiteY69" fmla="*/ 153438 h 590550"/>
                <a:gd name="connsiteX70" fmla="*/ 72223 w 628650"/>
                <a:gd name="connsiteY70" fmla="*/ 157129 h 590550"/>
                <a:gd name="connsiteX71" fmla="*/ 75909 w 628650"/>
                <a:gd name="connsiteY71" fmla="*/ 157129 h 590550"/>
                <a:gd name="connsiteX72" fmla="*/ 75909 w 628650"/>
                <a:gd name="connsiteY72" fmla="*/ 153438 h 590550"/>
                <a:gd name="connsiteX73" fmla="*/ 83291 w 628650"/>
                <a:gd name="connsiteY73" fmla="*/ 157129 h 590550"/>
                <a:gd name="connsiteX74" fmla="*/ 86978 w 628650"/>
                <a:gd name="connsiteY74" fmla="*/ 157129 h 590550"/>
                <a:gd name="connsiteX75" fmla="*/ 94359 w 628650"/>
                <a:gd name="connsiteY75" fmla="*/ 160819 h 590550"/>
                <a:gd name="connsiteX76" fmla="*/ 98046 w 628650"/>
                <a:gd name="connsiteY76" fmla="*/ 164510 h 590550"/>
                <a:gd name="connsiteX77" fmla="*/ 101741 w 628650"/>
                <a:gd name="connsiteY77" fmla="*/ 168200 h 590550"/>
                <a:gd name="connsiteX78" fmla="*/ 109114 w 628650"/>
                <a:gd name="connsiteY78" fmla="*/ 168200 h 590550"/>
                <a:gd name="connsiteX79" fmla="*/ 112809 w 628650"/>
                <a:gd name="connsiteY79" fmla="*/ 175582 h 590550"/>
                <a:gd name="connsiteX80" fmla="*/ 109114 w 628650"/>
                <a:gd name="connsiteY80" fmla="*/ 179272 h 590550"/>
                <a:gd name="connsiteX81" fmla="*/ 98046 w 628650"/>
                <a:gd name="connsiteY81" fmla="*/ 186653 h 590550"/>
                <a:gd name="connsiteX82" fmla="*/ 94359 w 628650"/>
                <a:gd name="connsiteY82" fmla="*/ 186653 h 590550"/>
                <a:gd name="connsiteX83" fmla="*/ 83291 w 628650"/>
                <a:gd name="connsiteY83" fmla="*/ 190344 h 590550"/>
                <a:gd name="connsiteX84" fmla="*/ 83291 w 628650"/>
                <a:gd name="connsiteY84" fmla="*/ 194035 h 590550"/>
                <a:gd name="connsiteX85" fmla="*/ 75909 w 628650"/>
                <a:gd name="connsiteY85" fmla="*/ 197725 h 590550"/>
                <a:gd name="connsiteX86" fmla="*/ 72223 w 628650"/>
                <a:gd name="connsiteY86" fmla="*/ 197725 h 590550"/>
                <a:gd name="connsiteX87" fmla="*/ 64841 w 628650"/>
                <a:gd name="connsiteY87" fmla="*/ 201416 h 590550"/>
                <a:gd name="connsiteX88" fmla="*/ 61155 w 628650"/>
                <a:gd name="connsiteY88" fmla="*/ 197725 h 590550"/>
                <a:gd name="connsiteX89" fmla="*/ 57469 w 628650"/>
                <a:gd name="connsiteY89" fmla="*/ 194035 h 590550"/>
                <a:gd name="connsiteX90" fmla="*/ 27951 w 628650"/>
                <a:gd name="connsiteY90" fmla="*/ 201416 h 590550"/>
                <a:gd name="connsiteX91" fmla="*/ 24265 w 628650"/>
                <a:gd name="connsiteY91" fmla="*/ 205107 h 590550"/>
                <a:gd name="connsiteX92" fmla="*/ 24265 w 628650"/>
                <a:gd name="connsiteY92" fmla="*/ 212488 h 590550"/>
                <a:gd name="connsiteX93" fmla="*/ 24265 w 628650"/>
                <a:gd name="connsiteY93" fmla="*/ 216178 h 590550"/>
                <a:gd name="connsiteX94" fmla="*/ 24265 w 628650"/>
                <a:gd name="connsiteY94" fmla="*/ 219868 h 590550"/>
                <a:gd name="connsiteX95" fmla="*/ 27951 w 628650"/>
                <a:gd name="connsiteY95" fmla="*/ 223559 h 590550"/>
                <a:gd name="connsiteX96" fmla="*/ 27951 w 628650"/>
                <a:gd name="connsiteY96" fmla="*/ 227249 h 590550"/>
                <a:gd name="connsiteX97" fmla="*/ 13197 w 628650"/>
                <a:gd name="connsiteY97" fmla="*/ 223559 h 590550"/>
                <a:gd name="connsiteX98" fmla="*/ 16883 w 628650"/>
                <a:gd name="connsiteY98" fmla="*/ 227249 h 590550"/>
                <a:gd name="connsiteX99" fmla="*/ 20579 w 628650"/>
                <a:gd name="connsiteY99" fmla="*/ 227249 h 590550"/>
                <a:gd name="connsiteX100" fmla="*/ 24265 w 628650"/>
                <a:gd name="connsiteY100" fmla="*/ 227249 h 590550"/>
                <a:gd name="connsiteX101" fmla="*/ 24265 w 628650"/>
                <a:gd name="connsiteY101" fmla="*/ 230940 h 590550"/>
                <a:gd name="connsiteX102" fmla="*/ 27951 w 628650"/>
                <a:gd name="connsiteY102" fmla="*/ 234630 h 590550"/>
                <a:gd name="connsiteX103" fmla="*/ 27951 w 628650"/>
                <a:gd name="connsiteY103" fmla="*/ 238321 h 590550"/>
                <a:gd name="connsiteX104" fmla="*/ 27951 w 628650"/>
                <a:gd name="connsiteY104" fmla="*/ 242012 h 590550"/>
                <a:gd name="connsiteX105" fmla="*/ 31647 w 628650"/>
                <a:gd name="connsiteY105" fmla="*/ 245702 h 590550"/>
                <a:gd name="connsiteX106" fmla="*/ 35333 w 628650"/>
                <a:gd name="connsiteY106" fmla="*/ 249393 h 590550"/>
                <a:gd name="connsiteX107" fmla="*/ 35333 w 628650"/>
                <a:gd name="connsiteY107" fmla="*/ 253083 h 590550"/>
                <a:gd name="connsiteX108" fmla="*/ 35333 w 628650"/>
                <a:gd name="connsiteY108" fmla="*/ 256774 h 590550"/>
                <a:gd name="connsiteX109" fmla="*/ 39019 w 628650"/>
                <a:gd name="connsiteY109" fmla="*/ 260465 h 590550"/>
                <a:gd name="connsiteX110" fmla="*/ 39019 w 628650"/>
                <a:gd name="connsiteY110" fmla="*/ 267846 h 590550"/>
                <a:gd name="connsiteX111" fmla="*/ 39019 w 628650"/>
                <a:gd name="connsiteY111" fmla="*/ 275227 h 590550"/>
                <a:gd name="connsiteX112" fmla="*/ 46401 w 628650"/>
                <a:gd name="connsiteY112" fmla="*/ 271537 h 590550"/>
                <a:gd name="connsiteX113" fmla="*/ 50087 w 628650"/>
                <a:gd name="connsiteY113" fmla="*/ 275227 h 590550"/>
                <a:gd name="connsiteX114" fmla="*/ 57469 w 628650"/>
                <a:gd name="connsiteY114" fmla="*/ 286299 h 590550"/>
                <a:gd name="connsiteX115" fmla="*/ 61155 w 628650"/>
                <a:gd name="connsiteY115" fmla="*/ 293680 h 590550"/>
                <a:gd name="connsiteX116" fmla="*/ 68537 w 628650"/>
                <a:gd name="connsiteY116" fmla="*/ 304751 h 590550"/>
                <a:gd name="connsiteX117" fmla="*/ 68537 w 628650"/>
                <a:gd name="connsiteY117" fmla="*/ 312132 h 590550"/>
                <a:gd name="connsiteX118" fmla="*/ 75909 w 628650"/>
                <a:gd name="connsiteY118" fmla="*/ 308442 h 590550"/>
                <a:gd name="connsiteX119" fmla="*/ 79605 w 628650"/>
                <a:gd name="connsiteY119" fmla="*/ 304751 h 590550"/>
                <a:gd name="connsiteX120" fmla="*/ 83291 w 628650"/>
                <a:gd name="connsiteY120" fmla="*/ 301060 h 590550"/>
                <a:gd name="connsiteX121" fmla="*/ 83291 w 628650"/>
                <a:gd name="connsiteY121" fmla="*/ 304751 h 590550"/>
                <a:gd name="connsiteX122" fmla="*/ 86978 w 628650"/>
                <a:gd name="connsiteY122" fmla="*/ 308442 h 590550"/>
                <a:gd name="connsiteX123" fmla="*/ 90673 w 628650"/>
                <a:gd name="connsiteY123" fmla="*/ 304751 h 590550"/>
                <a:gd name="connsiteX124" fmla="*/ 98046 w 628650"/>
                <a:gd name="connsiteY124" fmla="*/ 297371 h 590550"/>
                <a:gd name="connsiteX125" fmla="*/ 105427 w 628650"/>
                <a:gd name="connsiteY125" fmla="*/ 289990 h 590550"/>
                <a:gd name="connsiteX126" fmla="*/ 109114 w 628650"/>
                <a:gd name="connsiteY126" fmla="*/ 286299 h 590550"/>
                <a:gd name="connsiteX127" fmla="*/ 112809 w 628650"/>
                <a:gd name="connsiteY127" fmla="*/ 286299 h 590550"/>
                <a:gd name="connsiteX128" fmla="*/ 116495 w 628650"/>
                <a:gd name="connsiteY128" fmla="*/ 286299 h 590550"/>
                <a:gd name="connsiteX129" fmla="*/ 120182 w 628650"/>
                <a:gd name="connsiteY129" fmla="*/ 282608 h 590550"/>
                <a:gd name="connsiteX130" fmla="*/ 123877 w 628650"/>
                <a:gd name="connsiteY130" fmla="*/ 286299 h 590550"/>
                <a:gd name="connsiteX131" fmla="*/ 127564 w 628650"/>
                <a:gd name="connsiteY131" fmla="*/ 286299 h 590550"/>
                <a:gd name="connsiteX132" fmla="*/ 131250 w 628650"/>
                <a:gd name="connsiteY132" fmla="*/ 289990 h 590550"/>
                <a:gd name="connsiteX133" fmla="*/ 134936 w 628650"/>
                <a:gd name="connsiteY133" fmla="*/ 293680 h 590550"/>
                <a:gd name="connsiteX134" fmla="*/ 134936 w 628650"/>
                <a:gd name="connsiteY134" fmla="*/ 297371 h 590550"/>
                <a:gd name="connsiteX135" fmla="*/ 134936 w 628650"/>
                <a:gd name="connsiteY135" fmla="*/ 301060 h 590550"/>
                <a:gd name="connsiteX136" fmla="*/ 138632 w 628650"/>
                <a:gd name="connsiteY136" fmla="*/ 304751 h 590550"/>
                <a:gd name="connsiteX137" fmla="*/ 149700 w 628650"/>
                <a:gd name="connsiteY137" fmla="*/ 308442 h 590550"/>
                <a:gd name="connsiteX138" fmla="*/ 153386 w 628650"/>
                <a:gd name="connsiteY138" fmla="*/ 312132 h 590550"/>
                <a:gd name="connsiteX139" fmla="*/ 153386 w 628650"/>
                <a:gd name="connsiteY139" fmla="*/ 315823 h 590550"/>
                <a:gd name="connsiteX140" fmla="*/ 157072 w 628650"/>
                <a:gd name="connsiteY140" fmla="*/ 326895 h 590550"/>
                <a:gd name="connsiteX141" fmla="*/ 157072 w 628650"/>
                <a:gd name="connsiteY141" fmla="*/ 334276 h 590550"/>
                <a:gd name="connsiteX142" fmla="*/ 160768 w 628650"/>
                <a:gd name="connsiteY142" fmla="*/ 337967 h 590550"/>
                <a:gd name="connsiteX143" fmla="*/ 164454 w 628650"/>
                <a:gd name="connsiteY143" fmla="*/ 341657 h 590550"/>
                <a:gd name="connsiteX144" fmla="*/ 164454 w 628650"/>
                <a:gd name="connsiteY144" fmla="*/ 349038 h 590550"/>
                <a:gd name="connsiteX145" fmla="*/ 160768 w 628650"/>
                <a:gd name="connsiteY145" fmla="*/ 352729 h 590550"/>
                <a:gd name="connsiteX146" fmla="*/ 160768 w 628650"/>
                <a:gd name="connsiteY146" fmla="*/ 356420 h 590550"/>
                <a:gd name="connsiteX147" fmla="*/ 160768 w 628650"/>
                <a:gd name="connsiteY147" fmla="*/ 363801 h 590550"/>
                <a:gd name="connsiteX148" fmla="*/ 164454 w 628650"/>
                <a:gd name="connsiteY148" fmla="*/ 367491 h 590550"/>
                <a:gd name="connsiteX149" fmla="*/ 168140 w 628650"/>
                <a:gd name="connsiteY149" fmla="*/ 367491 h 590550"/>
                <a:gd name="connsiteX150" fmla="*/ 168140 w 628650"/>
                <a:gd name="connsiteY150" fmla="*/ 371182 h 590550"/>
                <a:gd name="connsiteX151" fmla="*/ 168140 w 628650"/>
                <a:gd name="connsiteY151" fmla="*/ 374873 h 590550"/>
                <a:gd name="connsiteX152" fmla="*/ 168140 w 628650"/>
                <a:gd name="connsiteY152" fmla="*/ 382253 h 590550"/>
                <a:gd name="connsiteX153" fmla="*/ 164454 w 628650"/>
                <a:gd name="connsiteY153" fmla="*/ 382253 h 590550"/>
                <a:gd name="connsiteX154" fmla="*/ 164454 w 628650"/>
                <a:gd name="connsiteY154" fmla="*/ 385943 h 590550"/>
                <a:gd name="connsiteX155" fmla="*/ 160768 w 628650"/>
                <a:gd name="connsiteY155" fmla="*/ 385943 h 590550"/>
                <a:gd name="connsiteX156" fmla="*/ 153386 w 628650"/>
                <a:gd name="connsiteY156" fmla="*/ 389634 h 590550"/>
                <a:gd name="connsiteX157" fmla="*/ 146004 w 628650"/>
                <a:gd name="connsiteY157" fmla="*/ 389634 h 590550"/>
                <a:gd name="connsiteX158" fmla="*/ 146004 w 628650"/>
                <a:gd name="connsiteY158" fmla="*/ 393323 h 590550"/>
                <a:gd name="connsiteX159" fmla="*/ 142318 w 628650"/>
                <a:gd name="connsiteY159" fmla="*/ 393323 h 590550"/>
                <a:gd name="connsiteX160" fmla="*/ 142318 w 628650"/>
                <a:gd name="connsiteY160" fmla="*/ 397018 h 590550"/>
                <a:gd name="connsiteX161" fmla="*/ 146004 w 628650"/>
                <a:gd name="connsiteY161" fmla="*/ 400704 h 590550"/>
                <a:gd name="connsiteX162" fmla="*/ 149700 w 628650"/>
                <a:gd name="connsiteY162" fmla="*/ 400704 h 590550"/>
                <a:gd name="connsiteX163" fmla="*/ 153386 w 628650"/>
                <a:gd name="connsiteY163" fmla="*/ 404400 h 590550"/>
                <a:gd name="connsiteX164" fmla="*/ 149700 w 628650"/>
                <a:gd name="connsiteY164" fmla="*/ 404400 h 590550"/>
                <a:gd name="connsiteX165" fmla="*/ 146004 w 628650"/>
                <a:gd name="connsiteY165" fmla="*/ 408086 h 590550"/>
                <a:gd name="connsiteX166" fmla="*/ 142318 w 628650"/>
                <a:gd name="connsiteY166" fmla="*/ 408086 h 590550"/>
                <a:gd name="connsiteX167" fmla="*/ 142318 w 628650"/>
                <a:gd name="connsiteY167" fmla="*/ 415468 h 590550"/>
                <a:gd name="connsiteX168" fmla="*/ 142318 w 628650"/>
                <a:gd name="connsiteY168" fmla="*/ 422850 h 590550"/>
                <a:gd name="connsiteX169" fmla="*/ 142318 w 628650"/>
                <a:gd name="connsiteY169" fmla="*/ 430232 h 590550"/>
                <a:gd name="connsiteX170" fmla="*/ 138632 w 628650"/>
                <a:gd name="connsiteY170" fmla="*/ 430232 h 590550"/>
                <a:gd name="connsiteX171" fmla="*/ 138632 w 628650"/>
                <a:gd name="connsiteY171" fmla="*/ 433918 h 590550"/>
                <a:gd name="connsiteX172" fmla="*/ 142318 w 628650"/>
                <a:gd name="connsiteY172" fmla="*/ 433918 h 590550"/>
                <a:gd name="connsiteX173" fmla="*/ 146004 w 628650"/>
                <a:gd name="connsiteY173" fmla="*/ 433918 h 590550"/>
                <a:gd name="connsiteX174" fmla="*/ 146004 w 628650"/>
                <a:gd name="connsiteY174" fmla="*/ 437614 h 590550"/>
                <a:gd name="connsiteX175" fmla="*/ 146004 w 628650"/>
                <a:gd name="connsiteY175" fmla="*/ 448682 h 590550"/>
                <a:gd name="connsiteX176" fmla="*/ 149700 w 628650"/>
                <a:gd name="connsiteY176" fmla="*/ 448682 h 590550"/>
                <a:gd name="connsiteX177" fmla="*/ 153386 w 628650"/>
                <a:gd name="connsiteY177" fmla="*/ 448682 h 590550"/>
                <a:gd name="connsiteX178" fmla="*/ 157072 w 628650"/>
                <a:gd name="connsiteY178" fmla="*/ 448682 h 590550"/>
                <a:gd name="connsiteX179" fmla="*/ 157072 w 628650"/>
                <a:gd name="connsiteY179" fmla="*/ 452377 h 590550"/>
                <a:gd name="connsiteX180" fmla="*/ 157072 w 628650"/>
                <a:gd name="connsiteY180" fmla="*/ 456064 h 590550"/>
                <a:gd name="connsiteX181" fmla="*/ 160768 w 628650"/>
                <a:gd name="connsiteY181" fmla="*/ 456064 h 590550"/>
                <a:gd name="connsiteX182" fmla="*/ 160768 w 628650"/>
                <a:gd name="connsiteY182" fmla="*/ 467132 h 590550"/>
                <a:gd name="connsiteX183" fmla="*/ 164454 w 628650"/>
                <a:gd name="connsiteY183" fmla="*/ 470827 h 590550"/>
                <a:gd name="connsiteX184" fmla="*/ 168140 w 628650"/>
                <a:gd name="connsiteY184" fmla="*/ 474514 h 590550"/>
                <a:gd name="connsiteX185" fmla="*/ 168140 w 628650"/>
                <a:gd name="connsiteY185" fmla="*/ 478209 h 590550"/>
                <a:gd name="connsiteX186" fmla="*/ 168140 w 628650"/>
                <a:gd name="connsiteY186" fmla="*/ 481895 h 590550"/>
                <a:gd name="connsiteX187" fmla="*/ 168140 w 628650"/>
                <a:gd name="connsiteY187" fmla="*/ 485591 h 590550"/>
                <a:gd name="connsiteX188" fmla="*/ 171836 w 628650"/>
                <a:gd name="connsiteY188" fmla="*/ 489277 h 590550"/>
                <a:gd name="connsiteX189" fmla="*/ 175522 w 628650"/>
                <a:gd name="connsiteY189" fmla="*/ 489277 h 590550"/>
                <a:gd name="connsiteX190" fmla="*/ 179208 w 628650"/>
                <a:gd name="connsiteY190" fmla="*/ 489277 h 590550"/>
                <a:gd name="connsiteX191" fmla="*/ 182904 w 628650"/>
                <a:gd name="connsiteY191" fmla="*/ 489277 h 590550"/>
                <a:gd name="connsiteX192" fmla="*/ 182904 w 628650"/>
                <a:gd name="connsiteY192" fmla="*/ 492973 h 590550"/>
                <a:gd name="connsiteX193" fmla="*/ 179208 w 628650"/>
                <a:gd name="connsiteY193" fmla="*/ 492973 h 590550"/>
                <a:gd name="connsiteX194" fmla="*/ 175522 w 628650"/>
                <a:gd name="connsiteY194" fmla="*/ 496659 h 590550"/>
                <a:gd name="connsiteX195" fmla="*/ 175522 w 628650"/>
                <a:gd name="connsiteY195" fmla="*/ 500355 h 590550"/>
                <a:gd name="connsiteX196" fmla="*/ 179208 w 628650"/>
                <a:gd name="connsiteY196" fmla="*/ 507737 h 590550"/>
                <a:gd name="connsiteX197" fmla="*/ 182904 w 628650"/>
                <a:gd name="connsiteY197" fmla="*/ 507737 h 590550"/>
                <a:gd name="connsiteX198" fmla="*/ 186590 w 628650"/>
                <a:gd name="connsiteY198" fmla="*/ 507737 h 590550"/>
                <a:gd name="connsiteX199" fmla="*/ 186590 w 628650"/>
                <a:gd name="connsiteY199" fmla="*/ 504041 h 590550"/>
                <a:gd name="connsiteX200" fmla="*/ 193962 w 628650"/>
                <a:gd name="connsiteY200" fmla="*/ 500355 h 590550"/>
                <a:gd name="connsiteX201" fmla="*/ 197658 w 628650"/>
                <a:gd name="connsiteY201" fmla="*/ 500355 h 590550"/>
                <a:gd name="connsiteX202" fmla="*/ 197658 w 628650"/>
                <a:gd name="connsiteY202" fmla="*/ 504041 h 590550"/>
                <a:gd name="connsiteX203" fmla="*/ 205030 w 628650"/>
                <a:gd name="connsiteY203" fmla="*/ 504041 h 590550"/>
                <a:gd name="connsiteX204" fmla="*/ 208726 w 628650"/>
                <a:gd name="connsiteY204" fmla="*/ 504041 h 590550"/>
                <a:gd name="connsiteX205" fmla="*/ 212412 w 628650"/>
                <a:gd name="connsiteY205" fmla="*/ 507737 h 590550"/>
                <a:gd name="connsiteX206" fmla="*/ 212412 w 628650"/>
                <a:gd name="connsiteY206" fmla="*/ 504041 h 590550"/>
                <a:gd name="connsiteX207" fmla="*/ 216098 w 628650"/>
                <a:gd name="connsiteY207" fmla="*/ 504041 h 590550"/>
                <a:gd name="connsiteX208" fmla="*/ 219794 w 628650"/>
                <a:gd name="connsiteY208" fmla="*/ 504041 h 590550"/>
                <a:gd name="connsiteX209" fmla="*/ 223480 w 628650"/>
                <a:gd name="connsiteY209" fmla="*/ 504041 h 590550"/>
                <a:gd name="connsiteX210" fmla="*/ 230862 w 628650"/>
                <a:gd name="connsiteY210" fmla="*/ 504041 h 590550"/>
                <a:gd name="connsiteX211" fmla="*/ 234548 w 628650"/>
                <a:gd name="connsiteY211" fmla="*/ 504041 h 590550"/>
                <a:gd name="connsiteX212" fmla="*/ 238235 w 628650"/>
                <a:gd name="connsiteY212" fmla="*/ 507737 h 590550"/>
                <a:gd name="connsiteX213" fmla="*/ 241930 w 628650"/>
                <a:gd name="connsiteY213" fmla="*/ 504041 h 590550"/>
                <a:gd name="connsiteX214" fmla="*/ 245616 w 628650"/>
                <a:gd name="connsiteY214" fmla="*/ 504041 h 590550"/>
                <a:gd name="connsiteX215" fmla="*/ 249303 w 628650"/>
                <a:gd name="connsiteY215" fmla="*/ 504041 h 590550"/>
                <a:gd name="connsiteX216" fmla="*/ 252998 w 628650"/>
                <a:gd name="connsiteY216" fmla="*/ 504041 h 590550"/>
                <a:gd name="connsiteX217" fmla="*/ 252998 w 628650"/>
                <a:gd name="connsiteY217" fmla="*/ 507737 h 590550"/>
                <a:gd name="connsiteX218" fmla="*/ 264066 w 628650"/>
                <a:gd name="connsiteY218" fmla="*/ 507737 h 590550"/>
                <a:gd name="connsiteX219" fmla="*/ 264066 w 628650"/>
                <a:gd name="connsiteY219" fmla="*/ 504041 h 590550"/>
                <a:gd name="connsiteX220" fmla="*/ 271439 w 628650"/>
                <a:gd name="connsiteY220" fmla="*/ 504041 h 590550"/>
                <a:gd name="connsiteX221" fmla="*/ 271439 w 628650"/>
                <a:gd name="connsiteY221" fmla="*/ 496659 h 590550"/>
                <a:gd name="connsiteX222" fmla="*/ 275125 w 628650"/>
                <a:gd name="connsiteY222" fmla="*/ 496659 h 590550"/>
                <a:gd name="connsiteX223" fmla="*/ 278821 w 628650"/>
                <a:gd name="connsiteY223" fmla="*/ 492973 h 590550"/>
                <a:gd name="connsiteX224" fmla="*/ 286193 w 628650"/>
                <a:gd name="connsiteY224" fmla="*/ 492973 h 590550"/>
                <a:gd name="connsiteX225" fmla="*/ 289889 w 628650"/>
                <a:gd name="connsiteY225" fmla="*/ 492973 h 590550"/>
                <a:gd name="connsiteX226" fmla="*/ 293575 w 628650"/>
                <a:gd name="connsiteY226" fmla="*/ 489277 h 590550"/>
                <a:gd name="connsiteX227" fmla="*/ 293575 w 628650"/>
                <a:gd name="connsiteY227" fmla="*/ 492973 h 590550"/>
                <a:gd name="connsiteX228" fmla="*/ 297261 w 628650"/>
                <a:gd name="connsiteY228" fmla="*/ 492973 h 590550"/>
                <a:gd name="connsiteX229" fmla="*/ 300957 w 628650"/>
                <a:gd name="connsiteY229" fmla="*/ 492973 h 590550"/>
                <a:gd name="connsiteX230" fmla="*/ 308329 w 628650"/>
                <a:gd name="connsiteY230" fmla="*/ 492973 h 590550"/>
                <a:gd name="connsiteX231" fmla="*/ 312025 w 628650"/>
                <a:gd name="connsiteY231" fmla="*/ 492973 h 590550"/>
                <a:gd name="connsiteX232" fmla="*/ 312025 w 628650"/>
                <a:gd name="connsiteY232" fmla="*/ 496659 h 590550"/>
                <a:gd name="connsiteX233" fmla="*/ 312025 w 628650"/>
                <a:gd name="connsiteY233" fmla="*/ 500355 h 590550"/>
                <a:gd name="connsiteX234" fmla="*/ 315711 w 628650"/>
                <a:gd name="connsiteY234" fmla="*/ 507737 h 590550"/>
                <a:gd name="connsiteX235" fmla="*/ 326779 w 628650"/>
                <a:gd name="connsiteY235" fmla="*/ 515109 h 590550"/>
                <a:gd name="connsiteX236" fmla="*/ 326779 w 628650"/>
                <a:gd name="connsiteY236" fmla="*/ 522491 h 590550"/>
                <a:gd name="connsiteX237" fmla="*/ 330465 w 628650"/>
                <a:gd name="connsiteY237" fmla="*/ 522491 h 590550"/>
                <a:gd name="connsiteX238" fmla="*/ 330465 w 628650"/>
                <a:gd name="connsiteY238" fmla="*/ 526187 h 590550"/>
                <a:gd name="connsiteX239" fmla="*/ 337847 w 628650"/>
                <a:gd name="connsiteY239" fmla="*/ 526187 h 590550"/>
                <a:gd name="connsiteX240" fmla="*/ 337847 w 628650"/>
                <a:gd name="connsiteY240" fmla="*/ 533569 h 590550"/>
                <a:gd name="connsiteX241" fmla="*/ 341533 w 628650"/>
                <a:gd name="connsiteY241" fmla="*/ 537255 h 590550"/>
                <a:gd name="connsiteX242" fmla="*/ 341533 w 628650"/>
                <a:gd name="connsiteY242" fmla="*/ 540951 h 590550"/>
                <a:gd name="connsiteX243" fmla="*/ 345219 w 628650"/>
                <a:gd name="connsiteY243" fmla="*/ 540951 h 590550"/>
                <a:gd name="connsiteX244" fmla="*/ 348915 w 628650"/>
                <a:gd name="connsiteY244" fmla="*/ 544637 h 590550"/>
                <a:gd name="connsiteX245" fmla="*/ 356287 w 628650"/>
                <a:gd name="connsiteY245" fmla="*/ 540951 h 590550"/>
                <a:gd name="connsiteX246" fmla="*/ 359983 w 628650"/>
                <a:gd name="connsiteY246" fmla="*/ 540951 h 590550"/>
                <a:gd name="connsiteX247" fmla="*/ 378424 w 628650"/>
                <a:gd name="connsiteY247" fmla="*/ 544637 h 590550"/>
                <a:gd name="connsiteX248" fmla="*/ 393187 w 628650"/>
                <a:gd name="connsiteY248" fmla="*/ 540951 h 590550"/>
                <a:gd name="connsiteX249" fmla="*/ 396873 w 628650"/>
                <a:gd name="connsiteY249" fmla="*/ 540951 h 590550"/>
                <a:gd name="connsiteX250" fmla="*/ 404255 w 628650"/>
                <a:gd name="connsiteY250" fmla="*/ 544637 h 590550"/>
                <a:gd name="connsiteX251" fmla="*/ 400560 w 628650"/>
                <a:gd name="connsiteY251" fmla="*/ 548332 h 590550"/>
                <a:gd name="connsiteX252" fmla="*/ 404255 w 628650"/>
                <a:gd name="connsiteY252" fmla="*/ 552019 h 590550"/>
                <a:gd name="connsiteX253" fmla="*/ 407942 w 628650"/>
                <a:gd name="connsiteY253" fmla="*/ 555714 h 590550"/>
                <a:gd name="connsiteX254" fmla="*/ 407942 w 628650"/>
                <a:gd name="connsiteY254" fmla="*/ 552019 h 590550"/>
                <a:gd name="connsiteX255" fmla="*/ 411628 w 628650"/>
                <a:gd name="connsiteY255" fmla="*/ 548332 h 590550"/>
                <a:gd name="connsiteX256" fmla="*/ 415314 w 628650"/>
                <a:gd name="connsiteY256" fmla="*/ 544637 h 590550"/>
                <a:gd name="connsiteX257" fmla="*/ 419010 w 628650"/>
                <a:gd name="connsiteY257" fmla="*/ 548332 h 590550"/>
                <a:gd name="connsiteX258" fmla="*/ 419010 w 628650"/>
                <a:gd name="connsiteY258" fmla="*/ 552019 h 590550"/>
                <a:gd name="connsiteX259" fmla="*/ 422696 w 628650"/>
                <a:gd name="connsiteY259" fmla="*/ 544637 h 590550"/>
                <a:gd name="connsiteX260" fmla="*/ 426382 w 628650"/>
                <a:gd name="connsiteY260" fmla="*/ 544637 h 590550"/>
                <a:gd name="connsiteX261" fmla="*/ 437450 w 628650"/>
                <a:gd name="connsiteY261" fmla="*/ 552019 h 590550"/>
                <a:gd name="connsiteX262" fmla="*/ 437450 w 628650"/>
                <a:gd name="connsiteY262" fmla="*/ 555714 h 590550"/>
                <a:gd name="connsiteX263" fmla="*/ 437450 w 628650"/>
                <a:gd name="connsiteY263" fmla="*/ 559400 h 590550"/>
                <a:gd name="connsiteX264" fmla="*/ 437450 w 628650"/>
                <a:gd name="connsiteY264" fmla="*/ 570468 h 590550"/>
                <a:gd name="connsiteX265" fmla="*/ 430078 w 628650"/>
                <a:gd name="connsiteY265" fmla="*/ 581546 h 590550"/>
                <a:gd name="connsiteX266" fmla="*/ 437450 w 628650"/>
                <a:gd name="connsiteY266" fmla="*/ 581546 h 590550"/>
                <a:gd name="connsiteX267" fmla="*/ 441146 w 628650"/>
                <a:gd name="connsiteY267" fmla="*/ 581546 h 590550"/>
                <a:gd name="connsiteX268" fmla="*/ 448518 w 628650"/>
                <a:gd name="connsiteY268" fmla="*/ 585232 h 590550"/>
                <a:gd name="connsiteX269" fmla="*/ 455900 w 628650"/>
                <a:gd name="connsiteY269" fmla="*/ 588928 h 590550"/>
                <a:gd name="connsiteX270" fmla="*/ 459586 w 628650"/>
                <a:gd name="connsiteY270" fmla="*/ 588928 h 590550"/>
                <a:gd name="connsiteX271" fmla="*/ 481722 w 628650"/>
                <a:gd name="connsiteY271" fmla="*/ 588928 h 590550"/>
                <a:gd name="connsiteX272" fmla="*/ 511240 w 628650"/>
                <a:gd name="connsiteY272" fmla="*/ 588928 h 590550"/>
                <a:gd name="connsiteX273" fmla="*/ 522308 w 628650"/>
                <a:gd name="connsiteY273" fmla="*/ 588928 h 590550"/>
                <a:gd name="connsiteX274" fmla="*/ 525994 w 628650"/>
                <a:gd name="connsiteY274" fmla="*/ 585232 h 590550"/>
                <a:gd name="connsiteX275" fmla="*/ 529680 w 628650"/>
                <a:gd name="connsiteY275" fmla="*/ 581546 h 590550"/>
                <a:gd name="connsiteX276" fmla="*/ 533376 w 628650"/>
                <a:gd name="connsiteY276" fmla="*/ 577850 h 590550"/>
                <a:gd name="connsiteX277" fmla="*/ 533376 w 628650"/>
                <a:gd name="connsiteY277" fmla="*/ 574164 h 590550"/>
                <a:gd name="connsiteX278" fmla="*/ 537062 w 628650"/>
                <a:gd name="connsiteY278" fmla="*/ 555714 h 590550"/>
                <a:gd name="connsiteX279" fmla="*/ 540749 w 628650"/>
                <a:gd name="connsiteY279" fmla="*/ 555714 h 590550"/>
                <a:gd name="connsiteX280" fmla="*/ 540749 w 628650"/>
                <a:gd name="connsiteY280" fmla="*/ 552019 h 590550"/>
                <a:gd name="connsiteX281" fmla="*/ 551817 w 628650"/>
                <a:gd name="connsiteY281" fmla="*/ 544637 h 590550"/>
                <a:gd name="connsiteX282" fmla="*/ 551817 w 628650"/>
                <a:gd name="connsiteY282" fmla="*/ 540951 h 590550"/>
                <a:gd name="connsiteX283" fmla="*/ 562885 w 628650"/>
                <a:gd name="connsiteY283" fmla="*/ 537255 h 590550"/>
                <a:gd name="connsiteX284" fmla="*/ 573953 w 628650"/>
                <a:gd name="connsiteY284" fmla="*/ 537255 h 590550"/>
                <a:gd name="connsiteX285" fmla="*/ 577639 w 628650"/>
                <a:gd name="connsiteY285" fmla="*/ 529873 h 590550"/>
                <a:gd name="connsiteX286" fmla="*/ 577639 w 628650"/>
                <a:gd name="connsiteY286" fmla="*/ 526187 h 590550"/>
                <a:gd name="connsiteX287" fmla="*/ 581335 w 628650"/>
                <a:gd name="connsiteY287" fmla="*/ 522491 h 590550"/>
                <a:gd name="connsiteX288" fmla="*/ 581335 w 628650"/>
                <a:gd name="connsiteY288" fmla="*/ 518805 h 590550"/>
                <a:gd name="connsiteX289" fmla="*/ 585021 w 628650"/>
                <a:gd name="connsiteY289" fmla="*/ 515109 h 590550"/>
                <a:gd name="connsiteX290" fmla="*/ 585021 w 628650"/>
                <a:gd name="connsiteY290" fmla="*/ 511423 h 590550"/>
                <a:gd name="connsiteX291" fmla="*/ 585021 w 628650"/>
                <a:gd name="connsiteY291" fmla="*/ 507737 h 590550"/>
                <a:gd name="connsiteX292" fmla="*/ 585021 w 628650"/>
                <a:gd name="connsiteY292" fmla="*/ 504041 h 590550"/>
                <a:gd name="connsiteX293" fmla="*/ 588707 w 628650"/>
                <a:gd name="connsiteY293" fmla="*/ 500355 h 590550"/>
                <a:gd name="connsiteX294" fmla="*/ 596089 w 628650"/>
                <a:gd name="connsiteY294" fmla="*/ 496659 h 590550"/>
                <a:gd name="connsiteX295" fmla="*/ 599775 w 628650"/>
                <a:gd name="connsiteY295" fmla="*/ 500355 h 590550"/>
                <a:gd name="connsiteX296" fmla="*/ 603471 w 628650"/>
                <a:gd name="connsiteY296" fmla="*/ 500355 h 590550"/>
                <a:gd name="connsiteX297" fmla="*/ 607157 w 628650"/>
                <a:gd name="connsiteY297" fmla="*/ 500355 h 590550"/>
                <a:gd name="connsiteX298" fmla="*/ 614539 w 628650"/>
                <a:gd name="connsiteY298" fmla="*/ 500355 h 590550"/>
                <a:gd name="connsiteX299" fmla="*/ 625597 w 628650"/>
                <a:gd name="connsiteY299" fmla="*/ 492973 h 590550"/>
                <a:gd name="connsiteX300" fmla="*/ 625597 w 628650"/>
                <a:gd name="connsiteY300" fmla="*/ 489277 h 590550"/>
                <a:gd name="connsiteX301" fmla="*/ 614539 w 628650"/>
                <a:gd name="connsiteY301" fmla="*/ 474514 h 590550"/>
                <a:gd name="connsiteX302" fmla="*/ 610843 w 628650"/>
                <a:gd name="connsiteY302" fmla="*/ 470827 h 590550"/>
                <a:gd name="connsiteX303" fmla="*/ 610843 w 628650"/>
                <a:gd name="connsiteY303" fmla="*/ 463446 h 590550"/>
                <a:gd name="connsiteX304" fmla="*/ 607157 w 628650"/>
                <a:gd name="connsiteY304" fmla="*/ 463446 h 590550"/>
                <a:gd name="connsiteX305" fmla="*/ 607157 w 628650"/>
                <a:gd name="connsiteY305" fmla="*/ 459759 h 590550"/>
                <a:gd name="connsiteX306" fmla="*/ 607157 w 628650"/>
                <a:gd name="connsiteY306" fmla="*/ 456064 h 590550"/>
                <a:gd name="connsiteX307" fmla="*/ 607157 w 628650"/>
                <a:gd name="connsiteY307" fmla="*/ 452377 h 590550"/>
                <a:gd name="connsiteX308" fmla="*/ 607157 w 628650"/>
                <a:gd name="connsiteY308" fmla="*/ 448682 h 590550"/>
                <a:gd name="connsiteX309" fmla="*/ 610843 w 628650"/>
                <a:gd name="connsiteY309" fmla="*/ 437614 h 590550"/>
                <a:gd name="connsiteX310" fmla="*/ 610843 w 628650"/>
                <a:gd name="connsiteY310" fmla="*/ 433918 h 590550"/>
                <a:gd name="connsiteX311" fmla="*/ 614539 w 628650"/>
                <a:gd name="connsiteY311" fmla="*/ 433918 h 590550"/>
                <a:gd name="connsiteX312" fmla="*/ 614539 w 628650"/>
                <a:gd name="connsiteY312" fmla="*/ 430232 h 590550"/>
                <a:gd name="connsiteX313" fmla="*/ 618225 w 628650"/>
                <a:gd name="connsiteY313" fmla="*/ 430232 h 590550"/>
                <a:gd name="connsiteX314" fmla="*/ 618225 w 628650"/>
                <a:gd name="connsiteY314" fmla="*/ 426536 h 590550"/>
                <a:gd name="connsiteX315" fmla="*/ 618225 w 628650"/>
                <a:gd name="connsiteY315" fmla="*/ 422850 h 590550"/>
                <a:gd name="connsiteX316" fmla="*/ 621911 w 628650"/>
                <a:gd name="connsiteY316" fmla="*/ 415468 h 590550"/>
                <a:gd name="connsiteX317" fmla="*/ 621911 w 628650"/>
                <a:gd name="connsiteY317" fmla="*/ 411782 h 590550"/>
                <a:gd name="connsiteX318" fmla="*/ 629293 w 628650"/>
                <a:gd name="connsiteY318" fmla="*/ 400704 h 590550"/>
                <a:gd name="connsiteX319" fmla="*/ 629293 w 628650"/>
                <a:gd name="connsiteY319" fmla="*/ 382253 h 590550"/>
                <a:gd name="connsiteX320" fmla="*/ 621911 w 628650"/>
                <a:gd name="connsiteY320" fmla="*/ 367491 h 590550"/>
                <a:gd name="connsiteX321" fmla="*/ 621911 w 628650"/>
                <a:gd name="connsiteY321" fmla="*/ 363801 h 590550"/>
                <a:gd name="connsiteX322" fmla="*/ 621911 w 628650"/>
                <a:gd name="connsiteY322" fmla="*/ 360110 h 590550"/>
                <a:gd name="connsiteX323" fmla="*/ 618225 w 628650"/>
                <a:gd name="connsiteY323" fmla="*/ 360110 h 590550"/>
                <a:gd name="connsiteX324" fmla="*/ 614539 w 628650"/>
                <a:gd name="connsiteY324" fmla="*/ 360110 h 590550"/>
                <a:gd name="connsiteX325" fmla="*/ 610843 w 628650"/>
                <a:gd name="connsiteY325" fmla="*/ 360110 h 590550"/>
                <a:gd name="connsiteX326" fmla="*/ 607157 w 628650"/>
                <a:gd name="connsiteY326" fmla="*/ 352729 h 590550"/>
                <a:gd name="connsiteX327" fmla="*/ 603471 w 628650"/>
                <a:gd name="connsiteY327" fmla="*/ 345348 h 590550"/>
                <a:gd name="connsiteX328" fmla="*/ 596089 w 628650"/>
                <a:gd name="connsiteY328" fmla="*/ 337967 h 590550"/>
                <a:gd name="connsiteX329" fmla="*/ 596089 w 628650"/>
                <a:gd name="connsiteY329" fmla="*/ 334276 h 590550"/>
                <a:gd name="connsiteX330" fmla="*/ 592403 w 628650"/>
                <a:gd name="connsiteY330" fmla="*/ 326895 h 590550"/>
                <a:gd name="connsiteX331" fmla="*/ 592403 w 628650"/>
                <a:gd name="connsiteY331" fmla="*/ 319514 h 590550"/>
                <a:gd name="connsiteX332" fmla="*/ 588707 w 628650"/>
                <a:gd name="connsiteY332" fmla="*/ 312132 h 590550"/>
                <a:gd name="connsiteX333" fmla="*/ 588707 w 628650"/>
                <a:gd name="connsiteY333" fmla="*/ 308442 h 590550"/>
                <a:gd name="connsiteX334" fmla="*/ 585021 w 628650"/>
                <a:gd name="connsiteY334" fmla="*/ 308442 h 590550"/>
                <a:gd name="connsiteX335" fmla="*/ 581335 w 628650"/>
                <a:gd name="connsiteY335" fmla="*/ 308442 h 590550"/>
                <a:gd name="connsiteX336" fmla="*/ 577639 w 628650"/>
                <a:gd name="connsiteY336" fmla="*/ 315823 h 590550"/>
                <a:gd name="connsiteX337" fmla="*/ 573953 w 628650"/>
                <a:gd name="connsiteY337" fmla="*/ 326895 h 590550"/>
                <a:gd name="connsiteX338" fmla="*/ 566571 w 628650"/>
                <a:gd name="connsiteY338" fmla="*/ 330585 h 590550"/>
                <a:gd name="connsiteX339" fmla="*/ 566571 w 628650"/>
                <a:gd name="connsiteY339" fmla="*/ 334276 h 590550"/>
                <a:gd name="connsiteX340" fmla="*/ 562885 w 628650"/>
                <a:gd name="connsiteY340" fmla="*/ 334276 h 590550"/>
                <a:gd name="connsiteX341" fmla="*/ 544444 w 628650"/>
                <a:gd name="connsiteY341" fmla="*/ 330585 h 590550"/>
                <a:gd name="connsiteX342" fmla="*/ 537062 w 628650"/>
                <a:gd name="connsiteY342" fmla="*/ 326895 h 590550"/>
                <a:gd name="connsiteX343" fmla="*/ 525994 w 628650"/>
                <a:gd name="connsiteY343" fmla="*/ 323204 h 590550"/>
                <a:gd name="connsiteX344" fmla="*/ 518612 w 628650"/>
                <a:gd name="connsiteY344" fmla="*/ 323204 h 590550"/>
                <a:gd name="connsiteX345" fmla="*/ 522308 w 628650"/>
                <a:gd name="connsiteY345" fmla="*/ 315823 h 590550"/>
                <a:gd name="connsiteX346" fmla="*/ 514926 w 628650"/>
                <a:gd name="connsiteY346" fmla="*/ 315823 h 590550"/>
                <a:gd name="connsiteX347" fmla="*/ 503858 w 628650"/>
                <a:gd name="connsiteY347" fmla="*/ 315823 h 590550"/>
                <a:gd name="connsiteX348" fmla="*/ 481722 w 628650"/>
                <a:gd name="connsiteY348" fmla="*/ 315823 h 590550"/>
                <a:gd name="connsiteX349" fmla="*/ 474350 w 628650"/>
                <a:gd name="connsiteY349" fmla="*/ 315823 h 590550"/>
                <a:gd name="connsiteX350" fmla="*/ 470654 w 628650"/>
                <a:gd name="connsiteY350" fmla="*/ 312132 h 590550"/>
                <a:gd name="connsiteX351" fmla="*/ 455900 w 628650"/>
                <a:gd name="connsiteY351" fmla="*/ 304751 h 590550"/>
                <a:gd name="connsiteX352" fmla="*/ 452214 w 628650"/>
                <a:gd name="connsiteY352" fmla="*/ 301060 h 590550"/>
                <a:gd name="connsiteX353" fmla="*/ 444832 w 628650"/>
                <a:gd name="connsiteY353" fmla="*/ 297371 h 590550"/>
                <a:gd name="connsiteX354" fmla="*/ 448518 w 628650"/>
                <a:gd name="connsiteY354" fmla="*/ 267846 h 590550"/>
                <a:gd name="connsiteX355" fmla="*/ 441146 w 628650"/>
                <a:gd name="connsiteY355" fmla="*/ 256774 h 590550"/>
                <a:gd name="connsiteX356" fmla="*/ 433764 w 628650"/>
                <a:gd name="connsiteY356" fmla="*/ 242012 h 590550"/>
                <a:gd name="connsiteX357" fmla="*/ 437450 w 628650"/>
                <a:gd name="connsiteY357" fmla="*/ 242012 h 590550"/>
                <a:gd name="connsiteX358" fmla="*/ 444832 w 628650"/>
                <a:gd name="connsiteY358" fmla="*/ 245702 h 590550"/>
                <a:gd name="connsiteX359" fmla="*/ 452214 w 628650"/>
                <a:gd name="connsiteY359" fmla="*/ 245702 h 590550"/>
                <a:gd name="connsiteX360" fmla="*/ 455900 w 628650"/>
                <a:gd name="connsiteY360" fmla="*/ 234630 h 590550"/>
                <a:gd name="connsiteX361" fmla="*/ 463282 w 628650"/>
                <a:gd name="connsiteY361" fmla="*/ 234630 h 590550"/>
                <a:gd name="connsiteX362" fmla="*/ 470654 w 628650"/>
                <a:gd name="connsiteY362" fmla="*/ 238321 h 590550"/>
                <a:gd name="connsiteX363" fmla="*/ 474350 w 628650"/>
                <a:gd name="connsiteY363" fmla="*/ 234630 h 590550"/>
                <a:gd name="connsiteX364" fmla="*/ 452214 w 628650"/>
                <a:gd name="connsiteY364" fmla="*/ 216178 h 590550"/>
                <a:gd name="connsiteX365" fmla="*/ 452214 w 628650"/>
                <a:gd name="connsiteY365" fmla="*/ 208797 h 590550"/>
                <a:gd name="connsiteX366" fmla="*/ 455900 w 628650"/>
                <a:gd name="connsiteY366" fmla="*/ 194035 h 590550"/>
                <a:gd name="connsiteX367" fmla="*/ 455900 w 628650"/>
                <a:gd name="connsiteY367" fmla="*/ 190344 h 590550"/>
                <a:gd name="connsiteX368" fmla="*/ 452214 w 628650"/>
                <a:gd name="connsiteY368" fmla="*/ 186653 h 590550"/>
                <a:gd name="connsiteX369" fmla="*/ 448518 w 628650"/>
                <a:gd name="connsiteY369" fmla="*/ 182963 h 590550"/>
                <a:gd name="connsiteX370" fmla="*/ 444832 w 628650"/>
                <a:gd name="connsiteY370" fmla="*/ 182963 h 590550"/>
                <a:gd name="connsiteX371" fmla="*/ 444832 w 628650"/>
                <a:gd name="connsiteY371" fmla="*/ 179272 h 590550"/>
                <a:gd name="connsiteX372" fmla="*/ 444832 w 628650"/>
                <a:gd name="connsiteY372" fmla="*/ 175582 h 590550"/>
                <a:gd name="connsiteX373" fmla="*/ 444832 w 628650"/>
                <a:gd name="connsiteY373" fmla="*/ 171891 h 590550"/>
                <a:gd name="connsiteX374" fmla="*/ 448518 w 628650"/>
                <a:gd name="connsiteY374" fmla="*/ 168200 h 590550"/>
                <a:gd name="connsiteX375" fmla="*/ 444832 w 628650"/>
                <a:gd name="connsiteY375" fmla="*/ 164510 h 590550"/>
                <a:gd name="connsiteX376" fmla="*/ 437450 w 628650"/>
                <a:gd name="connsiteY376" fmla="*/ 164510 h 590550"/>
                <a:gd name="connsiteX377" fmla="*/ 422696 w 628650"/>
                <a:gd name="connsiteY377" fmla="*/ 157129 h 590550"/>
                <a:gd name="connsiteX378" fmla="*/ 415314 w 628650"/>
                <a:gd name="connsiteY378" fmla="*/ 153438 h 590550"/>
                <a:gd name="connsiteX379" fmla="*/ 407942 w 628650"/>
                <a:gd name="connsiteY379" fmla="*/ 149747 h 590550"/>
                <a:gd name="connsiteX380" fmla="*/ 400560 w 628650"/>
                <a:gd name="connsiteY380" fmla="*/ 146057 h 590550"/>
                <a:gd name="connsiteX381" fmla="*/ 400560 w 628650"/>
                <a:gd name="connsiteY381" fmla="*/ 149747 h 590550"/>
                <a:gd name="connsiteX382" fmla="*/ 396873 w 628650"/>
                <a:gd name="connsiteY382" fmla="*/ 149747 h 590550"/>
                <a:gd name="connsiteX383" fmla="*/ 385805 w 628650"/>
                <a:gd name="connsiteY383" fmla="*/ 153438 h 590550"/>
                <a:gd name="connsiteX384" fmla="*/ 371051 w 628650"/>
                <a:gd name="connsiteY384" fmla="*/ 153438 h 590550"/>
                <a:gd name="connsiteX385" fmla="*/ 367355 w 628650"/>
                <a:gd name="connsiteY385" fmla="*/ 157129 h 590550"/>
                <a:gd name="connsiteX386" fmla="*/ 359983 w 628650"/>
                <a:gd name="connsiteY386" fmla="*/ 164510 h 590550"/>
                <a:gd name="connsiteX387" fmla="*/ 352601 w 628650"/>
                <a:gd name="connsiteY387" fmla="*/ 171891 h 590550"/>
                <a:gd name="connsiteX388" fmla="*/ 356287 w 628650"/>
                <a:gd name="connsiteY388" fmla="*/ 194035 h 590550"/>
                <a:gd name="connsiteX389" fmla="*/ 356287 w 628650"/>
                <a:gd name="connsiteY389" fmla="*/ 197725 h 590550"/>
                <a:gd name="connsiteX390" fmla="*/ 352601 w 628650"/>
                <a:gd name="connsiteY390" fmla="*/ 197725 h 590550"/>
                <a:gd name="connsiteX391" fmla="*/ 348915 w 628650"/>
                <a:gd name="connsiteY391" fmla="*/ 194035 h 590550"/>
                <a:gd name="connsiteX392" fmla="*/ 345219 w 628650"/>
                <a:gd name="connsiteY392" fmla="*/ 194035 h 590550"/>
                <a:gd name="connsiteX393" fmla="*/ 337847 w 628650"/>
                <a:gd name="connsiteY393" fmla="*/ 194035 h 590550"/>
                <a:gd name="connsiteX394" fmla="*/ 334161 w 628650"/>
                <a:gd name="connsiteY394" fmla="*/ 190344 h 590550"/>
                <a:gd name="connsiteX395" fmla="*/ 330465 w 628650"/>
                <a:gd name="connsiteY395" fmla="*/ 186653 h 590550"/>
                <a:gd name="connsiteX396" fmla="*/ 330465 w 628650"/>
                <a:gd name="connsiteY396" fmla="*/ 190344 h 590550"/>
                <a:gd name="connsiteX397" fmla="*/ 326779 w 628650"/>
                <a:gd name="connsiteY397" fmla="*/ 194035 h 590550"/>
                <a:gd name="connsiteX398" fmla="*/ 323093 w 628650"/>
                <a:gd name="connsiteY398" fmla="*/ 197725 h 590550"/>
                <a:gd name="connsiteX399" fmla="*/ 319397 w 628650"/>
                <a:gd name="connsiteY399" fmla="*/ 194035 h 590550"/>
                <a:gd name="connsiteX400" fmla="*/ 315711 w 628650"/>
                <a:gd name="connsiteY400" fmla="*/ 194035 h 590550"/>
                <a:gd name="connsiteX401" fmla="*/ 315711 w 628650"/>
                <a:gd name="connsiteY401" fmla="*/ 190344 h 590550"/>
                <a:gd name="connsiteX402" fmla="*/ 315711 w 628650"/>
                <a:gd name="connsiteY402" fmla="*/ 186653 h 590550"/>
                <a:gd name="connsiteX403" fmla="*/ 312025 w 628650"/>
                <a:gd name="connsiteY403" fmla="*/ 186653 h 590550"/>
                <a:gd name="connsiteX404" fmla="*/ 308329 w 628650"/>
                <a:gd name="connsiteY404" fmla="*/ 190344 h 590550"/>
                <a:gd name="connsiteX405" fmla="*/ 308329 w 628650"/>
                <a:gd name="connsiteY405" fmla="*/ 194035 h 590550"/>
                <a:gd name="connsiteX406" fmla="*/ 304643 w 628650"/>
                <a:gd name="connsiteY406" fmla="*/ 194035 h 590550"/>
                <a:gd name="connsiteX407" fmla="*/ 304643 w 628650"/>
                <a:gd name="connsiteY407" fmla="*/ 190344 h 590550"/>
                <a:gd name="connsiteX408" fmla="*/ 300957 w 628650"/>
                <a:gd name="connsiteY408" fmla="*/ 190344 h 590550"/>
                <a:gd name="connsiteX409" fmla="*/ 300957 w 628650"/>
                <a:gd name="connsiteY409" fmla="*/ 194035 h 590550"/>
                <a:gd name="connsiteX410" fmla="*/ 297261 w 628650"/>
                <a:gd name="connsiteY410" fmla="*/ 194035 h 590550"/>
                <a:gd name="connsiteX411" fmla="*/ 293575 w 628650"/>
                <a:gd name="connsiteY411" fmla="*/ 194035 h 590550"/>
                <a:gd name="connsiteX412" fmla="*/ 293575 w 628650"/>
                <a:gd name="connsiteY412" fmla="*/ 197725 h 590550"/>
                <a:gd name="connsiteX413" fmla="*/ 289889 w 628650"/>
                <a:gd name="connsiteY413" fmla="*/ 197725 h 590550"/>
                <a:gd name="connsiteX414" fmla="*/ 286193 w 628650"/>
                <a:gd name="connsiteY414" fmla="*/ 194035 h 590550"/>
                <a:gd name="connsiteX415" fmla="*/ 286193 w 628650"/>
                <a:gd name="connsiteY415" fmla="*/ 186653 h 590550"/>
                <a:gd name="connsiteX416" fmla="*/ 282507 w 628650"/>
                <a:gd name="connsiteY416" fmla="*/ 182963 h 590550"/>
                <a:gd name="connsiteX417" fmla="*/ 282507 w 628650"/>
                <a:gd name="connsiteY417" fmla="*/ 179272 h 590550"/>
                <a:gd name="connsiteX418" fmla="*/ 278821 w 628650"/>
                <a:gd name="connsiteY418" fmla="*/ 179272 h 590550"/>
                <a:gd name="connsiteX419" fmla="*/ 278821 w 628650"/>
                <a:gd name="connsiteY419" fmla="*/ 175582 h 590550"/>
                <a:gd name="connsiteX420" fmla="*/ 278821 w 628650"/>
                <a:gd name="connsiteY420" fmla="*/ 171891 h 590550"/>
                <a:gd name="connsiteX421" fmla="*/ 275125 w 628650"/>
                <a:gd name="connsiteY421" fmla="*/ 171891 h 590550"/>
                <a:gd name="connsiteX422" fmla="*/ 271439 w 628650"/>
                <a:gd name="connsiteY422" fmla="*/ 168200 h 590550"/>
                <a:gd name="connsiteX423" fmla="*/ 267753 w 628650"/>
                <a:gd name="connsiteY423" fmla="*/ 168200 h 590550"/>
                <a:gd name="connsiteX424" fmla="*/ 264066 w 628650"/>
                <a:gd name="connsiteY424" fmla="*/ 164510 h 590550"/>
                <a:gd name="connsiteX425" fmla="*/ 264066 w 628650"/>
                <a:gd name="connsiteY425" fmla="*/ 160819 h 590550"/>
                <a:gd name="connsiteX426" fmla="*/ 260371 w 628650"/>
                <a:gd name="connsiteY426" fmla="*/ 160819 h 590550"/>
                <a:gd name="connsiteX427" fmla="*/ 260371 w 628650"/>
                <a:gd name="connsiteY427" fmla="*/ 157129 h 590550"/>
                <a:gd name="connsiteX428" fmla="*/ 264066 w 628650"/>
                <a:gd name="connsiteY428" fmla="*/ 157129 h 590550"/>
                <a:gd name="connsiteX429" fmla="*/ 264066 w 628650"/>
                <a:gd name="connsiteY429" fmla="*/ 153438 h 590550"/>
                <a:gd name="connsiteX430" fmla="*/ 260371 w 628650"/>
                <a:gd name="connsiteY430" fmla="*/ 153438 h 590550"/>
                <a:gd name="connsiteX431" fmla="*/ 256684 w 628650"/>
                <a:gd name="connsiteY431" fmla="*/ 153438 h 590550"/>
                <a:gd name="connsiteX432" fmla="*/ 252998 w 628650"/>
                <a:gd name="connsiteY432" fmla="*/ 157129 h 590550"/>
                <a:gd name="connsiteX433" fmla="*/ 249303 w 628650"/>
                <a:gd name="connsiteY433" fmla="*/ 157129 h 590550"/>
                <a:gd name="connsiteX434" fmla="*/ 245616 w 628650"/>
                <a:gd name="connsiteY434" fmla="*/ 157129 h 590550"/>
                <a:gd name="connsiteX435" fmla="*/ 241930 w 628650"/>
                <a:gd name="connsiteY435" fmla="*/ 157129 h 590550"/>
                <a:gd name="connsiteX436" fmla="*/ 241930 w 628650"/>
                <a:gd name="connsiteY436" fmla="*/ 153438 h 590550"/>
                <a:gd name="connsiteX437" fmla="*/ 238235 w 628650"/>
                <a:gd name="connsiteY437" fmla="*/ 153438 h 590550"/>
                <a:gd name="connsiteX438" fmla="*/ 238235 w 628650"/>
                <a:gd name="connsiteY438" fmla="*/ 157129 h 590550"/>
                <a:gd name="connsiteX439" fmla="*/ 234548 w 628650"/>
                <a:gd name="connsiteY439" fmla="*/ 157129 h 590550"/>
                <a:gd name="connsiteX440" fmla="*/ 230862 w 628650"/>
                <a:gd name="connsiteY440" fmla="*/ 157129 h 590550"/>
                <a:gd name="connsiteX441" fmla="*/ 230862 w 628650"/>
                <a:gd name="connsiteY441" fmla="*/ 153438 h 590550"/>
                <a:gd name="connsiteX442" fmla="*/ 227166 w 628650"/>
                <a:gd name="connsiteY442" fmla="*/ 153438 h 590550"/>
                <a:gd name="connsiteX443" fmla="*/ 223480 w 628650"/>
                <a:gd name="connsiteY443" fmla="*/ 149747 h 590550"/>
                <a:gd name="connsiteX444" fmla="*/ 223480 w 628650"/>
                <a:gd name="connsiteY444" fmla="*/ 146057 h 590550"/>
                <a:gd name="connsiteX445" fmla="*/ 219794 w 628650"/>
                <a:gd name="connsiteY445" fmla="*/ 146057 h 590550"/>
                <a:gd name="connsiteX446" fmla="*/ 216098 w 628650"/>
                <a:gd name="connsiteY446" fmla="*/ 146057 h 590550"/>
                <a:gd name="connsiteX447" fmla="*/ 212412 w 628650"/>
                <a:gd name="connsiteY447" fmla="*/ 146057 h 590550"/>
                <a:gd name="connsiteX448" fmla="*/ 212412 w 628650"/>
                <a:gd name="connsiteY448" fmla="*/ 142366 h 590550"/>
                <a:gd name="connsiteX449" fmla="*/ 208726 w 628650"/>
                <a:gd name="connsiteY449" fmla="*/ 142366 h 590550"/>
                <a:gd name="connsiteX450" fmla="*/ 205030 w 628650"/>
                <a:gd name="connsiteY450" fmla="*/ 142366 h 590550"/>
                <a:gd name="connsiteX451" fmla="*/ 201344 w 628650"/>
                <a:gd name="connsiteY451" fmla="*/ 142366 h 590550"/>
                <a:gd name="connsiteX452" fmla="*/ 197658 w 628650"/>
                <a:gd name="connsiteY452" fmla="*/ 146057 h 590550"/>
                <a:gd name="connsiteX453" fmla="*/ 197658 w 628650"/>
                <a:gd name="connsiteY453" fmla="*/ 149747 h 590550"/>
                <a:gd name="connsiteX454" fmla="*/ 193962 w 628650"/>
                <a:gd name="connsiteY454" fmla="*/ 146057 h 590550"/>
                <a:gd name="connsiteX455" fmla="*/ 193962 w 628650"/>
                <a:gd name="connsiteY455" fmla="*/ 142366 h 590550"/>
                <a:gd name="connsiteX456" fmla="*/ 190276 w 628650"/>
                <a:gd name="connsiteY456" fmla="*/ 146057 h 590550"/>
                <a:gd name="connsiteX457" fmla="*/ 193962 w 628650"/>
                <a:gd name="connsiteY457" fmla="*/ 149747 h 590550"/>
                <a:gd name="connsiteX458" fmla="*/ 182904 w 628650"/>
                <a:gd name="connsiteY458" fmla="*/ 146057 h 590550"/>
                <a:gd name="connsiteX459" fmla="*/ 186590 w 628650"/>
                <a:gd name="connsiteY459" fmla="*/ 142366 h 590550"/>
                <a:gd name="connsiteX460" fmla="*/ 186590 w 628650"/>
                <a:gd name="connsiteY460" fmla="*/ 138675 h 590550"/>
                <a:gd name="connsiteX461" fmla="*/ 179208 w 628650"/>
                <a:gd name="connsiteY461" fmla="*/ 134985 h 590550"/>
                <a:gd name="connsiteX462" fmla="*/ 179208 w 628650"/>
                <a:gd name="connsiteY462" fmla="*/ 131295 h 590550"/>
                <a:gd name="connsiteX463" fmla="*/ 171836 w 628650"/>
                <a:gd name="connsiteY463" fmla="*/ 120223 h 590550"/>
                <a:gd name="connsiteX464" fmla="*/ 171836 w 628650"/>
                <a:gd name="connsiteY464" fmla="*/ 116533 h 590550"/>
                <a:gd name="connsiteX465" fmla="*/ 171836 w 628650"/>
                <a:gd name="connsiteY465" fmla="*/ 112842 h 590550"/>
                <a:gd name="connsiteX466" fmla="*/ 168140 w 628650"/>
                <a:gd name="connsiteY466" fmla="*/ 105461 h 590550"/>
                <a:gd name="connsiteX467" fmla="*/ 164454 w 628650"/>
                <a:gd name="connsiteY467" fmla="*/ 98080 h 590550"/>
                <a:gd name="connsiteX468" fmla="*/ 160768 w 628650"/>
                <a:gd name="connsiteY468" fmla="*/ 90698 h 590550"/>
                <a:gd name="connsiteX469" fmla="*/ 160768 w 628650"/>
                <a:gd name="connsiteY469" fmla="*/ 87008 h 590550"/>
                <a:gd name="connsiteX470" fmla="*/ 164454 w 628650"/>
                <a:gd name="connsiteY470" fmla="*/ 87008 h 590550"/>
                <a:gd name="connsiteX471" fmla="*/ 168140 w 628650"/>
                <a:gd name="connsiteY471" fmla="*/ 83317 h 590550"/>
                <a:gd name="connsiteX472" fmla="*/ 179208 w 628650"/>
                <a:gd name="connsiteY472" fmla="*/ 79627 h 590550"/>
                <a:gd name="connsiteX473" fmla="*/ 182904 w 628650"/>
                <a:gd name="connsiteY473" fmla="*/ 75936 h 590550"/>
                <a:gd name="connsiteX474" fmla="*/ 186590 w 628650"/>
                <a:gd name="connsiteY474" fmla="*/ 75936 h 590550"/>
                <a:gd name="connsiteX475" fmla="*/ 186590 w 628650"/>
                <a:gd name="connsiteY475" fmla="*/ 72246 h 590550"/>
                <a:gd name="connsiteX476" fmla="*/ 193962 w 628650"/>
                <a:gd name="connsiteY476" fmla="*/ 64864 h 590550"/>
                <a:gd name="connsiteX477" fmla="*/ 197658 w 628650"/>
                <a:gd name="connsiteY477" fmla="*/ 61174 h 590550"/>
                <a:gd name="connsiteX478" fmla="*/ 201344 w 628650"/>
                <a:gd name="connsiteY478" fmla="*/ 53792 h 590550"/>
                <a:gd name="connsiteX479" fmla="*/ 197658 w 628650"/>
                <a:gd name="connsiteY479" fmla="*/ 53792 h 590550"/>
                <a:gd name="connsiteX480" fmla="*/ 193962 w 628650"/>
                <a:gd name="connsiteY480" fmla="*/ 46412 h 590550"/>
                <a:gd name="connsiteX481" fmla="*/ 190276 w 628650"/>
                <a:gd name="connsiteY481" fmla="*/ 42722 h 590550"/>
                <a:gd name="connsiteX482" fmla="*/ 186590 w 628650"/>
                <a:gd name="connsiteY482" fmla="*/ 39031 h 590550"/>
                <a:gd name="connsiteX483" fmla="*/ 179208 w 628650"/>
                <a:gd name="connsiteY483" fmla="*/ 31650 h 590550"/>
                <a:gd name="connsiteX484" fmla="*/ 175522 w 628650"/>
                <a:gd name="connsiteY484" fmla="*/ 27959 h 590550"/>
                <a:gd name="connsiteX485" fmla="*/ 164454 w 628650"/>
                <a:gd name="connsiteY485" fmla="*/ 16887 h 590550"/>
                <a:gd name="connsiteX486" fmla="*/ 164454 w 628650"/>
                <a:gd name="connsiteY486" fmla="*/ 13197 h 590550"/>
                <a:gd name="connsiteX487" fmla="*/ 160768 w 628650"/>
                <a:gd name="connsiteY487" fmla="*/ 5815 h 590550"/>
                <a:gd name="connsiteX488" fmla="*/ 186590 w 628650"/>
                <a:gd name="connsiteY488" fmla="*/ 507737 h 590550"/>
                <a:gd name="connsiteX489" fmla="*/ 186590 w 628650"/>
                <a:gd name="connsiteY489" fmla="*/ 511423 h 590550"/>
                <a:gd name="connsiteX490" fmla="*/ 186590 w 628650"/>
                <a:gd name="connsiteY490" fmla="*/ 515109 h 590550"/>
                <a:gd name="connsiteX491" fmla="*/ 190276 w 628650"/>
                <a:gd name="connsiteY491" fmla="*/ 511423 h 590550"/>
                <a:gd name="connsiteX492" fmla="*/ 186590 w 628650"/>
                <a:gd name="connsiteY492" fmla="*/ 507737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Lst>
              <a:rect l="l" t="t" r="r" b="b"/>
              <a:pathLst>
                <a:path w="628650" h="590550">
                  <a:moveTo>
                    <a:pt x="160768" y="5815"/>
                  </a:moveTo>
                  <a:lnTo>
                    <a:pt x="149700" y="13197"/>
                  </a:lnTo>
                  <a:lnTo>
                    <a:pt x="146004" y="16887"/>
                  </a:lnTo>
                  <a:lnTo>
                    <a:pt x="142318" y="20578"/>
                  </a:lnTo>
                  <a:lnTo>
                    <a:pt x="131250" y="20578"/>
                  </a:lnTo>
                  <a:lnTo>
                    <a:pt x="127564" y="20578"/>
                  </a:lnTo>
                  <a:lnTo>
                    <a:pt x="131250" y="27959"/>
                  </a:lnTo>
                  <a:lnTo>
                    <a:pt x="131250" y="31650"/>
                  </a:lnTo>
                  <a:lnTo>
                    <a:pt x="127564" y="31650"/>
                  </a:lnTo>
                  <a:lnTo>
                    <a:pt x="123877" y="35340"/>
                  </a:lnTo>
                  <a:lnTo>
                    <a:pt x="116495" y="39031"/>
                  </a:lnTo>
                  <a:lnTo>
                    <a:pt x="116495" y="31650"/>
                  </a:lnTo>
                  <a:lnTo>
                    <a:pt x="105427" y="35340"/>
                  </a:lnTo>
                  <a:lnTo>
                    <a:pt x="101741" y="39031"/>
                  </a:lnTo>
                  <a:lnTo>
                    <a:pt x="101741" y="35340"/>
                  </a:lnTo>
                  <a:lnTo>
                    <a:pt x="98046" y="35340"/>
                  </a:lnTo>
                  <a:lnTo>
                    <a:pt x="94359" y="31650"/>
                  </a:lnTo>
                  <a:lnTo>
                    <a:pt x="90673" y="24269"/>
                  </a:lnTo>
                  <a:lnTo>
                    <a:pt x="90673" y="16887"/>
                  </a:lnTo>
                  <a:lnTo>
                    <a:pt x="83291" y="20578"/>
                  </a:lnTo>
                  <a:lnTo>
                    <a:pt x="83291" y="24269"/>
                  </a:lnTo>
                  <a:lnTo>
                    <a:pt x="75909" y="20578"/>
                  </a:lnTo>
                  <a:lnTo>
                    <a:pt x="75909" y="24269"/>
                  </a:lnTo>
                  <a:lnTo>
                    <a:pt x="68537" y="24269"/>
                  </a:lnTo>
                  <a:lnTo>
                    <a:pt x="64841" y="27959"/>
                  </a:lnTo>
                  <a:lnTo>
                    <a:pt x="64841" y="31650"/>
                  </a:lnTo>
                  <a:lnTo>
                    <a:pt x="61155" y="35340"/>
                  </a:lnTo>
                  <a:lnTo>
                    <a:pt x="61155" y="39031"/>
                  </a:lnTo>
                  <a:lnTo>
                    <a:pt x="57469" y="42722"/>
                  </a:lnTo>
                  <a:lnTo>
                    <a:pt x="53773" y="42722"/>
                  </a:lnTo>
                  <a:lnTo>
                    <a:pt x="53773" y="46412"/>
                  </a:lnTo>
                  <a:lnTo>
                    <a:pt x="50087" y="46412"/>
                  </a:lnTo>
                  <a:lnTo>
                    <a:pt x="46401" y="50102"/>
                  </a:lnTo>
                  <a:lnTo>
                    <a:pt x="42715" y="50102"/>
                  </a:lnTo>
                  <a:lnTo>
                    <a:pt x="39019" y="50102"/>
                  </a:lnTo>
                  <a:lnTo>
                    <a:pt x="35333" y="50102"/>
                  </a:lnTo>
                  <a:lnTo>
                    <a:pt x="31647" y="46412"/>
                  </a:lnTo>
                  <a:lnTo>
                    <a:pt x="27951" y="46412"/>
                  </a:lnTo>
                  <a:lnTo>
                    <a:pt x="24265" y="46412"/>
                  </a:lnTo>
                  <a:lnTo>
                    <a:pt x="24265" y="42722"/>
                  </a:lnTo>
                  <a:lnTo>
                    <a:pt x="20579" y="42722"/>
                  </a:lnTo>
                  <a:lnTo>
                    <a:pt x="16883" y="42722"/>
                  </a:lnTo>
                  <a:lnTo>
                    <a:pt x="16883" y="39031"/>
                  </a:lnTo>
                  <a:lnTo>
                    <a:pt x="13197" y="39031"/>
                  </a:lnTo>
                  <a:lnTo>
                    <a:pt x="5815" y="46412"/>
                  </a:lnTo>
                  <a:lnTo>
                    <a:pt x="9511" y="53792"/>
                  </a:lnTo>
                  <a:lnTo>
                    <a:pt x="13197" y="57483"/>
                  </a:lnTo>
                  <a:lnTo>
                    <a:pt x="16883" y="61174"/>
                  </a:lnTo>
                  <a:lnTo>
                    <a:pt x="16883" y="64864"/>
                  </a:lnTo>
                  <a:lnTo>
                    <a:pt x="24265" y="64864"/>
                  </a:lnTo>
                  <a:lnTo>
                    <a:pt x="31647" y="64864"/>
                  </a:lnTo>
                  <a:lnTo>
                    <a:pt x="35333" y="68555"/>
                  </a:lnTo>
                  <a:lnTo>
                    <a:pt x="46401" y="72246"/>
                  </a:lnTo>
                  <a:lnTo>
                    <a:pt x="50087" y="79627"/>
                  </a:lnTo>
                  <a:lnTo>
                    <a:pt x="53773" y="83317"/>
                  </a:lnTo>
                  <a:lnTo>
                    <a:pt x="57469" y="83317"/>
                  </a:lnTo>
                  <a:lnTo>
                    <a:pt x="64841" y="90698"/>
                  </a:lnTo>
                  <a:lnTo>
                    <a:pt x="68537" y="101770"/>
                  </a:lnTo>
                  <a:lnTo>
                    <a:pt x="75909" y="116533"/>
                  </a:lnTo>
                  <a:lnTo>
                    <a:pt x="75909" y="120223"/>
                  </a:lnTo>
                  <a:lnTo>
                    <a:pt x="79605" y="120223"/>
                  </a:lnTo>
                  <a:lnTo>
                    <a:pt x="83291" y="123914"/>
                  </a:lnTo>
                  <a:lnTo>
                    <a:pt x="83291" y="127604"/>
                  </a:lnTo>
                  <a:lnTo>
                    <a:pt x="86978" y="131295"/>
                  </a:lnTo>
                  <a:lnTo>
                    <a:pt x="86978" y="134985"/>
                  </a:lnTo>
                  <a:lnTo>
                    <a:pt x="86978" y="138675"/>
                  </a:lnTo>
                  <a:lnTo>
                    <a:pt x="79605" y="142366"/>
                  </a:lnTo>
                  <a:lnTo>
                    <a:pt x="75909" y="146057"/>
                  </a:lnTo>
                  <a:lnTo>
                    <a:pt x="72223" y="149747"/>
                  </a:lnTo>
                  <a:lnTo>
                    <a:pt x="72223" y="153438"/>
                  </a:lnTo>
                  <a:lnTo>
                    <a:pt x="72223" y="157129"/>
                  </a:lnTo>
                  <a:lnTo>
                    <a:pt x="75909" y="157129"/>
                  </a:lnTo>
                  <a:lnTo>
                    <a:pt x="75909" y="153438"/>
                  </a:lnTo>
                  <a:lnTo>
                    <a:pt x="83291" y="157129"/>
                  </a:lnTo>
                  <a:lnTo>
                    <a:pt x="86978" y="157129"/>
                  </a:lnTo>
                  <a:lnTo>
                    <a:pt x="94359" y="160819"/>
                  </a:lnTo>
                  <a:lnTo>
                    <a:pt x="98046" y="164510"/>
                  </a:lnTo>
                  <a:lnTo>
                    <a:pt x="101741" y="168200"/>
                  </a:lnTo>
                  <a:lnTo>
                    <a:pt x="109114" y="168200"/>
                  </a:lnTo>
                  <a:lnTo>
                    <a:pt x="112809" y="175582"/>
                  </a:lnTo>
                  <a:lnTo>
                    <a:pt x="109114" y="179272"/>
                  </a:lnTo>
                  <a:lnTo>
                    <a:pt x="98046" y="186653"/>
                  </a:lnTo>
                  <a:lnTo>
                    <a:pt x="94359" y="186653"/>
                  </a:lnTo>
                  <a:lnTo>
                    <a:pt x="83291" y="190344"/>
                  </a:lnTo>
                  <a:lnTo>
                    <a:pt x="83291" y="194035"/>
                  </a:lnTo>
                  <a:lnTo>
                    <a:pt x="75909" y="197725"/>
                  </a:lnTo>
                  <a:lnTo>
                    <a:pt x="72223" y="197725"/>
                  </a:lnTo>
                  <a:lnTo>
                    <a:pt x="64841" y="201416"/>
                  </a:lnTo>
                  <a:lnTo>
                    <a:pt x="61155" y="197725"/>
                  </a:lnTo>
                  <a:lnTo>
                    <a:pt x="57469" y="194035"/>
                  </a:lnTo>
                  <a:lnTo>
                    <a:pt x="27951" y="201416"/>
                  </a:lnTo>
                  <a:lnTo>
                    <a:pt x="24265" y="205107"/>
                  </a:lnTo>
                  <a:lnTo>
                    <a:pt x="24265" y="212488"/>
                  </a:lnTo>
                  <a:lnTo>
                    <a:pt x="24265" y="216178"/>
                  </a:lnTo>
                  <a:lnTo>
                    <a:pt x="24265" y="219868"/>
                  </a:lnTo>
                  <a:lnTo>
                    <a:pt x="27951" y="223559"/>
                  </a:lnTo>
                  <a:lnTo>
                    <a:pt x="27951" y="227249"/>
                  </a:lnTo>
                  <a:lnTo>
                    <a:pt x="13197" y="223559"/>
                  </a:lnTo>
                  <a:lnTo>
                    <a:pt x="16883" y="227249"/>
                  </a:lnTo>
                  <a:lnTo>
                    <a:pt x="20579" y="227249"/>
                  </a:lnTo>
                  <a:lnTo>
                    <a:pt x="24265" y="227249"/>
                  </a:lnTo>
                  <a:lnTo>
                    <a:pt x="24265" y="230940"/>
                  </a:lnTo>
                  <a:lnTo>
                    <a:pt x="27951" y="234630"/>
                  </a:lnTo>
                  <a:lnTo>
                    <a:pt x="27951" y="238321"/>
                  </a:lnTo>
                  <a:lnTo>
                    <a:pt x="27951" y="242012"/>
                  </a:lnTo>
                  <a:lnTo>
                    <a:pt x="31647" y="245702"/>
                  </a:lnTo>
                  <a:lnTo>
                    <a:pt x="35333" y="249393"/>
                  </a:lnTo>
                  <a:lnTo>
                    <a:pt x="35333" y="253083"/>
                  </a:lnTo>
                  <a:lnTo>
                    <a:pt x="35333" y="256774"/>
                  </a:lnTo>
                  <a:lnTo>
                    <a:pt x="39019" y="260465"/>
                  </a:lnTo>
                  <a:lnTo>
                    <a:pt x="39019" y="267846"/>
                  </a:lnTo>
                  <a:lnTo>
                    <a:pt x="39019" y="275227"/>
                  </a:lnTo>
                  <a:lnTo>
                    <a:pt x="46401" y="271537"/>
                  </a:lnTo>
                  <a:lnTo>
                    <a:pt x="50087" y="275227"/>
                  </a:lnTo>
                  <a:lnTo>
                    <a:pt x="57469" y="286299"/>
                  </a:lnTo>
                  <a:lnTo>
                    <a:pt x="61155" y="293680"/>
                  </a:lnTo>
                  <a:lnTo>
                    <a:pt x="68537" y="304751"/>
                  </a:lnTo>
                  <a:lnTo>
                    <a:pt x="68537" y="312132"/>
                  </a:lnTo>
                  <a:lnTo>
                    <a:pt x="75909" y="308442"/>
                  </a:lnTo>
                  <a:lnTo>
                    <a:pt x="79605" y="304751"/>
                  </a:lnTo>
                  <a:lnTo>
                    <a:pt x="83291" y="301060"/>
                  </a:lnTo>
                  <a:lnTo>
                    <a:pt x="83291" y="304751"/>
                  </a:lnTo>
                  <a:lnTo>
                    <a:pt x="86978" y="308442"/>
                  </a:lnTo>
                  <a:lnTo>
                    <a:pt x="90673" y="304751"/>
                  </a:lnTo>
                  <a:lnTo>
                    <a:pt x="98046" y="297371"/>
                  </a:lnTo>
                  <a:lnTo>
                    <a:pt x="105427" y="289990"/>
                  </a:lnTo>
                  <a:lnTo>
                    <a:pt x="109114" y="286299"/>
                  </a:lnTo>
                  <a:lnTo>
                    <a:pt x="112809" y="286299"/>
                  </a:lnTo>
                  <a:lnTo>
                    <a:pt x="116495" y="286299"/>
                  </a:lnTo>
                  <a:lnTo>
                    <a:pt x="120182" y="282608"/>
                  </a:lnTo>
                  <a:lnTo>
                    <a:pt x="123877" y="286299"/>
                  </a:lnTo>
                  <a:lnTo>
                    <a:pt x="127564" y="286299"/>
                  </a:lnTo>
                  <a:lnTo>
                    <a:pt x="131250" y="289990"/>
                  </a:lnTo>
                  <a:lnTo>
                    <a:pt x="134936" y="293680"/>
                  </a:lnTo>
                  <a:lnTo>
                    <a:pt x="134936" y="297371"/>
                  </a:lnTo>
                  <a:lnTo>
                    <a:pt x="134936" y="301060"/>
                  </a:lnTo>
                  <a:lnTo>
                    <a:pt x="138632" y="304751"/>
                  </a:lnTo>
                  <a:lnTo>
                    <a:pt x="149700" y="308442"/>
                  </a:lnTo>
                  <a:lnTo>
                    <a:pt x="153386" y="312132"/>
                  </a:lnTo>
                  <a:lnTo>
                    <a:pt x="153386" y="315823"/>
                  </a:lnTo>
                  <a:lnTo>
                    <a:pt x="157072" y="326895"/>
                  </a:lnTo>
                  <a:lnTo>
                    <a:pt x="157072" y="334276"/>
                  </a:lnTo>
                  <a:lnTo>
                    <a:pt x="160768" y="337967"/>
                  </a:lnTo>
                  <a:lnTo>
                    <a:pt x="164454" y="341657"/>
                  </a:lnTo>
                  <a:lnTo>
                    <a:pt x="164454" y="349038"/>
                  </a:lnTo>
                  <a:lnTo>
                    <a:pt x="160768" y="352729"/>
                  </a:lnTo>
                  <a:lnTo>
                    <a:pt x="160768" y="356420"/>
                  </a:lnTo>
                  <a:lnTo>
                    <a:pt x="160768" y="363801"/>
                  </a:lnTo>
                  <a:lnTo>
                    <a:pt x="164454" y="367491"/>
                  </a:lnTo>
                  <a:lnTo>
                    <a:pt x="168140" y="367491"/>
                  </a:lnTo>
                  <a:lnTo>
                    <a:pt x="168140" y="371182"/>
                  </a:lnTo>
                  <a:lnTo>
                    <a:pt x="168140" y="374873"/>
                  </a:lnTo>
                  <a:lnTo>
                    <a:pt x="168140" y="382253"/>
                  </a:lnTo>
                  <a:lnTo>
                    <a:pt x="164454" y="382253"/>
                  </a:lnTo>
                  <a:lnTo>
                    <a:pt x="164454" y="385943"/>
                  </a:lnTo>
                  <a:lnTo>
                    <a:pt x="160768" y="385943"/>
                  </a:lnTo>
                  <a:lnTo>
                    <a:pt x="153386" y="389634"/>
                  </a:lnTo>
                  <a:lnTo>
                    <a:pt x="146004" y="389634"/>
                  </a:lnTo>
                  <a:lnTo>
                    <a:pt x="146004" y="393323"/>
                  </a:lnTo>
                  <a:lnTo>
                    <a:pt x="142318" y="393323"/>
                  </a:lnTo>
                  <a:lnTo>
                    <a:pt x="142318" y="397018"/>
                  </a:lnTo>
                  <a:lnTo>
                    <a:pt x="146004" y="400704"/>
                  </a:lnTo>
                  <a:lnTo>
                    <a:pt x="149700" y="400704"/>
                  </a:lnTo>
                  <a:lnTo>
                    <a:pt x="153386" y="404400"/>
                  </a:lnTo>
                  <a:lnTo>
                    <a:pt x="149700" y="404400"/>
                  </a:lnTo>
                  <a:lnTo>
                    <a:pt x="146004" y="408086"/>
                  </a:lnTo>
                  <a:lnTo>
                    <a:pt x="142318" y="408086"/>
                  </a:lnTo>
                  <a:lnTo>
                    <a:pt x="142318" y="415468"/>
                  </a:lnTo>
                  <a:lnTo>
                    <a:pt x="142318" y="422850"/>
                  </a:lnTo>
                  <a:lnTo>
                    <a:pt x="142318" y="430232"/>
                  </a:lnTo>
                  <a:lnTo>
                    <a:pt x="138632" y="430232"/>
                  </a:lnTo>
                  <a:lnTo>
                    <a:pt x="138632" y="433918"/>
                  </a:lnTo>
                  <a:lnTo>
                    <a:pt x="142318" y="433918"/>
                  </a:lnTo>
                  <a:lnTo>
                    <a:pt x="146004" y="433918"/>
                  </a:lnTo>
                  <a:lnTo>
                    <a:pt x="146004" y="437614"/>
                  </a:lnTo>
                  <a:lnTo>
                    <a:pt x="146004" y="448682"/>
                  </a:lnTo>
                  <a:lnTo>
                    <a:pt x="149700" y="448682"/>
                  </a:lnTo>
                  <a:lnTo>
                    <a:pt x="153386" y="448682"/>
                  </a:lnTo>
                  <a:lnTo>
                    <a:pt x="157072" y="448682"/>
                  </a:lnTo>
                  <a:lnTo>
                    <a:pt x="157072" y="452377"/>
                  </a:lnTo>
                  <a:lnTo>
                    <a:pt x="157072" y="456064"/>
                  </a:lnTo>
                  <a:lnTo>
                    <a:pt x="160768" y="456064"/>
                  </a:lnTo>
                  <a:lnTo>
                    <a:pt x="160768" y="467132"/>
                  </a:lnTo>
                  <a:lnTo>
                    <a:pt x="164454" y="470827"/>
                  </a:lnTo>
                  <a:lnTo>
                    <a:pt x="168140" y="474514"/>
                  </a:lnTo>
                  <a:lnTo>
                    <a:pt x="168140" y="478209"/>
                  </a:lnTo>
                  <a:lnTo>
                    <a:pt x="168140" y="481895"/>
                  </a:lnTo>
                  <a:lnTo>
                    <a:pt x="168140" y="485591"/>
                  </a:lnTo>
                  <a:lnTo>
                    <a:pt x="171836" y="489277"/>
                  </a:lnTo>
                  <a:lnTo>
                    <a:pt x="175522" y="489277"/>
                  </a:lnTo>
                  <a:lnTo>
                    <a:pt x="179208" y="489277"/>
                  </a:lnTo>
                  <a:lnTo>
                    <a:pt x="182904" y="489277"/>
                  </a:lnTo>
                  <a:lnTo>
                    <a:pt x="182904" y="492973"/>
                  </a:lnTo>
                  <a:lnTo>
                    <a:pt x="179208" y="492973"/>
                  </a:lnTo>
                  <a:lnTo>
                    <a:pt x="175522" y="496659"/>
                  </a:lnTo>
                  <a:lnTo>
                    <a:pt x="175522" y="500355"/>
                  </a:lnTo>
                  <a:lnTo>
                    <a:pt x="179208" y="507737"/>
                  </a:lnTo>
                  <a:lnTo>
                    <a:pt x="182904" y="507737"/>
                  </a:lnTo>
                  <a:lnTo>
                    <a:pt x="186590" y="507737"/>
                  </a:lnTo>
                  <a:lnTo>
                    <a:pt x="186590" y="504041"/>
                  </a:lnTo>
                  <a:lnTo>
                    <a:pt x="193962" y="500355"/>
                  </a:lnTo>
                  <a:lnTo>
                    <a:pt x="197658" y="500355"/>
                  </a:lnTo>
                  <a:lnTo>
                    <a:pt x="197658" y="504041"/>
                  </a:lnTo>
                  <a:lnTo>
                    <a:pt x="205030" y="504041"/>
                  </a:lnTo>
                  <a:lnTo>
                    <a:pt x="208726" y="504041"/>
                  </a:lnTo>
                  <a:lnTo>
                    <a:pt x="212412" y="507737"/>
                  </a:lnTo>
                  <a:lnTo>
                    <a:pt x="212412" y="504041"/>
                  </a:lnTo>
                  <a:lnTo>
                    <a:pt x="216098" y="504041"/>
                  </a:lnTo>
                  <a:lnTo>
                    <a:pt x="219794" y="504041"/>
                  </a:lnTo>
                  <a:lnTo>
                    <a:pt x="223480" y="504041"/>
                  </a:lnTo>
                  <a:lnTo>
                    <a:pt x="230862" y="504041"/>
                  </a:lnTo>
                  <a:lnTo>
                    <a:pt x="234548" y="504041"/>
                  </a:lnTo>
                  <a:lnTo>
                    <a:pt x="238235" y="507737"/>
                  </a:lnTo>
                  <a:lnTo>
                    <a:pt x="241930" y="504041"/>
                  </a:lnTo>
                  <a:lnTo>
                    <a:pt x="245616" y="504041"/>
                  </a:lnTo>
                  <a:lnTo>
                    <a:pt x="249303" y="504041"/>
                  </a:lnTo>
                  <a:lnTo>
                    <a:pt x="252998" y="504041"/>
                  </a:lnTo>
                  <a:lnTo>
                    <a:pt x="252998" y="507737"/>
                  </a:lnTo>
                  <a:lnTo>
                    <a:pt x="264066" y="507737"/>
                  </a:lnTo>
                  <a:lnTo>
                    <a:pt x="264066" y="504041"/>
                  </a:lnTo>
                  <a:lnTo>
                    <a:pt x="271439" y="504041"/>
                  </a:lnTo>
                  <a:lnTo>
                    <a:pt x="271439" y="496659"/>
                  </a:lnTo>
                  <a:lnTo>
                    <a:pt x="275125" y="496659"/>
                  </a:lnTo>
                  <a:lnTo>
                    <a:pt x="278821" y="492973"/>
                  </a:lnTo>
                  <a:lnTo>
                    <a:pt x="286193" y="492973"/>
                  </a:lnTo>
                  <a:lnTo>
                    <a:pt x="289889" y="492973"/>
                  </a:lnTo>
                  <a:lnTo>
                    <a:pt x="293575" y="489277"/>
                  </a:lnTo>
                  <a:lnTo>
                    <a:pt x="293575" y="492973"/>
                  </a:lnTo>
                  <a:lnTo>
                    <a:pt x="297261" y="492973"/>
                  </a:lnTo>
                  <a:lnTo>
                    <a:pt x="300957" y="492973"/>
                  </a:lnTo>
                  <a:lnTo>
                    <a:pt x="308329" y="492973"/>
                  </a:lnTo>
                  <a:lnTo>
                    <a:pt x="312025" y="492973"/>
                  </a:lnTo>
                  <a:lnTo>
                    <a:pt x="312025" y="496659"/>
                  </a:lnTo>
                  <a:lnTo>
                    <a:pt x="312025" y="500355"/>
                  </a:lnTo>
                  <a:lnTo>
                    <a:pt x="315711" y="507737"/>
                  </a:lnTo>
                  <a:lnTo>
                    <a:pt x="326779" y="515109"/>
                  </a:lnTo>
                  <a:lnTo>
                    <a:pt x="326779" y="522491"/>
                  </a:lnTo>
                  <a:lnTo>
                    <a:pt x="330465" y="522491"/>
                  </a:lnTo>
                  <a:lnTo>
                    <a:pt x="330465" y="526187"/>
                  </a:lnTo>
                  <a:lnTo>
                    <a:pt x="337847" y="526187"/>
                  </a:lnTo>
                  <a:lnTo>
                    <a:pt x="337847" y="533569"/>
                  </a:lnTo>
                  <a:lnTo>
                    <a:pt x="341533" y="537255"/>
                  </a:lnTo>
                  <a:lnTo>
                    <a:pt x="341533" y="540951"/>
                  </a:lnTo>
                  <a:lnTo>
                    <a:pt x="345219" y="540951"/>
                  </a:lnTo>
                  <a:lnTo>
                    <a:pt x="348915" y="544637"/>
                  </a:lnTo>
                  <a:lnTo>
                    <a:pt x="356287" y="540951"/>
                  </a:lnTo>
                  <a:lnTo>
                    <a:pt x="359983" y="540951"/>
                  </a:lnTo>
                  <a:lnTo>
                    <a:pt x="378424" y="544637"/>
                  </a:lnTo>
                  <a:lnTo>
                    <a:pt x="393187" y="540951"/>
                  </a:lnTo>
                  <a:lnTo>
                    <a:pt x="396873" y="540951"/>
                  </a:lnTo>
                  <a:lnTo>
                    <a:pt x="404255" y="544637"/>
                  </a:lnTo>
                  <a:lnTo>
                    <a:pt x="400560" y="548332"/>
                  </a:lnTo>
                  <a:lnTo>
                    <a:pt x="404255" y="552019"/>
                  </a:lnTo>
                  <a:lnTo>
                    <a:pt x="407942" y="555714"/>
                  </a:lnTo>
                  <a:lnTo>
                    <a:pt x="407942" y="552019"/>
                  </a:lnTo>
                  <a:lnTo>
                    <a:pt x="411628" y="548332"/>
                  </a:lnTo>
                  <a:lnTo>
                    <a:pt x="415314" y="544637"/>
                  </a:lnTo>
                  <a:lnTo>
                    <a:pt x="419010" y="548332"/>
                  </a:lnTo>
                  <a:lnTo>
                    <a:pt x="419010" y="552019"/>
                  </a:lnTo>
                  <a:lnTo>
                    <a:pt x="422696" y="544637"/>
                  </a:lnTo>
                  <a:lnTo>
                    <a:pt x="426382" y="544637"/>
                  </a:lnTo>
                  <a:lnTo>
                    <a:pt x="437450" y="552019"/>
                  </a:lnTo>
                  <a:lnTo>
                    <a:pt x="437450" y="555714"/>
                  </a:lnTo>
                  <a:lnTo>
                    <a:pt x="437450" y="559400"/>
                  </a:lnTo>
                  <a:lnTo>
                    <a:pt x="437450" y="570468"/>
                  </a:lnTo>
                  <a:lnTo>
                    <a:pt x="430078" y="581546"/>
                  </a:lnTo>
                  <a:lnTo>
                    <a:pt x="437450" y="581546"/>
                  </a:lnTo>
                  <a:lnTo>
                    <a:pt x="441146" y="581546"/>
                  </a:lnTo>
                  <a:lnTo>
                    <a:pt x="448518" y="585232"/>
                  </a:lnTo>
                  <a:lnTo>
                    <a:pt x="455900" y="588928"/>
                  </a:lnTo>
                  <a:lnTo>
                    <a:pt x="459586" y="588928"/>
                  </a:lnTo>
                  <a:lnTo>
                    <a:pt x="481722" y="588928"/>
                  </a:lnTo>
                  <a:lnTo>
                    <a:pt x="511240" y="588928"/>
                  </a:lnTo>
                  <a:lnTo>
                    <a:pt x="522308" y="588928"/>
                  </a:lnTo>
                  <a:lnTo>
                    <a:pt x="525994" y="585232"/>
                  </a:lnTo>
                  <a:lnTo>
                    <a:pt x="529680" y="581546"/>
                  </a:lnTo>
                  <a:lnTo>
                    <a:pt x="533376" y="577850"/>
                  </a:lnTo>
                  <a:lnTo>
                    <a:pt x="533376" y="574164"/>
                  </a:lnTo>
                  <a:lnTo>
                    <a:pt x="537062" y="555714"/>
                  </a:lnTo>
                  <a:lnTo>
                    <a:pt x="540749" y="555714"/>
                  </a:lnTo>
                  <a:lnTo>
                    <a:pt x="540749" y="552019"/>
                  </a:lnTo>
                  <a:lnTo>
                    <a:pt x="551817" y="544637"/>
                  </a:lnTo>
                  <a:lnTo>
                    <a:pt x="551817" y="540951"/>
                  </a:lnTo>
                  <a:lnTo>
                    <a:pt x="562885" y="537255"/>
                  </a:lnTo>
                  <a:lnTo>
                    <a:pt x="573953" y="537255"/>
                  </a:lnTo>
                  <a:lnTo>
                    <a:pt x="577639" y="529873"/>
                  </a:lnTo>
                  <a:lnTo>
                    <a:pt x="577639" y="526187"/>
                  </a:lnTo>
                  <a:lnTo>
                    <a:pt x="581335" y="522491"/>
                  </a:lnTo>
                  <a:lnTo>
                    <a:pt x="581335" y="518805"/>
                  </a:lnTo>
                  <a:lnTo>
                    <a:pt x="585021" y="515109"/>
                  </a:lnTo>
                  <a:lnTo>
                    <a:pt x="585021" y="511423"/>
                  </a:lnTo>
                  <a:lnTo>
                    <a:pt x="585021" y="507737"/>
                  </a:lnTo>
                  <a:lnTo>
                    <a:pt x="585021" y="504041"/>
                  </a:lnTo>
                  <a:lnTo>
                    <a:pt x="588707" y="500355"/>
                  </a:lnTo>
                  <a:lnTo>
                    <a:pt x="596089" y="496659"/>
                  </a:lnTo>
                  <a:lnTo>
                    <a:pt x="599775" y="500355"/>
                  </a:lnTo>
                  <a:lnTo>
                    <a:pt x="603471" y="500355"/>
                  </a:lnTo>
                  <a:lnTo>
                    <a:pt x="607157" y="500355"/>
                  </a:lnTo>
                  <a:lnTo>
                    <a:pt x="614539" y="500355"/>
                  </a:lnTo>
                  <a:lnTo>
                    <a:pt x="625597" y="492973"/>
                  </a:lnTo>
                  <a:lnTo>
                    <a:pt x="625597" y="489277"/>
                  </a:lnTo>
                  <a:lnTo>
                    <a:pt x="614539" y="474514"/>
                  </a:lnTo>
                  <a:lnTo>
                    <a:pt x="610843" y="470827"/>
                  </a:lnTo>
                  <a:lnTo>
                    <a:pt x="610843" y="463446"/>
                  </a:lnTo>
                  <a:lnTo>
                    <a:pt x="607157" y="463446"/>
                  </a:lnTo>
                  <a:lnTo>
                    <a:pt x="607157" y="459759"/>
                  </a:lnTo>
                  <a:lnTo>
                    <a:pt x="607157" y="456064"/>
                  </a:lnTo>
                  <a:lnTo>
                    <a:pt x="607157" y="452377"/>
                  </a:lnTo>
                  <a:lnTo>
                    <a:pt x="607157" y="448682"/>
                  </a:lnTo>
                  <a:lnTo>
                    <a:pt x="610843" y="437614"/>
                  </a:lnTo>
                  <a:lnTo>
                    <a:pt x="610843" y="433918"/>
                  </a:lnTo>
                  <a:lnTo>
                    <a:pt x="614539" y="433918"/>
                  </a:lnTo>
                  <a:lnTo>
                    <a:pt x="614539" y="430232"/>
                  </a:lnTo>
                  <a:lnTo>
                    <a:pt x="618225" y="430232"/>
                  </a:lnTo>
                  <a:lnTo>
                    <a:pt x="618225" y="426536"/>
                  </a:lnTo>
                  <a:lnTo>
                    <a:pt x="618225" y="422850"/>
                  </a:lnTo>
                  <a:lnTo>
                    <a:pt x="621911" y="415468"/>
                  </a:lnTo>
                  <a:lnTo>
                    <a:pt x="621911" y="411782"/>
                  </a:lnTo>
                  <a:lnTo>
                    <a:pt x="629293" y="400704"/>
                  </a:lnTo>
                  <a:lnTo>
                    <a:pt x="629293" y="382253"/>
                  </a:lnTo>
                  <a:lnTo>
                    <a:pt x="621911" y="367491"/>
                  </a:lnTo>
                  <a:lnTo>
                    <a:pt x="621911" y="363801"/>
                  </a:lnTo>
                  <a:lnTo>
                    <a:pt x="621911" y="360110"/>
                  </a:lnTo>
                  <a:lnTo>
                    <a:pt x="618225" y="360110"/>
                  </a:lnTo>
                  <a:lnTo>
                    <a:pt x="614539" y="360110"/>
                  </a:lnTo>
                  <a:lnTo>
                    <a:pt x="610843" y="360110"/>
                  </a:lnTo>
                  <a:lnTo>
                    <a:pt x="607157" y="352729"/>
                  </a:lnTo>
                  <a:lnTo>
                    <a:pt x="603471" y="345348"/>
                  </a:lnTo>
                  <a:lnTo>
                    <a:pt x="596089" y="337967"/>
                  </a:lnTo>
                  <a:lnTo>
                    <a:pt x="596089" y="334276"/>
                  </a:lnTo>
                  <a:lnTo>
                    <a:pt x="592403" y="326895"/>
                  </a:lnTo>
                  <a:lnTo>
                    <a:pt x="592403" y="319514"/>
                  </a:lnTo>
                  <a:lnTo>
                    <a:pt x="588707" y="312132"/>
                  </a:lnTo>
                  <a:lnTo>
                    <a:pt x="588707" y="308442"/>
                  </a:lnTo>
                  <a:lnTo>
                    <a:pt x="585021" y="308442"/>
                  </a:lnTo>
                  <a:lnTo>
                    <a:pt x="581335" y="308442"/>
                  </a:lnTo>
                  <a:lnTo>
                    <a:pt x="577639" y="315823"/>
                  </a:lnTo>
                  <a:lnTo>
                    <a:pt x="573953" y="326895"/>
                  </a:lnTo>
                  <a:lnTo>
                    <a:pt x="566571" y="330585"/>
                  </a:lnTo>
                  <a:lnTo>
                    <a:pt x="566571" y="334276"/>
                  </a:lnTo>
                  <a:lnTo>
                    <a:pt x="562885" y="334276"/>
                  </a:lnTo>
                  <a:lnTo>
                    <a:pt x="544444" y="330585"/>
                  </a:lnTo>
                  <a:lnTo>
                    <a:pt x="537062" y="326895"/>
                  </a:lnTo>
                  <a:lnTo>
                    <a:pt x="525994" y="323204"/>
                  </a:lnTo>
                  <a:lnTo>
                    <a:pt x="518612" y="323204"/>
                  </a:lnTo>
                  <a:lnTo>
                    <a:pt x="522308" y="315823"/>
                  </a:lnTo>
                  <a:lnTo>
                    <a:pt x="514926" y="315823"/>
                  </a:lnTo>
                  <a:lnTo>
                    <a:pt x="503858" y="315823"/>
                  </a:lnTo>
                  <a:lnTo>
                    <a:pt x="481722" y="315823"/>
                  </a:lnTo>
                  <a:lnTo>
                    <a:pt x="474350" y="315823"/>
                  </a:lnTo>
                  <a:lnTo>
                    <a:pt x="470654" y="312132"/>
                  </a:lnTo>
                  <a:lnTo>
                    <a:pt x="455900" y="304751"/>
                  </a:lnTo>
                  <a:lnTo>
                    <a:pt x="452214" y="301060"/>
                  </a:lnTo>
                  <a:lnTo>
                    <a:pt x="444832" y="297371"/>
                  </a:lnTo>
                  <a:lnTo>
                    <a:pt x="448518" y="267846"/>
                  </a:lnTo>
                  <a:lnTo>
                    <a:pt x="441146" y="256774"/>
                  </a:lnTo>
                  <a:lnTo>
                    <a:pt x="433764" y="242012"/>
                  </a:lnTo>
                  <a:lnTo>
                    <a:pt x="437450" y="242012"/>
                  </a:lnTo>
                  <a:lnTo>
                    <a:pt x="444832" y="245702"/>
                  </a:lnTo>
                  <a:lnTo>
                    <a:pt x="452214" y="245702"/>
                  </a:lnTo>
                  <a:lnTo>
                    <a:pt x="455900" y="234630"/>
                  </a:lnTo>
                  <a:lnTo>
                    <a:pt x="463282" y="234630"/>
                  </a:lnTo>
                  <a:lnTo>
                    <a:pt x="470654" y="238321"/>
                  </a:lnTo>
                  <a:lnTo>
                    <a:pt x="474350" y="234630"/>
                  </a:lnTo>
                  <a:lnTo>
                    <a:pt x="452214" y="216178"/>
                  </a:lnTo>
                  <a:lnTo>
                    <a:pt x="452214" y="208797"/>
                  </a:lnTo>
                  <a:lnTo>
                    <a:pt x="455900" y="194035"/>
                  </a:lnTo>
                  <a:lnTo>
                    <a:pt x="455900" y="190344"/>
                  </a:lnTo>
                  <a:lnTo>
                    <a:pt x="452214" y="186653"/>
                  </a:lnTo>
                  <a:lnTo>
                    <a:pt x="448518" y="182963"/>
                  </a:lnTo>
                  <a:lnTo>
                    <a:pt x="444832" y="182963"/>
                  </a:lnTo>
                  <a:lnTo>
                    <a:pt x="444832" y="179272"/>
                  </a:lnTo>
                  <a:lnTo>
                    <a:pt x="444832" y="175582"/>
                  </a:lnTo>
                  <a:lnTo>
                    <a:pt x="444832" y="171891"/>
                  </a:lnTo>
                  <a:lnTo>
                    <a:pt x="448518" y="168200"/>
                  </a:lnTo>
                  <a:lnTo>
                    <a:pt x="444832" y="164510"/>
                  </a:lnTo>
                  <a:lnTo>
                    <a:pt x="437450" y="164510"/>
                  </a:lnTo>
                  <a:lnTo>
                    <a:pt x="422696" y="157129"/>
                  </a:lnTo>
                  <a:lnTo>
                    <a:pt x="415314" y="153438"/>
                  </a:lnTo>
                  <a:lnTo>
                    <a:pt x="407942" y="149747"/>
                  </a:lnTo>
                  <a:lnTo>
                    <a:pt x="400560" y="146057"/>
                  </a:lnTo>
                  <a:lnTo>
                    <a:pt x="400560" y="149747"/>
                  </a:lnTo>
                  <a:lnTo>
                    <a:pt x="396873" y="149747"/>
                  </a:lnTo>
                  <a:lnTo>
                    <a:pt x="385805" y="153438"/>
                  </a:lnTo>
                  <a:lnTo>
                    <a:pt x="371051" y="153438"/>
                  </a:lnTo>
                  <a:lnTo>
                    <a:pt x="367355" y="157129"/>
                  </a:lnTo>
                  <a:lnTo>
                    <a:pt x="359983" y="164510"/>
                  </a:lnTo>
                  <a:lnTo>
                    <a:pt x="352601" y="171891"/>
                  </a:lnTo>
                  <a:lnTo>
                    <a:pt x="356287" y="194035"/>
                  </a:lnTo>
                  <a:lnTo>
                    <a:pt x="356287" y="197725"/>
                  </a:lnTo>
                  <a:lnTo>
                    <a:pt x="352601" y="197725"/>
                  </a:lnTo>
                  <a:lnTo>
                    <a:pt x="348915" y="194035"/>
                  </a:lnTo>
                  <a:lnTo>
                    <a:pt x="345219" y="194035"/>
                  </a:lnTo>
                  <a:lnTo>
                    <a:pt x="337847" y="194035"/>
                  </a:lnTo>
                  <a:lnTo>
                    <a:pt x="334161" y="190344"/>
                  </a:lnTo>
                  <a:lnTo>
                    <a:pt x="330465" y="186653"/>
                  </a:lnTo>
                  <a:lnTo>
                    <a:pt x="330465" y="190344"/>
                  </a:lnTo>
                  <a:lnTo>
                    <a:pt x="326779" y="194035"/>
                  </a:lnTo>
                  <a:lnTo>
                    <a:pt x="323093" y="197725"/>
                  </a:lnTo>
                  <a:lnTo>
                    <a:pt x="319397" y="194035"/>
                  </a:lnTo>
                  <a:lnTo>
                    <a:pt x="315711" y="194035"/>
                  </a:lnTo>
                  <a:lnTo>
                    <a:pt x="315711" y="190344"/>
                  </a:lnTo>
                  <a:lnTo>
                    <a:pt x="315711" y="186653"/>
                  </a:lnTo>
                  <a:lnTo>
                    <a:pt x="312025" y="186653"/>
                  </a:lnTo>
                  <a:lnTo>
                    <a:pt x="308329" y="190344"/>
                  </a:lnTo>
                  <a:lnTo>
                    <a:pt x="308329" y="194035"/>
                  </a:lnTo>
                  <a:lnTo>
                    <a:pt x="304643" y="194035"/>
                  </a:lnTo>
                  <a:lnTo>
                    <a:pt x="304643" y="190344"/>
                  </a:lnTo>
                  <a:lnTo>
                    <a:pt x="300957" y="190344"/>
                  </a:lnTo>
                  <a:lnTo>
                    <a:pt x="300957" y="194035"/>
                  </a:lnTo>
                  <a:lnTo>
                    <a:pt x="297261" y="194035"/>
                  </a:lnTo>
                  <a:lnTo>
                    <a:pt x="293575" y="194035"/>
                  </a:lnTo>
                  <a:lnTo>
                    <a:pt x="293575" y="197725"/>
                  </a:lnTo>
                  <a:lnTo>
                    <a:pt x="289889" y="197725"/>
                  </a:lnTo>
                  <a:lnTo>
                    <a:pt x="286193" y="194035"/>
                  </a:lnTo>
                  <a:lnTo>
                    <a:pt x="286193" y="186653"/>
                  </a:lnTo>
                  <a:lnTo>
                    <a:pt x="282507" y="182963"/>
                  </a:lnTo>
                  <a:lnTo>
                    <a:pt x="282507" y="179272"/>
                  </a:lnTo>
                  <a:lnTo>
                    <a:pt x="278821" y="179272"/>
                  </a:lnTo>
                  <a:lnTo>
                    <a:pt x="278821" y="175582"/>
                  </a:lnTo>
                  <a:lnTo>
                    <a:pt x="278821" y="171891"/>
                  </a:lnTo>
                  <a:lnTo>
                    <a:pt x="275125" y="171891"/>
                  </a:lnTo>
                  <a:lnTo>
                    <a:pt x="271439" y="168200"/>
                  </a:lnTo>
                  <a:lnTo>
                    <a:pt x="267753" y="168200"/>
                  </a:lnTo>
                  <a:lnTo>
                    <a:pt x="264066" y="164510"/>
                  </a:lnTo>
                  <a:lnTo>
                    <a:pt x="264066" y="160819"/>
                  </a:lnTo>
                  <a:lnTo>
                    <a:pt x="260371" y="160819"/>
                  </a:lnTo>
                  <a:lnTo>
                    <a:pt x="260371" y="157129"/>
                  </a:lnTo>
                  <a:lnTo>
                    <a:pt x="264066" y="157129"/>
                  </a:lnTo>
                  <a:lnTo>
                    <a:pt x="264066" y="153438"/>
                  </a:lnTo>
                  <a:lnTo>
                    <a:pt x="260371" y="153438"/>
                  </a:lnTo>
                  <a:lnTo>
                    <a:pt x="256684" y="153438"/>
                  </a:lnTo>
                  <a:lnTo>
                    <a:pt x="252998" y="157129"/>
                  </a:lnTo>
                  <a:lnTo>
                    <a:pt x="249303" y="157129"/>
                  </a:lnTo>
                  <a:lnTo>
                    <a:pt x="245616" y="157129"/>
                  </a:lnTo>
                  <a:lnTo>
                    <a:pt x="241930" y="157129"/>
                  </a:lnTo>
                  <a:lnTo>
                    <a:pt x="241930" y="153438"/>
                  </a:lnTo>
                  <a:lnTo>
                    <a:pt x="238235" y="153438"/>
                  </a:lnTo>
                  <a:lnTo>
                    <a:pt x="238235" y="157129"/>
                  </a:lnTo>
                  <a:lnTo>
                    <a:pt x="234548" y="157129"/>
                  </a:lnTo>
                  <a:lnTo>
                    <a:pt x="230862" y="157129"/>
                  </a:lnTo>
                  <a:lnTo>
                    <a:pt x="230862" y="153438"/>
                  </a:lnTo>
                  <a:lnTo>
                    <a:pt x="227166" y="153438"/>
                  </a:lnTo>
                  <a:lnTo>
                    <a:pt x="223480" y="149747"/>
                  </a:lnTo>
                  <a:lnTo>
                    <a:pt x="223480" y="146057"/>
                  </a:lnTo>
                  <a:lnTo>
                    <a:pt x="219794" y="146057"/>
                  </a:lnTo>
                  <a:lnTo>
                    <a:pt x="216098" y="146057"/>
                  </a:lnTo>
                  <a:lnTo>
                    <a:pt x="212412" y="146057"/>
                  </a:lnTo>
                  <a:lnTo>
                    <a:pt x="212412" y="142366"/>
                  </a:lnTo>
                  <a:lnTo>
                    <a:pt x="208726" y="142366"/>
                  </a:lnTo>
                  <a:lnTo>
                    <a:pt x="205030" y="142366"/>
                  </a:lnTo>
                  <a:lnTo>
                    <a:pt x="201344" y="142366"/>
                  </a:lnTo>
                  <a:lnTo>
                    <a:pt x="197658" y="146057"/>
                  </a:lnTo>
                  <a:lnTo>
                    <a:pt x="197658" y="149747"/>
                  </a:lnTo>
                  <a:lnTo>
                    <a:pt x="193962" y="146057"/>
                  </a:lnTo>
                  <a:lnTo>
                    <a:pt x="193962" y="142366"/>
                  </a:lnTo>
                  <a:lnTo>
                    <a:pt x="190276" y="146057"/>
                  </a:lnTo>
                  <a:lnTo>
                    <a:pt x="193962" y="149747"/>
                  </a:lnTo>
                  <a:lnTo>
                    <a:pt x="182904" y="146057"/>
                  </a:lnTo>
                  <a:lnTo>
                    <a:pt x="186590" y="142366"/>
                  </a:lnTo>
                  <a:lnTo>
                    <a:pt x="186590" y="138675"/>
                  </a:lnTo>
                  <a:lnTo>
                    <a:pt x="179208" y="134985"/>
                  </a:lnTo>
                  <a:lnTo>
                    <a:pt x="179208" y="131295"/>
                  </a:lnTo>
                  <a:lnTo>
                    <a:pt x="171836" y="120223"/>
                  </a:lnTo>
                  <a:lnTo>
                    <a:pt x="171836" y="116533"/>
                  </a:lnTo>
                  <a:lnTo>
                    <a:pt x="171836" y="112842"/>
                  </a:lnTo>
                  <a:lnTo>
                    <a:pt x="168140" y="105461"/>
                  </a:lnTo>
                  <a:lnTo>
                    <a:pt x="164454" y="98080"/>
                  </a:lnTo>
                  <a:lnTo>
                    <a:pt x="160768" y="90698"/>
                  </a:lnTo>
                  <a:lnTo>
                    <a:pt x="160768" y="87008"/>
                  </a:lnTo>
                  <a:lnTo>
                    <a:pt x="164454" y="87008"/>
                  </a:lnTo>
                  <a:lnTo>
                    <a:pt x="168140" y="83317"/>
                  </a:lnTo>
                  <a:lnTo>
                    <a:pt x="179208" y="79627"/>
                  </a:lnTo>
                  <a:lnTo>
                    <a:pt x="182904" y="75936"/>
                  </a:lnTo>
                  <a:lnTo>
                    <a:pt x="186590" y="75936"/>
                  </a:lnTo>
                  <a:lnTo>
                    <a:pt x="186590" y="72246"/>
                  </a:lnTo>
                  <a:lnTo>
                    <a:pt x="193962" y="64864"/>
                  </a:lnTo>
                  <a:lnTo>
                    <a:pt x="197658" y="61174"/>
                  </a:lnTo>
                  <a:lnTo>
                    <a:pt x="201344" y="53792"/>
                  </a:lnTo>
                  <a:lnTo>
                    <a:pt x="197658" y="53792"/>
                  </a:lnTo>
                  <a:lnTo>
                    <a:pt x="193962" y="46412"/>
                  </a:lnTo>
                  <a:lnTo>
                    <a:pt x="190276" y="42722"/>
                  </a:lnTo>
                  <a:lnTo>
                    <a:pt x="186590" y="39031"/>
                  </a:lnTo>
                  <a:lnTo>
                    <a:pt x="179208" y="31650"/>
                  </a:lnTo>
                  <a:lnTo>
                    <a:pt x="175522" y="27959"/>
                  </a:lnTo>
                  <a:lnTo>
                    <a:pt x="164454" y="16887"/>
                  </a:lnTo>
                  <a:lnTo>
                    <a:pt x="164454" y="13197"/>
                  </a:lnTo>
                  <a:lnTo>
                    <a:pt x="160768" y="5815"/>
                  </a:lnTo>
                  <a:close/>
                  <a:moveTo>
                    <a:pt x="186590" y="507737"/>
                  </a:moveTo>
                  <a:lnTo>
                    <a:pt x="186590" y="511423"/>
                  </a:lnTo>
                  <a:lnTo>
                    <a:pt x="186590" y="515109"/>
                  </a:lnTo>
                  <a:lnTo>
                    <a:pt x="190276" y="511423"/>
                  </a:lnTo>
                  <a:lnTo>
                    <a:pt x="186590" y="507737"/>
                  </a:lnTo>
                  <a:close/>
                </a:path>
              </a:pathLst>
            </a:custGeom>
            <a:solidFill>
              <a:srgbClr val="BF211E"/>
            </a:solidFill>
            <a:ln w="12821" cap="flat">
              <a:solidFill>
                <a:schemeClr val="bg1"/>
              </a:solidFill>
              <a:prstDash val="solid"/>
              <a:round/>
            </a:ln>
          </p:spPr>
          <p:txBody>
            <a:bodyPr rot="0" spcFirstLastPara="0" vertOverflow="overflow" horzOverflow="overflow" vert="horz" wrap="square" lIns="91440" tIns="180000" rIns="91440" bIns="4572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49</a:t>
              </a:r>
            </a:p>
          </p:txBody>
        </p:sp>
        <p:sp>
          <p:nvSpPr>
            <p:cNvPr id="237" name="Freeform: Shape 236">
              <a:extLst>
                <a:ext uri="{FF2B5EF4-FFF2-40B4-BE49-F238E27FC236}">
                  <a16:creationId xmlns:a16="http://schemas.microsoft.com/office/drawing/2014/main" id="{5C86C199-40FA-4C19-BD32-483BD1C14AA7}"/>
                </a:ext>
              </a:extLst>
            </p:cNvPr>
            <p:cNvSpPr/>
            <p:nvPr/>
          </p:nvSpPr>
          <p:spPr>
            <a:xfrm>
              <a:off x="5567342" y="3741575"/>
              <a:ext cx="1475776" cy="1029969"/>
            </a:xfrm>
            <a:custGeom>
              <a:avLst/>
              <a:gdLst>
                <a:gd name="connsiteX0" fmla="*/ 437447 w 914400"/>
                <a:gd name="connsiteY0" fmla="*/ 5812 h 638175"/>
                <a:gd name="connsiteX1" fmla="*/ 430065 w 914400"/>
                <a:gd name="connsiteY1" fmla="*/ 9502 h 638175"/>
                <a:gd name="connsiteX2" fmla="*/ 430065 w 914400"/>
                <a:gd name="connsiteY2" fmla="*/ 13193 h 638175"/>
                <a:gd name="connsiteX3" fmla="*/ 426379 w 914400"/>
                <a:gd name="connsiteY3" fmla="*/ 24264 h 638175"/>
                <a:gd name="connsiteX4" fmla="*/ 422693 w 914400"/>
                <a:gd name="connsiteY4" fmla="*/ 31645 h 638175"/>
                <a:gd name="connsiteX5" fmla="*/ 422693 w 914400"/>
                <a:gd name="connsiteY5" fmla="*/ 35335 h 638175"/>
                <a:gd name="connsiteX6" fmla="*/ 422693 w 914400"/>
                <a:gd name="connsiteY6" fmla="*/ 39026 h 638175"/>
                <a:gd name="connsiteX7" fmla="*/ 418998 w 914400"/>
                <a:gd name="connsiteY7" fmla="*/ 46407 h 638175"/>
                <a:gd name="connsiteX8" fmla="*/ 418998 w 914400"/>
                <a:gd name="connsiteY8" fmla="*/ 50098 h 638175"/>
                <a:gd name="connsiteX9" fmla="*/ 418998 w 914400"/>
                <a:gd name="connsiteY9" fmla="*/ 53789 h 638175"/>
                <a:gd name="connsiteX10" fmla="*/ 415311 w 914400"/>
                <a:gd name="connsiteY10" fmla="*/ 50098 h 638175"/>
                <a:gd name="connsiteX11" fmla="*/ 415311 w 914400"/>
                <a:gd name="connsiteY11" fmla="*/ 57479 h 638175"/>
                <a:gd name="connsiteX12" fmla="*/ 411625 w 914400"/>
                <a:gd name="connsiteY12" fmla="*/ 57479 h 638175"/>
                <a:gd name="connsiteX13" fmla="*/ 411625 w 914400"/>
                <a:gd name="connsiteY13" fmla="*/ 53789 h 638175"/>
                <a:gd name="connsiteX14" fmla="*/ 411625 w 914400"/>
                <a:gd name="connsiteY14" fmla="*/ 50098 h 638175"/>
                <a:gd name="connsiteX15" fmla="*/ 407929 w 914400"/>
                <a:gd name="connsiteY15" fmla="*/ 57479 h 638175"/>
                <a:gd name="connsiteX16" fmla="*/ 407929 w 914400"/>
                <a:gd name="connsiteY16" fmla="*/ 61170 h 638175"/>
                <a:gd name="connsiteX17" fmla="*/ 411625 w 914400"/>
                <a:gd name="connsiteY17" fmla="*/ 61170 h 638175"/>
                <a:gd name="connsiteX18" fmla="*/ 411625 w 914400"/>
                <a:gd name="connsiteY18" fmla="*/ 64860 h 638175"/>
                <a:gd name="connsiteX19" fmla="*/ 407929 w 914400"/>
                <a:gd name="connsiteY19" fmla="*/ 64860 h 638175"/>
                <a:gd name="connsiteX20" fmla="*/ 411625 w 914400"/>
                <a:gd name="connsiteY20" fmla="*/ 68551 h 638175"/>
                <a:gd name="connsiteX21" fmla="*/ 407929 w 914400"/>
                <a:gd name="connsiteY21" fmla="*/ 72242 h 638175"/>
                <a:gd name="connsiteX22" fmla="*/ 404243 w 914400"/>
                <a:gd name="connsiteY22" fmla="*/ 75932 h 638175"/>
                <a:gd name="connsiteX23" fmla="*/ 393175 w 914400"/>
                <a:gd name="connsiteY23" fmla="*/ 87004 h 638175"/>
                <a:gd name="connsiteX24" fmla="*/ 385793 w 914400"/>
                <a:gd name="connsiteY24" fmla="*/ 94385 h 638175"/>
                <a:gd name="connsiteX25" fmla="*/ 378421 w 914400"/>
                <a:gd name="connsiteY25" fmla="*/ 98075 h 638175"/>
                <a:gd name="connsiteX26" fmla="*/ 378421 w 914400"/>
                <a:gd name="connsiteY26" fmla="*/ 101766 h 638175"/>
                <a:gd name="connsiteX27" fmla="*/ 374725 w 914400"/>
                <a:gd name="connsiteY27" fmla="*/ 101766 h 638175"/>
                <a:gd name="connsiteX28" fmla="*/ 371039 w 914400"/>
                <a:gd name="connsiteY28" fmla="*/ 105456 h 638175"/>
                <a:gd name="connsiteX29" fmla="*/ 367353 w 914400"/>
                <a:gd name="connsiteY29" fmla="*/ 105456 h 638175"/>
                <a:gd name="connsiteX30" fmla="*/ 363667 w 914400"/>
                <a:gd name="connsiteY30" fmla="*/ 109147 h 638175"/>
                <a:gd name="connsiteX31" fmla="*/ 363667 w 914400"/>
                <a:gd name="connsiteY31" fmla="*/ 112837 h 638175"/>
                <a:gd name="connsiteX32" fmla="*/ 359971 w 914400"/>
                <a:gd name="connsiteY32" fmla="*/ 112837 h 638175"/>
                <a:gd name="connsiteX33" fmla="*/ 359971 w 914400"/>
                <a:gd name="connsiteY33" fmla="*/ 116528 h 638175"/>
                <a:gd name="connsiteX34" fmla="*/ 356285 w 914400"/>
                <a:gd name="connsiteY34" fmla="*/ 116528 h 638175"/>
                <a:gd name="connsiteX35" fmla="*/ 352599 w 914400"/>
                <a:gd name="connsiteY35" fmla="*/ 116528 h 638175"/>
                <a:gd name="connsiteX36" fmla="*/ 345217 w 914400"/>
                <a:gd name="connsiteY36" fmla="*/ 120218 h 638175"/>
                <a:gd name="connsiteX37" fmla="*/ 341531 w 914400"/>
                <a:gd name="connsiteY37" fmla="*/ 123909 h 638175"/>
                <a:gd name="connsiteX38" fmla="*/ 337835 w 914400"/>
                <a:gd name="connsiteY38" fmla="*/ 123909 h 638175"/>
                <a:gd name="connsiteX39" fmla="*/ 334149 w 914400"/>
                <a:gd name="connsiteY39" fmla="*/ 127597 h 638175"/>
                <a:gd name="connsiteX40" fmla="*/ 326767 w 914400"/>
                <a:gd name="connsiteY40" fmla="*/ 131293 h 638175"/>
                <a:gd name="connsiteX41" fmla="*/ 323081 w 914400"/>
                <a:gd name="connsiteY41" fmla="*/ 131293 h 638175"/>
                <a:gd name="connsiteX42" fmla="*/ 319395 w 914400"/>
                <a:gd name="connsiteY42" fmla="*/ 134979 h 638175"/>
                <a:gd name="connsiteX43" fmla="*/ 315699 w 914400"/>
                <a:gd name="connsiteY43" fmla="*/ 138675 h 638175"/>
                <a:gd name="connsiteX44" fmla="*/ 315699 w 914400"/>
                <a:gd name="connsiteY44" fmla="*/ 142361 h 638175"/>
                <a:gd name="connsiteX45" fmla="*/ 312013 w 914400"/>
                <a:gd name="connsiteY45" fmla="*/ 142361 h 638175"/>
                <a:gd name="connsiteX46" fmla="*/ 308326 w 914400"/>
                <a:gd name="connsiteY46" fmla="*/ 142361 h 638175"/>
                <a:gd name="connsiteX47" fmla="*/ 308326 w 914400"/>
                <a:gd name="connsiteY47" fmla="*/ 146057 h 638175"/>
                <a:gd name="connsiteX48" fmla="*/ 308326 w 914400"/>
                <a:gd name="connsiteY48" fmla="*/ 149743 h 638175"/>
                <a:gd name="connsiteX49" fmla="*/ 304631 w 914400"/>
                <a:gd name="connsiteY49" fmla="*/ 149743 h 638175"/>
                <a:gd name="connsiteX50" fmla="*/ 304631 w 914400"/>
                <a:gd name="connsiteY50" fmla="*/ 153439 h 638175"/>
                <a:gd name="connsiteX51" fmla="*/ 300945 w 914400"/>
                <a:gd name="connsiteY51" fmla="*/ 153439 h 638175"/>
                <a:gd name="connsiteX52" fmla="*/ 300945 w 914400"/>
                <a:gd name="connsiteY52" fmla="*/ 157125 h 638175"/>
                <a:gd name="connsiteX53" fmla="*/ 297258 w 914400"/>
                <a:gd name="connsiteY53" fmla="*/ 157125 h 638175"/>
                <a:gd name="connsiteX54" fmla="*/ 297258 w 914400"/>
                <a:gd name="connsiteY54" fmla="*/ 160811 h 638175"/>
                <a:gd name="connsiteX55" fmla="*/ 289877 w 914400"/>
                <a:gd name="connsiteY55" fmla="*/ 164507 h 638175"/>
                <a:gd name="connsiteX56" fmla="*/ 286190 w 914400"/>
                <a:gd name="connsiteY56" fmla="*/ 168193 h 638175"/>
                <a:gd name="connsiteX57" fmla="*/ 282504 w 914400"/>
                <a:gd name="connsiteY57" fmla="*/ 171889 h 638175"/>
                <a:gd name="connsiteX58" fmla="*/ 282504 w 914400"/>
                <a:gd name="connsiteY58" fmla="*/ 175575 h 638175"/>
                <a:gd name="connsiteX59" fmla="*/ 278808 w 914400"/>
                <a:gd name="connsiteY59" fmla="*/ 182957 h 638175"/>
                <a:gd name="connsiteX60" fmla="*/ 278808 w 914400"/>
                <a:gd name="connsiteY60" fmla="*/ 190338 h 638175"/>
                <a:gd name="connsiteX61" fmla="*/ 275122 w 914400"/>
                <a:gd name="connsiteY61" fmla="*/ 197720 h 638175"/>
                <a:gd name="connsiteX62" fmla="*/ 275122 w 914400"/>
                <a:gd name="connsiteY62" fmla="*/ 201407 h 638175"/>
                <a:gd name="connsiteX63" fmla="*/ 271436 w 914400"/>
                <a:gd name="connsiteY63" fmla="*/ 208788 h 638175"/>
                <a:gd name="connsiteX64" fmla="*/ 267740 w 914400"/>
                <a:gd name="connsiteY64" fmla="*/ 212484 h 638175"/>
                <a:gd name="connsiteX65" fmla="*/ 252986 w 914400"/>
                <a:gd name="connsiteY65" fmla="*/ 212484 h 638175"/>
                <a:gd name="connsiteX66" fmla="*/ 249300 w 914400"/>
                <a:gd name="connsiteY66" fmla="*/ 212484 h 638175"/>
                <a:gd name="connsiteX67" fmla="*/ 241918 w 914400"/>
                <a:gd name="connsiteY67" fmla="*/ 219866 h 638175"/>
                <a:gd name="connsiteX68" fmla="*/ 238232 w 914400"/>
                <a:gd name="connsiteY68" fmla="*/ 216170 h 638175"/>
                <a:gd name="connsiteX69" fmla="*/ 234536 w 914400"/>
                <a:gd name="connsiteY69" fmla="*/ 219866 h 638175"/>
                <a:gd name="connsiteX70" fmla="*/ 223478 w 914400"/>
                <a:gd name="connsiteY70" fmla="*/ 223552 h 638175"/>
                <a:gd name="connsiteX71" fmla="*/ 216096 w 914400"/>
                <a:gd name="connsiteY71" fmla="*/ 223552 h 638175"/>
                <a:gd name="connsiteX72" fmla="*/ 212410 w 914400"/>
                <a:gd name="connsiteY72" fmla="*/ 227248 h 638175"/>
                <a:gd name="connsiteX73" fmla="*/ 205028 w 914400"/>
                <a:gd name="connsiteY73" fmla="*/ 227248 h 638175"/>
                <a:gd name="connsiteX74" fmla="*/ 201342 w 914400"/>
                <a:gd name="connsiteY74" fmla="*/ 245698 h 638175"/>
                <a:gd name="connsiteX75" fmla="*/ 201342 w 914400"/>
                <a:gd name="connsiteY75" fmla="*/ 249384 h 638175"/>
                <a:gd name="connsiteX76" fmla="*/ 208714 w 914400"/>
                <a:gd name="connsiteY76" fmla="*/ 253080 h 638175"/>
                <a:gd name="connsiteX77" fmla="*/ 208714 w 914400"/>
                <a:gd name="connsiteY77" fmla="*/ 249384 h 638175"/>
                <a:gd name="connsiteX78" fmla="*/ 223478 w 914400"/>
                <a:gd name="connsiteY78" fmla="*/ 260461 h 638175"/>
                <a:gd name="connsiteX79" fmla="*/ 223478 w 914400"/>
                <a:gd name="connsiteY79" fmla="*/ 264148 h 638175"/>
                <a:gd name="connsiteX80" fmla="*/ 223478 w 914400"/>
                <a:gd name="connsiteY80" fmla="*/ 267843 h 638175"/>
                <a:gd name="connsiteX81" fmla="*/ 223478 w 914400"/>
                <a:gd name="connsiteY81" fmla="*/ 271530 h 638175"/>
                <a:gd name="connsiteX82" fmla="*/ 223478 w 914400"/>
                <a:gd name="connsiteY82" fmla="*/ 275225 h 638175"/>
                <a:gd name="connsiteX83" fmla="*/ 223478 w 914400"/>
                <a:gd name="connsiteY83" fmla="*/ 286293 h 638175"/>
                <a:gd name="connsiteX84" fmla="*/ 227164 w 914400"/>
                <a:gd name="connsiteY84" fmla="*/ 289989 h 638175"/>
                <a:gd name="connsiteX85" fmla="*/ 245604 w 914400"/>
                <a:gd name="connsiteY85" fmla="*/ 289989 h 638175"/>
                <a:gd name="connsiteX86" fmla="*/ 245604 w 914400"/>
                <a:gd name="connsiteY86" fmla="*/ 293675 h 638175"/>
                <a:gd name="connsiteX87" fmla="*/ 241918 w 914400"/>
                <a:gd name="connsiteY87" fmla="*/ 293675 h 638175"/>
                <a:gd name="connsiteX88" fmla="*/ 245604 w 914400"/>
                <a:gd name="connsiteY88" fmla="*/ 297361 h 638175"/>
                <a:gd name="connsiteX89" fmla="*/ 245604 w 914400"/>
                <a:gd name="connsiteY89" fmla="*/ 301057 h 638175"/>
                <a:gd name="connsiteX90" fmla="*/ 245604 w 914400"/>
                <a:gd name="connsiteY90" fmla="*/ 304743 h 638175"/>
                <a:gd name="connsiteX91" fmla="*/ 249300 w 914400"/>
                <a:gd name="connsiteY91" fmla="*/ 304743 h 638175"/>
                <a:gd name="connsiteX92" fmla="*/ 252986 w 914400"/>
                <a:gd name="connsiteY92" fmla="*/ 304743 h 638175"/>
                <a:gd name="connsiteX93" fmla="*/ 252986 w 914400"/>
                <a:gd name="connsiteY93" fmla="*/ 312125 h 638175"/>
                <a:gd name="connsiteX94" fmla="*/ 260368 w 914400"/>
                <a:gd name="connsiteY94" fmla="*/ 312125 h 638175"/>
                <a:gd name="connsiteX95" fmla="*/ 260368 w 914400"/>
                <a:gd name="connsiteY95" fmla="*/ 315821 h 638175"/>
                <a:gd name="connsiteX96" fmla="*/ 260368 w 914400"/>
                <a:gd name="connsiteY96" fmla="*/ 319507 h 638175"/>
                <a:gd name="connsiteX97" fmla="*/ 252986 w 914400"/>
                <a:gd name="connsiteY97" fmla="*/ 319507 h 638175"/>
                <a:gd name="connsiteX98" fmla="*/ 252986 w 914400"/>
                <a:gd name="connsiteY98" fmla="*/ 323203 h 638175"/>
                <a:gd name="connsiteX99" fmla="*/ 252986 w 914400"/>
                <a:gd name="connsiteY99" fmla="*/ 326889 h 638175"/>
                <a:gd name="connsiteX100" fmla="*/ 256672 w 914400"/>
                <a:gd name="connsiteY100" fmla="*/ 326889 h 638175"/>
                <a:gd name="connsiteX101" fmla="*/ 256672 w 914400"/>
                <a:gd name="connsiteY101" fmla="*/ 330585 h 638175"/>
                <a:gd name="connsiteX102" fmla="*/ 252986 w 914400"/>
                <a:gd name="connsiteY102" fmla="*/ 330585 h 638175"/>
                <a:gd name="connsiteX103" fmla="*/ 249300 w 914400"/>
                <a:gd name="connsiteY103" fmla="*/ 330585 h 638175"/>
                <a:gd name="connsiteX104" fmla="*/ 249300 w 914400"/>
                <a:gd name="connsiteY104" fmla="*/ 334271 h 638175"/>
                <a:gd name="connsiteX105" fmla="*/ 245604 w 914400"/>
                <a:gd name="connsiteY105" fmla="*/ 337966 h 638175"/>
                <a:gd name="connsiteX106" fmla="*/ 245604 w 914400"/>
                <a:gd name="connsiteY106" fmla="*/ 345339 h 638175"/>
                <a:gd name="connsiteX107" fmla="*/ 245604 w 914400"/>
                <a:gd name="connsiteY107" fmla="*/ 349035 h 638175"/>
                <a:gd name="connsiteX108" fmla="*/ 241918 w 914400"/>
                <a:gd name="connsiteY108" fmla="*/ 352721 h 638175"/>
                <a:gd name="connsiteX109" fmla="*/ 238232 w 914400"/>
                <a:gd name="connsiteY109" fmla="*/ 356416 h 638175"/>
                <a:gd name="connsiteX110" fmla="*/ 234536 w 914400"/>
                <a:gd name="connsiteY110" fmla="*/ 356416 h 638175"/>
                <a:gd name="connsiteX111" fmla="*/ 234536 w 914400"/>
                <a:gd name="connsiteY111" fmla="*/ 360103 h 638175"/>
                <a:gd name="connsiteX112" fmla="*/ 238232 w 914400"/>
                <a:gd name="connsiteY112" fmla="*/ 363798 h 638175"/>
                <a:gd name="connsiteX113" fmla="*/ 245604 w 914400"/>
                <a:gd name="connsiteY113" fmla="*/ 367484 h 638175"/>
                <a:gd name="connsiteX114" fmla="*/ 249300 w 914400"/>
                <a:gd name="connsiteY114" fmla="*/ 367484 h 638175"/>
                <a:gd name="connsiteX115" fmla="*/ 252986 w 914400"/>
                <a:gd name="connsiteY115" fmla="*/ 367484 h 638175"/>
                <a:gd name="connsiteX116" fmla="*/ 256672 w 914400"/>
                <a:gd name="connsiteY116" fmla="*/ 363798 h 638175"/>
                <a:gd name="connsiteX117" fmla="*/ 260368 w 914400"/>
                <a:gd name="connsiteY117" fmla="*/ 360103 h 638175"/>
                <a:gd name="connsiteX118" fmla="*/ 264054 w 914400"/>
                <a:gd name="connsiteY118" fmla="*/ 360103 h 638175"/>
                <a:gd name="connsiteX119" fmla="*/ 267740 w 914400"/>
                <a:gd name="connsiteY119" fmla="*/ 356416 h 638175"/>
                <a:gd name="connsiteX120" fmla="*/ 267740 w 914400"/>
                <a:gd name="connsiteY120" fmla="*/ 352721 h 638175"/>
                <a:gd name="connsiteX121" fmla="*/ 271436 w 914400"/>
                <a:gd name="connsiteY121" fmla="*/ 352721 h 638175"/>
                <a:gd name="connsiteX122" fmla="*/ 271436 w 914400"/>
                <a:gd name="connsiteY122" fmla="*/ 349035 h 638175"/>
                <a:gd name="connsiteX123" fmla="*/ 271436 w 914400"/>
                <a:gd name="connsiteY123" fmla="*/ 345339 h 638175"/>
                <a:gd name="connsiteX124" fmla="*/ 267740 w 914400"/>
                <a:gd name="connsiteY124" fmla="*/ 341653 h 638175"/>
                <a:gd name="connsiteX125" fmla="*/ 278808 w 914400"/>
                <a:gd name="connsiteY125" fmla="*/ 337966 h 638175"/>
                <a:gd name="connsiteX126" fmla="*/ 282504 w 914400"/>
                <a:gd name="connsiteY126" fmla="*/ 345339 h 638175"/>
                <a:gd name="connsiteX127" fmla="*/ 282504 w 914400"/>
                <a:gd name="connsiteY127" fmla="*/ 349035 h 638175"/>
                <a:gd name="connsiteX128" fmla="*/ 282504 w 914400"/>
                <a:gd name="connsiteY128" fmla="*/ 352721 h 638175"/>
                <a:gd name="connsiteX129" fmla="*/ 282504 w 914400"/>
                <a:gd name="connsiteY129" fmla="*/ 356416 h 638175"/>
                <a:gd name="connsiteX130" fmla="*/ 286190 w 914400"/>
                <a:gd name="connsiteY130" fmla="*/ 360103 h 638175"/>
                <a:gd name="connsiteX131" fmla="*/ 282504 w 914400"/>
                <a:gd name="connsiteY131" fmla="*/ 363798 h 638175"/>
                <a:gd name="connsiteX132" fmla="*/ 282504 w 914400"/>
                <a:gd name="connsiteY132" fmla="*/ 367484 h 638175"/>
                <a:gd name="connsiteX133" fmla="*/ 282504 w 914400"/>
                <a:gd name="connsiteY133" fmla="*/ 385944 h 638175"/>
                <a:gd name="connsiteX134" fmla="*/ 289877 w 914400"/>
                <a:gd name="connsiteY134" fmla="*/ 385944 h 638175"/>
                <a:gd name="connsiteX135" fmla="*/ 289877 w 914400"/>
                <a:gd name="connsiteY135" fmla="*/ 389630 h 638175"/>
                <a:gd name="connsiteX136" fmla="*/ 286190 w 914400"/>
                <a:gd name="connsiteY136" fmla="*/ 389630 h 638175"/>
                <a:gd name="connsiteX137" fmla="*/ 297258 w 914400"/>
                <a:gd name="connsiteY137" fmla="*/ 397012 h 638175"/>
                <a:gd name="connsiteX138" fmla="*/ 297258 w 914400"/>
                <a:gd name="connsiteY138" fmla="*/ 408080 h 638175"/>
                <a:gd name="connsiteX139" fmla="*/ 297258 w 914400"/>
                <a:gd name="connsiteY139" fmla="*/ 411776 h 638175"/>
                <a:gd name="connsiteX140" fmla="*/ 297258 w 914400"/>
                <a:gd name="connsiteY140" fmla="*/ 415462 h 638175"/>
                <a:gd name="connsiteX141" fmla="*/ 297258 w 914400"/>
                <a:gd name="connsiteY141" fmla="*/ 419158 h 638175"/>
                <a:gd name="connsiteX142" fmla="*/ 300945 w 914400"/>
                <a:gd name="connsiteY142" fmla="*/ 422844 h 638175"/>
                <a:gd name="connsiteX143" fmla="*/ 304631 w 914400"/>
                <a:gd name="connsiteY143" fmla="*/ 426539 h 638175"/>
                <a:gd name="connsiteX144" fmla="*/ 308326 w 914400"/>
                <a:gd name="connsiteY144" fmla="*/ 426539 h 638175"/>
                <a:gd name="connsiteX145" fmla="*/ 308326 w 914400"/>
                <a:gd name="connsiteY145" fmla="*/ 430226 h 638175"/>
                <a:gd name="connsiteX146" fmla="*/ 312013 w 914400"/>
                <a:gd name="connsiteY146" fmla="*/ 437607 h 638175"/>
                <a:gd name="connsiteX147" fmla="*/ 312013 w 914400"/>
                <a:gd name="connsiteY147" fmla="*/ 441294 h 638175"/>
                <a:gd name="connsiteX148" fmla="*/ 315699 w 914400"/>
                <a:gd name="connsiteY148" fmla="*/ 444989 h 638175"/>
                <a:gd name="connsiteX149" fmla="*/ 312013 w 914400"/>
                <a:gd name="connsiteY149" fmla="*/ 448676 h 638175"/>
                <a:gd name="connsiteX150" fmla="*/ 315699 w 914400"/>
                <a:gd name="connsiteY150" fmla="*/ 452371 h 638175"/>
                <a:gd name="connsiteX151" fmla="*/ 315699 w 914400"/>
                <a:gd name="connsiteY151" fmla="*/ 456057 h 638175"/>
                <a:gd name="connsiteX152" fmla="*/ 315699 w 914400"/>
                <a:gd name="connsiteY152" fmla="*/ 459753 h 638175"/>
                <a:gd name="connsiteX153" fmla="*/ 312013 w 914400"/>
                <a:gd name="connsiteY153" fmla="*/ 463439 h 638175"/>
                <a:gd name="connsiteX154" fmla="*/ 304631 w 914400"/>
                <a:gd name="connsiteY154" fmla="*/ 467135 h 638175"/>
                <a:gd name="connsiteX155" fmla="*/ 297258 w 914400"/>
                <a:gd name="connsiteY155" fmla="*/ 463439 h 638175"/>
                <a:gd name="connsiteX156" fmla="*/ 286190 w 914400"/>
                <a:gd name="connsiteY156" fmla="*/ 459753 h 638175"/>
                <a:gd name="connsiteX157" fmla="*/ 278808 w 914400"/>
                <a:gd name="connsiteY157" fmla="*/ 456057 h 638175"/>
                <a:gd name="connsiteX158" fmla="*/ 275122 w 914400"/>
                <a:gd name="connsiteY158" fmla="*/ 448676 h 638175"/>
                <a:gd name="connsiteX159" fmla="*/ 271436 w 914400"/>
                <a:gd name="connsiteY159" fmla="*/ 448676 h 638175"/>
                <a:gd name="connsiteX160" fmla="*/ 267740 w 914400"/>
                <a:gd name="connsiteY160" fmla="*/ 448676 h 638175"/>
                <a:gd name="connsiteX161" fmla="*/ 264054 w 914400"/>
                <a:gd name="connsiteY161" fmla="*/ 444989 h 638175"/>
                <a:gd name="connsiteX162" fmla="*/ 260368 w 914400"/>
                <a:gd name="connsiteY162" fmla="*/ 444989 h 638175"/>
                <a:gd name="connsiteX163" fmla="*/ 252986 w 914400"/>
                <a:gd name="connsiteY163" fmla="*/ 441294 h 638175"/>
                <a:gd name="connsiteX164" fmla="*/ 249300 w 914400"/>
                <a:gd name="connsiteY164" fmla="*/ 437607 h 638175"/>
                <a:gd name="connsiteX165" fmla="*/ 245604 w 914400"/>
                <a:gd name="connsiteY165" fmla="*/ 437607 h 638175"/>
                <a:gd name="connsiteX166" fmla="*/ 241918 w 914400"/>
                <a:gd name="connsiteY166" fmla="*/ 437607 h 638175"/>
                <a:gd name="connsiteX167" fmla="*/ 230850 w 914400"/>
                <a:gd name="connsiteY167" fmla="*/ 437607 h 638175"/>
                <a:gd name="connsiteX168" fmla="*/ 227164 w 914400"/>
                <a:gd name="connsiteY168" fmla="*/ 433921 h 638175"/>
                <a:gd name="connsiteX169" fmla="*/ 223478 w 914400"/>
                <a:gd name="connsiteY169" fmla="*/ 433921 h 638175"/>
                <a:gd name="connsiteX170" fmla="*/ 219782 w 914400"/>
                <a:gd name="connsiteY170" fmla="*/ 437607 h 638175"/>
                <a:gd name="connsiteX171" fmla="*/ 216096 w 914400"/>
                <a:gd name="connsiteY171" fmla="*/ 441294 h 638175"/>
                <a:gd name="connsiteX172" fmla="*/ 212410 w 914400"/>
                <a:gd name="connsiteY172" fmla="*/ 441294 h 638175"/>
                <a:gd name="connsiteX173" fmla="*/ 205028 w 914400"/>
                <a:gd name="connsiteY173" fmla="*/ 444989 h 638175"/>
                <a:gd name="connsiteX174" fmla="*/ 201342 w 914400"/>
                <a:gd name="connsiteY174" fmla="*/ 444989 h 638175"/>
                <a:gd name="connsiteX175" fmla="*/ 197646 w 914400"/>
                <a:gd name="connsiteY175" fmla="*/ 448676 h 638175"/>
                <a:gd name="connsiteX176" fmla="*/ 193960 w 914400"/>
                <a:gd name="connsiteY176" fmla="*/ 448676 h 638175"/>
                <a:gd name="connsiteX177" fmla="*/ 186578 w 914400"/>
                <a:gd name="connsiteY177" fmla="*/ 444989 h 638175"/>
                <a:gd name="connsiteX178" fmla="*/ 182892 w 914400"/>
                <a:gd name="connsiteY178" fmla="*/ 448676 h 638175"/>
                <a:gd name="connsiteX179" fmla="*/ 179206 w 914400"/>
                <a:gd name="connsiteY179" fmla="*/ 448676 h 638175"/>
                <a:gd name="connsiteX180" fmla="*/ 175510 w 914400"/>
                <a:gd name="connsiteY180" fmla="*/ 452371 h 638175"/>
                <a:gd name="connsiteX181" fmla="*/ 175510 w 914400"/>
                <a:gd name="connsiteY181" fmla="*/ 456057 h 638175"/>
                <a:gd name="connsiteX182" fmla="*/ 171824 w 914400"/>
                <a:gd name="connsiteY182" fmla="*/ 456057 h 638175"/>
                <a:gd name="connsiteX183" fmla="*/ 168138 w 914400"/>
                <a:gd name="connsiteY183" fmla="*/ 459753 h 638175"/>
                <a:gd name="connsiteX184" fmla="*/ 164442 w 914400"/>
                <a:gd name="connsiteY184" fmla="*/ 459753 h 638175"/>
                <a:gd name="connsiteX185" fmla="*/ 160756 w 914400"/>
                <a:gd name="connsiteY185" fmla="*/ 456057 h 638175"/>
                <a:gd name="connsiteX186" fmla="*/ 157069 w 914400"/>
                <a:gd name="connsiteY186" fmla="*/ 452371 h 638175"/>
                <a:gd name="connsiteX187" fmla="*/ 146001 w 914400"/>
                <a:gd name="connsiteY187" fmla="*/ 452371 h 638175"/>
                <a:gd name="connsiteX188" fmla="*/ 142315 w 914400"/>
                <a:gd name="connsiteY188" fmla="*/ 452371 h 638175"/>
                <a:gd name="connsiteX189" fmla="*/ 134933 w 914400"/>
                <a:gd name="connsiteY189" fmla="*/ 444989 h 638175"/>
                <a:gd name="connsiteX190" fmla="*/ 127554 w 914400"/>
                <a:gd name="connsiteY190" fmla="*/ 441294 h 638175"/>
                <a:gd name="connsiteX191" fmla="*/ 123865 w 914400"/>
                <a:gd name="connsiteY191" fmla="*/ 441294 h 638175"/>
                <a:gd name="connsiteX192" fmla="*/ 120176 w 914400"/>
                <a:gd name="connsiteY192" fmla="*/ 441294 h 638175"/>
                <a:gd name="connsiteX193" fmla="*/ 120176 w 914400"/>
                <a:gd name="connsiteY193" fmla="*/ 448676 h 638175"/>
                <a:gd name="connsiteX194" fmla="*/ 116487 w 914400"/>
                <a:gd name="connsiteY194" fmla="*/ 452371 h 638175"/>
                <a:gd name="connsiteX195" fmla="*/ 112798 w 914400"/>
                <a:gd name="connsiteY195" fmla="*/ 456057 h 638175"/>
                <a:gd name="connsiteX196" fmla="*/ 109108 w 914400"/>
                <a:gd name="connsiteY196" fmla="*/ 456057 h 638175"/>
                <a:gd name="connsiteX197" fmla="*/ 105419 w 914400"/>
                <a:gd name="connsiteY197" fmla="*/ 456057 h 638175"/>
                <a:gd name="connsiteX198" fmla="*/ 101730 w 914400"/>
                <a:gd name="connsiteY198" fmla="*/ 452371 h 638175"/>
                <a:gd name="connsiteX199" fmla="*/ 98041 w 914400"/>
                <a:gd name="connsiteY199" fmla="*/ 448676 h 638175"/>
                <a:gd name="connsiteX200" fmla="*/ 94352 w 914400"/>
                <a:gd name="connsiteY200" fmla="*/ 456057 h 638175"/>
                <a:gd name="connsiteX201" fmla="*/ 90663 w 914400"/>
                <a:gd name="connsiteY201" fmla="*/ 467135 h 638175"/>
                <a:gd name="connsiteX202" fmla="*/ 83284 w 914400"/>
                <a:gd name="connsiteY202" fmla="*/ 474517 h 638175"/>
                <a:gd name="connsiteX203" fmla="*/ 79595 w 914400"/>
                <a:gd name="connsiteY203" fmla="*/ 478203 h 638175"/>
                <a:gd name="connsiteX204" fmla="*/ 83284 w 914400"/>
                <a:gd name="connsiteY204" fmla="*/ 478203 h 638175"/>
                <a:gd name="connsiteX205" fmla="*/ 79595 w 914400"/>
                <a:gd name="connsiteY205" fmla="*/ 481899 h 638175"/>
                <a:gd name="connsiteX206" fmla="*/ 75906 w 914400"/>
                <a:gd name="connsiteY206" fmla="*/ 489271 h 638175"/>
                <a:gd name="connsiteX207" fmla="*/ 72217 w 914400"/>
                <a:gd name="connsiteY207" fmla="*/ 489271 h 638175"/>
                <a:gd name="connsiteX208" fmla="*/ 72217 w 914400"/>
                <a:gd name="connsiteY208" fmla="*/ 492967 h 638175"/>
                <a:gd name="connsiteX209" fmla="*/ 68528 w 914400"/>
                <a:gd name="connsiteY209" fmla="*/ 504035 h 638175"/>
                <a:gd name="connsiteX210" fmla="*/ 64839 w 914400"/>
                <a:gd name="connsiteY210" fmla="*/ 507730 h 638175"/>
                <a:gd name="connsiteX211" fmla="*/ 64839 w 914400"/>
                <a:gd name="connsiteY211" fmla="*/ 511417 h 638175"/>
                <a:gd name="connsiteX212" fmla="*/ 61149 w 914400"/>
                <a:gd name="connsiteY212" fmla="*/ 511417 h 638175"/>
                <a:gd name="connsiteX213" fmla="*/ 53771 w 914400"/>
                <a:gd name="connsiteY213" fmla="*/ 511417 h 638175"/>
                <a:gd name="connsiteX214" fmla="*/ 50082 w 914400"/>
                <a:gd name="connsiteY214" fmla="*/ 511417 h 638175"/>
                <a:gd name="connsiteX215" fmla="*/ 50082 w 914400"/>
                <a:gd name="connsiteY215" fmla="*/ 518799 h 638175"/>
                <a:gd name="connsiteX216" fmla="*/ 46393 w 914400"/>
                <a:gd name="connsiteY216" fmla="*/ 522494 h 638175"/>
                <a:gd name="connsiteX217" fmla="*/ 42704 w 914400"/>
                <a:gd name="connsiteY217" fmla="*/ 522494 h 638175"/>
                <a:gd name="connsiteX218" fmla="*/ 39014 w 914400"/>
                <a:gd name="connsiteY218" fmla="*/ 522494 h 638175"/>
                <a:gd name="connsiteX219" fmla="*/ 35325 w 914400"/>
                <a:gd name="connsiteY219" fmla="*/ 522494 h 638175"/>
                <a:gd name="connsiteX220" fmla="*/ 35325 w 914400"/>
                <a:gd name="connsiteY220" fmla="*/ 526180 h 638175"/>
                <a:gd name="connsiteX221" fmla="*/ 35325 w 914400"/>
                <a:gd name="connsiteY221" fmla="*/ 529876 h 638175"/>
                <a:gd name="connsiteX222" fmla="*/ 39014 w 914400"/>
                <a:gd name="connsiteY222" fmla="*/ 533562 h 638175"/>
                <a:gd name="connsiteX223" fmla="*/ 39014 w 914400"/>
                <a:gd name="connsiteY223" fmla="*/ 537248 h 638175"/>
                <a:gd name="connsiteX224" fmla="*/ 35325 w 914400"/>
                <a:gd name="connsiteY224" fmla="*/ 537248 h 638175"/>
                <a:gd name="connsiteX225" fmla="*/ 31636 w 914400"/>
                <a:gd name="connsiteY225" fmla="*/ 533562 h 638175"/>
                <a:gd name="connsiteX226" fmla="*/ 20569 w 914400"/>
                <a:gd name="connsiteY226" fmla="*/ 537248 h 638175"/>
                <a:gd name="connsiteX227" fmla="*/ 16879 w 914400"/>
                <a:gd name="connsiteY227" fmla="*/ 533562 h 638175"/>
                <a:gd name="connsiteX228" fmla="*/ 9501 w 914400"/>
                <a:gd name="connsiteY228" fmla="*/ 537248 h 638175"/>
                <a:gd name="connsiteX229" fmla="*/ 5812 w 914400"/>
                <a:gd name="connsiteY229" fmla="*/ 533562 h 638175"/>
                <a:gd name="connsiteX230" fmla="*/ 5812 w 914400"/>
                <a:gd name="connsiteY230" fmla="*/ 537248 h 638175"/>
                <a:gd name="connsiteX231" fmla="*/ 5812 w 914400"/>
                <a:gd name="connsiteY231" fmla="*/ 540944 h 638175"/>
                <a:gd name="connsiteX232" fmla="*/ 9501 w 914400"/>
                <a:gd name="connsiteY232" fmla="*/ 544630 h 638175"/>
                <a:gd name="connsiteX233" fmla="*/ 5812 w 914400"/>
                <a:gd name="connsiteY233" fmla="*/ 544630 h 638175"/>
                <a:gd name="connsiteX234" fmla="*/ 9501 w 914400"/>
                <a:gd name="connsiteY234" fmla="*/ 548326 h 638175"/>
                <a:gd name="connsiteX235" fmla="*/ 13190 w 914400"/>
                <a:gd name="connsiteY235" fmla="*/ 548326 h 638175"/>
                <a:gd name="connsiteX236" fmla="*/ 16879 w 914400"/>
                <a:gd name="connsiteY236" fmla="*/ 548326 h 638175"/>
                <a:gd name="connsiteX237" fmla="*/ 24258 w 914400"/>
                <a:gd name="connsiteY237" fmla="*/ 548326 h 638175"/>
                <a:gd name="connsiteX238" fmla="*/ 20569 w 914400"/>
                <a:gd name="connsiteY238" fmla="*/ 563090 h 638175"/>
                <a:gd name="connsiteX239" fmla="*/ 20569 w 914400"/>
                <a:gd name="connsiteY239" fmla="*/ 566776 h 638175"/>
                <a:gd name="connsiteX240" fmla="*/ 13190 w 914400"/>
                <a:gd name="connsiteY240" fmla="*/ 566776 h 638175"/>
                <a:gd name="connsiteX241" fmla="*/ 13190 w 914400"/>
                <a:gd name="connsiteY241" fmla="*/ 570472 h 638175"/>
                <a:gd name="connsiteX242" fmla="*/ 13190 w 914400"/>
                <a:gd name="connsiteY242" fmla="*/ 574158 h 638175"/>
                <a:gd name="connsiteX243" fmla="*/ 16879 w 914400"/>
                <a:gd name="connsiteY243" fmla="*/ 574158 h 638175"/>
                <a:gd name="connsiteX244" fmla="*/ 20569 w 914400"/>
                <a:gd name="connsiteY244" fmla="*/ 577854 h 638175"/>
                <a:gd name="connsiteX245" fmla="*/ 27947 w 914400"/>
                <a:gd name="connsiteY245" fmla="*/ 581540 h 638175"/>
                <a:gd name="connsiteX246" fmla="*/ 31636 w 914400"/>
                <a:gd name="connsiteY246" fmla="*/ 585226 h 638175"/>
                <a:gd name="connsiteX247" fmla="*/ 35325 w 914400"/>
                <a:gd name="connsiteY247" fmla="*/ 585226 h 638175"/>
                <a:gd name="connsiteX248" fmla="*/ 35325 w 914400"/>
                <a:gd name="connsiteY248" fmla="*/ 588922 h 638175"/>
                <a:gd name="connsiteX249" fmla="*/ 39014 w 914400"/>
                <a:gd name="connsiteY249" fmla="*/ 592608 h 638175"/>
                <a:gd name="connsiteX250" fmla="*/ 39014 w 914400"/>
                <a:gd name="connsiteY250" fmla="*/ 596303 h 638175"/>
                <a:gd name="connsiteX251" fmla="*/ 42704 w 914400"/>
                <a:gd name="connsiteY251" fmla="*/ 596303 h 638175"/>
                <a:gd name="connsiteX252" fmla="*/ 42704 w 914400"/>
                <a:gd name="connsiteY252" fmla="*/ 599990 h 638175"/>
                <a:gd name="connsiteX253" fmla="*/ 46393 w 914400"/>
                <a:gd name="connsiteY253" fmla="*/ 599990 h 638175"/>
                <a:gd name="connsiteX254" fmla="*/ 50082 w 914400"/>
                <a:gd name="connsiteY254" fmla="*/ 596303 h 638175"/>
                <a:gd name="connsiteX255" fmla="*/ 53771 w 914400"/>
                <a:gd name="connsiteY255" fmla="*/ 592608 h 638175"/>
                <a:gd name="connsiteX256" fmla="*/ 57460 w 914400"/>
                <a:gd name="connsiteY256" fmla="*/ 592608 h 638175"/>
                <a:gd name="connsiteX257" fmla="*/ 61149 w 914400"/>
                <a:gd name="connsiteY257" fmla="*/ 596303 h 638175"/>
                <a:gd name="connsiteX258" fmla="*/ 64839 w 914400"/>
                <a:gd name="connsiteY258" fmla="*/ 599990 h 638175"/>
                <a:gd name="connsiteX259" fmla="*/ 75906 w 914400"/>
                <a:gd name="connsiteY259" fmla="*/ 603685 h 638175"/>
                <a:gd name="connsiteX260" fmla="*/ 75906 w 914400"/>
                <a:gd name="connsiteY260" fmla="*/ 607372 h 638175"/>
                <a:gd name="connsiteX261" fmla="*/ 75906 w 914400"/>
                <a:gd name="connsiteY261" fmla="*/ 611067 h 638175"/>
                <a:gd name="connsiteX262" fmla="*/ 75906 w 914400"/>
                <a:gd name="connsiteY262" fmla="*/ 614753 h 638175"/>
                <a:gd name="connsiteX263" fmla="*/ 79595 w 914400"/>
                <a:gd name="connsiteY263" fmla="*/ 618449 h 638175"/>
                <a:gd name="connsiteX264" fmla="*/ 75906 w 914400"/>
                <a:gd name="connsiteY264" fmla="*/ 622135 h 638175"/>
                <a:gd name="connsiteX265" fmla="*/ 72217 w 914400"/>
                <a:gd name="connsiteY265" fmla="*/ 625831 h 638175"/>
                <a:gd name="connsiteX266" fmla="*/ 68528 w 914400"/>
                <a:gd name="connsiteY266" fmla="*/ 625831 h 638175"/>
                <a:gd name="connsiteX267" fmla="*/ 68528 w 914400"/>
                <a:gd name="connsiteY267" fmla="*/ 629517 h 638175"/>
                <a:gd name="connsiteX268" fmla="*/ 72217 w 914400"/>
                <a:gd name="connsiteY268" fmla="*/ 633203 h 638175"/>
                <a:gd name="connsiteX269" fmla="*/ 79595 w 914400"/>
                <a:gd name="connsiteY269" fmla="*/ 629517 h 638175"/>
                <a:gd name="connsiteX270" fmla="*/ 86973 w 914400"/>
                <a:gd name="connsiteY270" fmla="*/ 629517 h 638175"/>
                <a:gd name="connsiteX271" fmla="*/ 94352 w 914400"/>
                <a:gd name="connsiteY271" fmla="*/ 629517 h 638175"/>
                <a:gd name="connsiteX272" fmla="*/ 98041 w 914400"/>
                <a:gd name="connsiteY272" fmla="*/ 629517 h 638175"/>
                <a:gd name="connsiteX273" fmla="*/ 105419 w 914400"/>
                <a:gd name="connsiteY273" fmla="*/ 629517 h 638175"/>
                <a:gd name="connsiteX274" fmla="*/ 109108 w 914400"/>
                <a:gd name="connsiteY274" fmla="*/ 629517 h 638175"/>
                <a:gd name="connsiteX275" fmla="*/ 112798 w 914400"/>
                <a:gd name="connsiteY275" fmla="*/ 629517 h 638175"/>
                <a:gd name="connsiteX276" fmla="*/ 116487 w 914400"/>
                <a:gd name="connsiteY276" fmla="*/ 625831 h 638175"/>
                <a:gd name="connsiteX277" fmla="*/ 120176 w 914400"/>
                <a:gd name="connsiteY277" fmla="*/ 629517 h 638175"/>
                <a:gd name="connsiteX278" fmla="*/ 127554 w 914400"/>
                <a:gd name="connsiteY278" fmla="*/ 633203 h 638175"/>
                <a:gd name="connsiteX279" fmla="*/ 131243 w 914400"/>
                <a:gd name="connsiteY279" fmla="*/ 636899 h 638175"/>
                <a:gd name="connsiteX280" fmla="*/ 134933 w 914400"/>
                <a:gd name="connsiteY280" fmla="*/ 633203 h 638175"/>
                <a:gd name="connsiteX281" fmla="*/ 138620 w 914400"/>
                <a:gd name="connsiteY281" fmla="*/ 629517 h 638175"/>
                <a:gd name="connsiteX282" fmla="*/ 146001 w 914400"/>
                <a:gd name="connsiteY282" fmla="*/ 629517 h 638175"/>
                <a:gd name="connsiteX283" fmla="*/ 153383 w 914400"/>
                <a:gd name="connsiteY283" fmla="*/ 633203 h 638175"/>
                <a:gd name="connsiteX284" fmla="*/ 157069 w 914400"/>
                <a:gd name="connsiteY284" fmla="*/ 633203 h 638175"/>
                <a:gd name="connsiteX285" fmla="*/ 157069 w 914400"/>
                <a:gd name="connsiteY285" fmla="*/ 629517 h 638175"/>
                <a:gd name="connsiteX286" fmla="*/ 164442 w 914400"/>
                <a:gd name="connsiteY286" fmla="*/ 625831 h 638175"/>
                <a:gd name="connsiteX287" fmla="*/ 182892 w 914400"/>
                <a:gd name="connsiteY287" fmla="*/ 618449 h 638175"/>
                <a:gd name="connsiteX288" fmla="*/ 182892 w 914400"/>
                <a:gd name="connsiteY288" fmla="*/ 614753 h 638175"/>
                <a:gd name="connsiteX289" fmla="*/ 186578 w 914400"/>
                <a:gd name="connsiteY289" fmla="*/ 614753 h 638175"/>
                <a:gd name="connsiteX290" fmla="*/ 186578 w 914400"/>
                <a:gd name="connsiteY290" fmla="*/ 607372 h 638175"/>
                <a:gd name="connsiteX291" fmla="*/ 186578 w 914400"/>
                <a:gd name="connsiteY291" fmla="*/ 599990 h 638175"/>
                <a:gd name="connsiteX292" fmla="*/ 190274 w 914400"/>
                <a:gd name="connsiteY292" fmla="*/ 592608 h 638175"/>
                <a:gd name="connsiteX293" fmla="*/ 190274 w 914400"/>
                <a:gd name="connsiteY293" fmla="*/ 588922 h 638175"/>
                <a:gd name="connsiteX294" fmla="*/ 197646 w 914400"/>
                <a:gd name="connsiteY294" fmla="*/ 577854 h 638175"/>
                <a:gd name="connsiteX295" fmla="*/ 201342 w 914400"/>
                <a:gd name="connsiteY295" fmla="*/ 574158 h 638175"/>
                <a:gd name="connsiteX296" fmla="*/ 205028 w 914400"/>
                <a:gd name="connsiteY296" fmla="*/ 570472 h 638175"/>
                <a:gd name="connsiteX297" fmla="*/ 205028 w 914400"/>
                <a:gd name="connsiteY297" fmla="*/ 566776 h 638175"/>
                <a:gd name="connsiteX298" fmla="*/ 208714 w 914400"/>
                <a:gd name="connsiteY298" fmla="*/ 563090 h 638175"/>
                <a:gd name="connsiteX299" fmla="*/ 212410 w 914400"/>
                <a:gd name="connsiteY299" fmla="*/ 563090 h 638175"/>
                <a:gd name="connsiteX300" fmla="*/ 212410 w 914400"/>
                <a:gd name="connsiteY300" fmla="*/ 566776 h 638175"/>
                <a:gd name="connsiteX301" fmla="*/ 216096 w 914400"/>
                <a:gd name="connsiteY301" fmla="*/ 570472 h 638175"/>
                <a:gd name="connsiteX302" fmla="*/ 219782 w 914400"/>
                <a:gd name="connsiteY302" fmla="*/ 574158 h 638175"/>
                <a:gd name="connsiteX303" fmla="*/ 223478 w 914400"/>
                <a:gd name="connsiteY303" fmla="*/ 574158 h 638175"/>
                <a:gd name="connsiteX304" fmla="*/ 230850 w 914400"/>
                <a:gd name="connsiteY304" fmla="*/ 574158 h 638175"/>
                <a:gd name="connsiteX305" fmla="*/ 238232 w 914400"/>
                <a:gd name="connsiteY305" fmla="*/ 574158 h 638175"/>
                <a:gd name="connsiteX306" fmla="*/ 241918 w 914400"/>
                <a:gd name="connsiteY306" fmla="*/ 570472 h 638175"/>
                <a:gd name="connsiteX307" fmla="*/ 245604 w 914400"/>
                <a:gd name="connsiteY307" fmla="*/ 563090 h 638175"/>
                <a:gd name="connsiteX308" fmla="*/ 245604 w 914400"/>
                <a:gd name="connsiteY308" fmla="*/ 559394 h 638175"/>
                <a:gd name="connsiteX309" fmla="*/ 249300 w 914400"/>
                <a:gd name="connsiteY309" fmla="*/ 559394 h 638175"/>
                <a:gd name="connsiteX310" fmla="*/ 252986 w 914400"/>
                <a:gd name="connsiteY310" fmla="*/ 559394 h 638175"/>
                <a:gd name="connsiteX311" fmla="*/ 256672 w 914400"/>
                <a:gd name="connsiteY311" fmla="*/ 559394 h 638175"/>
                <a:gd name="connsiteX312" fmla="*/ 260368 w 914400"/>
                <a:gd name="connsiteY312" fmla="*/ 563090 h 638175"/>
                <a:gd name="connsiteX313" fmla="*/ 260368 w 914400"/>
                <a:gd name="connsiteY313" fmla="*/ 566776 h 638175"/>
                <a:gd name="connsiteX314" fmla="*/ 264054 w 914400"/>
                <a:gd name="connsiteY314" fmla="*/ 566776 h 638175"/>
                <a:gd name="connsiteX315" fmla="*/ 267740 w 914400"/>
                <a:gd name="connsiteY315" fmla="*/ 566776 h 638175"/>
                <a:gd name="connsiteX316" fmla="*/ 271436 w 914400"/>
                <a:gd name="connsiteY316" fmla="*/ 570472 h 638175"/>
                <a:gd name="connsiteX317" fmla="*/ 275122 w 914400"/>
                <a:gd name="connsiteY317" fmla="*/ 570472 h 638175"/>
                <a:gd name="connsiteX318" fmla="*/ 278808 w 914400"/>
                <a:gd name="connsiteY318" fmla="*/ 566776 h 638175"/>
                <a:gd name="connsiteX319" fmla="*/ 278808 w 914400"/>
                <a:gd name="connsiteY319" fmla="*/ 563090 h 638175"/>
                <a:gd name="connsiteX320" fmla="*/ 282504 w 914400"/>
                <a:gd name="connsiteY320" fmla="*/ 559394 h 638175"/>
                <a:gd name="connsiteX321" fmla="*/ 286190 w 914400"/>
                <a:gd name="connsiteY321" fmla="*/ 559394 h 638175"/>
                <a:gd name="connsiteX322" fmla="*/ 293572 w 914400"/>
                <a:gd name="connsiteY322" fmla="*/ 559394 h 638175"/>
                <a:gd name="connsiteX323" fmla="*/ 297258 w 914400"/>
                <a:gd name="connsiteY323" fmla="*/ 559394 h 638175"/>
                <a:gd name="connsiteX324" fmla="*/ 300945 w 914400"/>
                <a:gd name="connsiteY324" fmla="*/ 559394 h 638175"/>
                <a:gd name="connsiteX325" fmla="*/ 308326 w 914400"/>
                <a:gd name="connsiteY325" fmla="*/ 563090 h 638175"/>
                <a:gd name="connsiteX326" fmla="*/ 312013 w 914400"/>
                <a:gd name="connsiteY326" fmla="*/ 566776 h 638175"/>
                <a:gd name="connsiteX327" fmla="*/ 315699 w 914400"/>
                <a:gd name="connsiteY327" fmla="*/ 566776 h 638175"/>
                <a:gd name="connsiteX328" fmla="*/ 323081 w 914400"/>
                <a:gd name="connsiteY328" fmla="*/ 566776 h 638175"/>
                <a:gd name="connsiteX329" fmla="*/ 326767 w 914400"/>
                <a:gd name="connsiteY329" fmla="*/ 570472 h 638175"/>
                <a:gd name="connsiteX330" fmla="*/ 326767 w 914400"/>
                <a:gd name="connsiteY330" fmla="*/ 577854 h 638175"/>
                <a:gd name="connsiteX331" fmla="*/ 330463 w 914400"/>
                <a:gd name="connsiteY331" fmla="*/ 581540 h 638175"/>
                <a:gd name="connsiteX332" fmla="*/ 334149 w 914400"/>
                <a:gd name="connsiteY332" fmla="*/ 585226 h 638175"/>
                <a:gd name="connsiteX333" fmla="*/ 337835 w 914400"/>
                <a:gd name="connsiteY333" fmla="*/ 588922 h 638175"/>
                <a:gd name="connsiteX334" fmla="*/ 341531 w 914400"/>
                <a:gd name="connsiteY334" fmla="*/ 588922 h 638175"/>
                <a:gd name="connsiteX335" fmla="*/ 345217 w 914400"/>
                <a:gd name="connsiteY335" fmla="*/ 588922 h 638175"/>
                <a:gd name="connsiteX336" fmla="*/ 348903 w 914400"/>
                <a:gd name="connsiteY336" fmla="*/ 592608 h 638175"/>
                <a:gd name="connsiteX337" fmla="*/ 352599 w 914400"/>
                <a:gd name="connsiteY337" fmla="*/ 592608 h 638175"/>
                <a:gd name="connsiteX338" fmla="*/ 352599 w 914400"/>
                <a:gd name="connsiteY338" fmla="*/ 599990 h 638175"/>
                <a:gd name="connsiteX339" fmla="*/ 356285 w 914400"/>
                <a:gd name="connsiteY339" fmla="*/ 599990 h 638175"/>
                <a:gd name="connsiteX340" fmla="*/ 359971 w 914400"/>
                <a:gd name="connsiteY340" fmla="*/ 603685 h 638175"/>
                <a:gd name="connsiteX341" fmla="*/ 363667 w 914400"/>
                <a:gd name="connsiteY341" fmla="*/ 603685 h 638175"/>
                <a:gd name="connsiteX342" fmla="*/ 367353 w 914400"/>
                <a:gd name="connsiteY342" fmla="*/ 603685 h 638175"/>
                <a:gd name="connsiteX343" fmla="*/ 371039 w 914400"/>
                <a:gd name="connsiteY343" fmla="*/ 607372 h 638175"/>
                <a:gd name="connsiteX344" fmla="*/ 374725 w 914400"/>
                <a:gd name="connsiteY344" fmla="*/ 611067 h 638175"/>
                <a:gd name="connsiteX345" fmla="*/ 374725 w 914400"/>
                <a:gd name="connsiteY345" fmla="*/ 614753 h 638175"/>
                <a:gd name="connsiteX346" fmla="*/ 378421 w 914400"/>
                <a:gd name="connsiteY346" fmla="*/ 618449 h 638175"/>
                <a:gd name="connsiteX347" fmla="*/ 382107 w 914400"/>
                <a:gd name="connsiteY347" fmla="*/ 618449 h 638175"/>
                <a:gd name="connsiteX348" fmla="*/ 385793 w 914400"/>
                <a:gd name="connsiteY348" fmla="*/ 618449 h 638175"/>
                <a:gd name="connsiteX349" fmla="*/ 393175 w 914400"/>
                <a:gd name="connsiteY349" fmla="*/ 618449 h 638175"/>
                <a:gd name="connsiteX350" fmla="*/ 396861 w 914400"/>
                <a:gd name="connsiteY350" fmla="*/ 618449 h 638175"/>
                <a:gd name="connsiteX351" fmla="*/ 407929 w 914400"/>
                <a:gd name="connsiteY351" fmla="*/ 614753 h 638175"/>
                <a:gd name="connsiteX352" fmla="*/ 411625 w 914400"/>
                <a:gd name="connsiteY352" fmla="*/ 614753 h 638175"/>
                <a:gd name="connsiteX353" fmla="*/ 422693 w 914400"/>
                <a:gd name="connsiteY353" fmla="*/ 614753 h 638175"/>
                <a:gd name="connsiteX354" fmla="*/ 430065 w 914400"/>
                <a:gd name="connsiteY354" fmla="*/ 614753 h 638175"/>
                <a:gd name="connsiteX355" fmla="*/ 433761 w 914400"/>
                <a:gd name="connsiteY355" fmla="*/ 614753 h 638175"/>
                <a:gd name="connsiteX356" fmla="*/ 437447 w 914400"/>
                <a:gd name="connsiteY356" fmla="*/ 614753 h 638175"/>
                <a:gd name="connsiteX357" fmla="*/ 437447 w 914400"/>
                <a:gd name="connsiteY357" fmla="*/ 611067 h 638175"/>
                <a:gd name="connsiteX358" fmla="*/ 437447 w 914400"/>
                <a:gd name="connsiteY358" fmla="*/ 607372 h 638175"/>
                <a:gd name="connsiteX359" fmla="*/ 433761 w 914400"/>
                <a:gd name="connsiteY359" fmla="*/ 603685 h 638175"/>
                <a:gd name="connsiteX360" fmla="*/ 437447 w 914400"/>
                <a:gd name="connsiteY360" fmla="*/ 599990 h 638175"/>
                <a:gd name="connsiteX361" fmla="*/ 444820 w 914400"/>
                <a:gd name="connsiteY361" fmla="*/ 599990 h 638175"/>
                <a:gd name="connsiteX362" fmla="*/ 448516 w 914400"/>
                <a:gd name="connsiteY362" fmla="*/ 599990 h 638175"/>
                <a:gd name="connsiteX363" fmla="*/ 452202 w 914400"/>
                <a:gd name="connsiteY363" fmla="*/ 603685 h 638175"/>
                <a:gd name="connsiteX364" fmla="*/ 455888 w 914400"/>
                <a:gd name="connsiteY364" fmla="*/ 607372 h 638175"/>
                <a:gd name="connsiteX365" fmla="*/ 455888 w 914400"/>
                <a:gd name="connsiteY365" fmla="*/ 611067 h 638175"/>
                <a:gd name="connsiteX366" fmla="*/ 459583 w 914400"/>
                <a:gd name="connsiteY366" fmla="*/ 614753 h 638175"/>
                <a:gd name="connsiteX367" fmla="*/ 459583 w 914400"/>
                <a:gd name="connsiteY367" fmla="*/ 618449 h 638175"/>
                <a:gd name="connsiteX368" fmla="*/ 463270 w 914400"/>
                <a:gd name="connsiteY368" fmla="*/ 622135 h 638175"/>
                <a:gd name="connsiteX369" fmla="*/ 466956 w 914400"/>
                <a:gd name="connsiteY369" fmla="*/ 622135 h 638175"/>
                <a:gd name="connsiteX370" fmla="*/ 466956 w 914400"/>
                <a:gd name="connsiteY370" fmla="*/ 625831 h 638175"/>
                <a:gd name="connsiteX371" fmla="*/ 470652 w 914400"/>
                <a:gd name="connsiteY371" fmla="*/ 629517 h 638175"/>
                <a:gd name="connsiteX372" fmla="*/ 474338 w 914400"/>
                <a:gd name="connsiteY372" fmla="*/ 629517 h 638175"/>
                <a:gd name="connsiteX373" fmla="*/ 478024 w 914400"/>
                <a:gd name="connsiteY373" fmla="*/ 625831 h 638175"/>
                <a:gd name="connsiteX374" fmla="*/ 478024 w 914400"/>
                <a:gd name="connsiteY374" fmla="*/ 622135 h 638175"/>
                <a:gd name="connsiteX375" fmla="*/ 481720 w 914400"/>
                <a:gd name="connsiteY375" fmla="*/ 618449 h 638175"/>
                <a:gd name="connsiteX376" fmla="*/ 489092 w 914400"/>
                <a:gd name="connsiteY376" fmla="*/ 614753 h 638175"/>
                <a:gd name="connsiteX377" fmla="*/ 492788 w 914400"/>
                <a:gd name="connsiteY377" fmla="*/ 614753 h 638175"/>
                <a:gd name="connsiteX378" fmla="*/ 496474 w 914400"/>
                <a:gd name="connsiteY378" fmla="*/ 607372 h 638175"/>
                <a:gd name="connsiteX379" fmla="*/ 496474 w 914400"/>
                <a:gd name="connsiteY379" fmla="*/ 603685 h 638175"/>
                <a:gd name="connsiteX380" fmla="*/ 492788 w 914400"/>
                <a:gd name="connsiteY380" fmla="*/ 603685 h 638175"/>
                <a:gd name="connsiteX381" fmla="*/ 492788 w 914400"/>
                <a:gd name="connsiteY381" fmla="*/ 596303 h 638175"/>
                <a:gd name="connsiteX382" fmla="*/ 496474 w 914400"/>
                <a:gd name="connsiteY382" fmla="*/ 596303 h 638175"/>
                <a:gd name="connsiteX383" fmla="*/ 492788 w 914400"/>
                <a:gd name="connsiteY383" fmla="*/ 592608 h 638175"/>
                <a:gd name="connsiteX384" fmla="*/ 489092 w 914400"/>
                <a:gd name="connsiteY384" fmla="*/ 592608 h 638175"/>
                <a:gd name="connsiteX385" fmla="*/ 489092 w 914400"/>
                <a:gd name="connsiteY385" fmla="*/ 588922 h 638175"/>
                <a:gd name="connsiteX386" fmla="*/ 489092 w 914400"/>
                <a:gd name="connsiteY386" fmla="*/ 585226 h 638175"/>
                <a:gd name="connsiteX387" fmla="*/ 489092 w 914400"/>
                <a:gd name="connsiteY387" fmla="*/ 581540 h 638175"/>
                <a:gd name="connsiteX388" fmla="*/ 481720 w 914400"/>
                <a:gd name="connsiteY388" fmla="*/ 574158 h 638175"/>
                <a:gd name="connsiteX389" fmla="*/ 478024 w 914400"/>
                <a:gd name="connsiteY389" fmla="*/ 574158 h 638175"/>
                <a:gd name="connsiteX390" fmla="*/ 474338 w 914400"/>
                <a:gd name="connsiteY390" fmla="*/ 574158 h 638175"/>
                <a:gd name="connsiteX391" fmla="*/ 474338 w 914400"/>
                <a:gd name="connsiteY391" fmla="*/ 570472 h 638175"/>
                <a:gd name="connsiteX392" fmla="*/ 478024 w 914400"/>
                <a:gd name="connsiteY392" fmla="*/ 566776 h 638175"/>
                <a:gd name="connsiteX393" fmla="*/ 481720 w 914400"/>
                <a:gd name="connsiteY393" fmla="*/ 566776 h 638175"/>
                <a:gd name="connsiteX394" fmla="*/ 474338 w 914400"/>
                <a:gd name="connsiteY394" fmla="*/ 563090 h 638175"/>
                <a:gd name="connsiteX395" fmla="*/ 481720 w 914400"/>
                <a:gd name="connsiteY395" fmla="*/ 552012 h 638175"/>
                <a:gd name="connsiteX396" fmla="*/ 485406 w 914400"/>
                <a:gd name="connsiteY396" fmla="*/ 552012 h 638175"/>
                <a:gd name="connsiteX397" fmla="*/ 485406 w 914400"/>
                <a:gd name="connsiteY397" fmla="*/ 555708 h 638175"/>
                <a:gd name="connsiteX398" fmla="*/ 492788 w 914400"/>
                <a:gd name="connsiteY398" fmla="*/ 555708 h 638175"/>
                <a:gd name="connsiteX399" fmla="*/ 496474 w 914400"/>
                <a:gd name="connsiteY399" fmla="*/ 555708 h 638175"/>
                <a:gd name="connsiteX400" fmla="*/ 503856 w 914400"/>
                <a:gd name="connsiteY400" fmla="*/ 552012 h 638175"/>
                <a:gd name="connsiteX401" fmla="*/ 507542 w 914400"/>
                <a:gd name="connsiteY401" fmla="*/ 552012 h 638175"/>
                <a:gd name="connsiteX402" fmla="*/ 511228 w 914400"/>
                <a:gd name="connsiteY402" fmla="*/ 548326 h 638175"/>
                <a:gd name="connsiteX403" fmla="*/ 514924 w 914400"/>
                <a:gd name="connsiteY403" fmla="*/ 544630 h 638175"/>
                <a:gd name="connsiteX404" fmla="*/ 518610 w 914400"/>
                <a:gd name="connsiteY404" fmla="*/ 548326 h 638175"/>
                <a:gd name="connsiteX405" fmla="*/ 522296 w 914400"/>
                <a:gd name="connsiteY405" fmla="*/ 544630 h 638175"/>
                <a:gd name="connsiteX406" fmla="*/ 525982 w 914400"/>
                <a:gd name="connsiteY406" fmla="*/ 540944 h 638175"/>
                <a:gd name="connsiteX407" fmla="*/ 529678 w 914400"/>
                <a:gd name="connsiteY407" fmla="*/ 540944 h 638175"/>
                <a:gd name="connsiteX408" fmla="*/ 525982 w 914400"/>
                <a:gd name="connsiteY408" fmla="*/ 537248 h 638175"/>
                <a:gd name="connsiteX409" fmla="*/ 529678 w 914400"/>
                <a:gd name="connsiteY409" fmla="*/ 533562 h 638175"/>
                <a:gd name="connsiteX410" fmla="*/ 533364 w 914400"/>
                <a:gd name="connsiteY410" fmla="*/ 529876 h 638175"/>
                <a:gd name="connsiteX411" fmla="*/ 537050 w 914400"/>
                <a:gd name="connsiteY411" fmla="*/ 533562 h 638175"/>
                <a:gd name="connsiteX412" fmla="*/ 544432 w 914400"/>
                <a:gd name="connsiteY412" fmla="*/ 540944 h 638175"/>
                <a:gd name="connsiteX413" fmla="*/ 548118 w 914400"/>
                <a:gd name="connsiteY413" fmla="*/ 540944 h 638175"/>
                <a:gd name="connsiteX414" fmla="*/ 551814 w 914400"/>
                <a:gd name="connsiteY414" fmla="*/ 540944 h 638175"/>
                <a:gd name="connsiteX415" fmla="*/ 566568 w 914400"/>
                <a:gd name="connsiteY415" fmla="*/ 544630 h 638175"/>
                <a:gd name="connsiteX416" fmla="*/ 577636 w 914400"/>
                <a:gd name="connsiteY416" fmla="*/ 544630 h 638175"/>
                <a:gd name="connsiteX417" fmla="*/ 581323 w 914400"/>
                <a:gd name="connsiteY417" fmla="*/ 548326 h 638175"/>
                <a:gd name="connsiteX418" fmla="*/ 581323 w 914400"/>
                <a:gd name="connsiteY418" fmla="*/ 540944 h 638175"/>
                <a:gd name="connsiteX419" fmla="*/ 581323 w 914400"/>
                <a:gd name="connsiteY419" fmla="*/ 537248 h 638175"/>
                <a:gd name="connsiteX420" fmla="*/ 581323 w 914400"/>
                <a:gd name="connsiteY420" fmla="*/ 533562 h 638175"/>
                <a:gd name="connsiteX421" fmla="*/ 581323 w 914400"/>
                <a:gd name="connsiteY421" fmla="*/ 529876 h 638175"/>
                <a:gd name="connsiteX422" fmla="*/ 573950 w 914400"/>
                <a:gd name="connsiteY422" fmla="*/ 526180 h 638175"/>
                <a:gd name="connsiteX423" fmla="*/ 570254 w 914400"/>
                <a:gd name="connsiteY423" fmla="*/ 526180 h 638175"/>
                <a:gd name="connsiteX424" fmla="*/ 570254 w 914400"/>
                <a:gd name="connsiteY424" fmla="*/ 522494 h 638175"/>
                <a:gd name="connsiteX425" fmla="*/ 570254 w 914400"/>
                <a:gd name="connsiteY425" fmla="*/ 518799 h 638175"/>
                <a:gd name="connsiteX426" fmla="*/ 566568 w 914400"/>
                <a:gd name="connsiteY426" fmla="*/ 511417 h 638175"/>
                <a:gd name="connsiteX427" fmla="*/ 562882 w 914400"/>
                <a:gd name="connsiteY427" fmla="*/ 507730 h 638175"/>
                <a:gd name="connsiteX428" fmla="*/ 555500 w 914400"/>
                <a:gd name="connsiteY428" fmla="*/ 507730 h 638175"/>
                <a:gd name="connsiteX429" fmla="*/ 551814 w 914400"/>
                <a:gd name="connsiteY429" fmla="*/ 507730 h 638175"/>
                <a:gd name="connsiteX430" fmla="*/ 555500 w 914400"/>
                <a:gd name="connsiteY430" fmla="*/ 504035 h 638175"/>
                <a:gd name="connsiteX431" fmla="*/ 555500 w 914400"/>
                <a:gd name="connsiteY431" fmla="*/ 500349 h 638175"/>
                <a:gd name="connsiteX432" fmla="*/ 559186 w 914400"/>
                <a:gd name="connsiteY432" fmla="*/ 500349 h 638175"/>
                <a:gd name="connsiteX433" fmla="*/ 562882 w 914400"/>
                <a:gd name="connsiteY433" fmla="*/ 504035 h 638175"/>
                <a:gd name="connsiteX434" fmla="*/ 577636 w 914400"/>
                <a:gd name="connsiteY434" fmla="*/ 496653 h 638175"/>
                <a:gd name="connsiteX435" fmla="*/ 581323 w 914400"/>
                <a:gd name="connsiteY435" fmla="*/ 500349 h 638175"/>
                <a:gd name="connsiteX436" fmla="*/ 585009 w 914400"/>
                <a:gd name="connsiteY436" fmla="*/ 500349 h 638175"/>
                <a:gd name="connsiteX437" fmla="*/ 588704 w 914400"/>
                <a:gd name="connsiteY437" fmla="*/ 504035 h 638175"/>
                <a:gd name="connsiteX438" fmla="*/ 596077 w 914400"/>
                <a:gd name="connsiteY438" fmla="*/ 507730 h 638175"/>
                <a:gd name="connsiteX439" fmla="*/ 596077 w 914400"/>
                <a:gd name="connsiteY439" fmla="*/ 511417 h 638175"/>
                <a:gd name="connsiteX440" fmla="*/ 588704 w 914400"/>
                <a:gd name="connsiteY440" fmla="*/ 511417 h 638175"/>
                <a:gd name="connsiteX441" fmla="*/ 592391 w 914400"/>
                <a:gd name="connsiteY441" fmla="*/ 515112 h 638175"/>
                <a:gd name="connsiteX442" fmla="*/ 596077 w 914400"/>
                <a:gd name="connsiteY442" fmla="*/ 518799 h 638175"/>
                <a:gd name="connsiteX443" fmla="*/ 599772 w 914400"/>
                <a:gd name="connsiteY443" fmla="*/ 522494 h 638175"/>
                <a:gd name="connsiteX444" fmla="*/ 607145 w 914400"/>
                <a:gd name="connsiteY444" fmla="*/ 526180 h 638175"/>
                <a:gd name="connsiteX445" fmla="*/ 614527 w 914400"/>
                <a:gd name="connsiteY445" fmla="*/ 526180 h 638175"/>
                <a:gd name="connsiteX446" fmla="*/ 614527 w 914400"/>
                <a:gd name="connsiteY446" fmla="*/ 522494 h 638175"/>
                <a:gd name="connsiteX447" fmla="*/ 621909 w 914400"/>
                <a:gd name="connsiteY447" fmla="*/ 522494 h 638175"/>
                <a:gd name="connsiteX448" fmla="*/ 625595 w 914400"/>
                <a:gd name="connsiteY448" fmla="*/ 526180 h 638175"/>
                <a:gd name="connsiteX449" fmla="*/ 629281 w 914400"/>
                <a:gd name="connsiteY449" fmla="*/ 526180 h 638175"/>
                <a:gd name="connsiteX450" fmla="*/ 629281 w 914400"/>
                <a:gd name="connsiteY450" fmla="*/ 522494 h 638175"/>
                <a:gd name="connsiteX451" fmla="*/ 632977 w 914400"/>
                <a:gd name="connsiteY451" fmla="*/ 522494 h 638175"/>
                <a:gd name="connsiteX452" fmla="*/ 632977 w 914400"/>
                <a:gd name="connsiteY452" fmla="*/ 518799 h 638175"/>
                <a:gd name="connsiteX453" fmla="*/ 636663 w 914400"/>
                <a:gd name="connsiteY453" fmla="*/ 522494 h 638175"/>
                <a:gd name="connsiteX454" fmla="*/ 647731 w 914400"/>
                <a:gd name="connsiteY454" fmla="*/ 526180 h 638175"/>
                <a:gd name="connsiteX455" fmla="*/ 647731 w 914400"/>
                <a:gd name="connsiteY455" fmla="*/ 529876 h 638175"/>
                <a:gd name="connsiteX456" fmla="*/ 651417 w 914400"/>
                <a:gd name="connsiteY456" fmla="*/ 537248 h 638175"/>
                <a:gd name="connsiteX457" fmla="*/ 651417 w 914400"/>
                <a:gd name="connsiteY457" fmla="*/ 540944 h 638175"/>
                <a:gd name="connsiteX458" fmla="*/ 658799 w 914400"/>
                <a:gd name="connsiteY458" fmla="*/ 537248 h 638175"/>
                <a:gd name="connsiteX459" fmla="*/ 666171 w 914400"/>
                <a:gd name="connsiteY459" fmla="*/ 537248 h 638175"/>
                <a:gd name="connsiteX460" fmla="*/ 669867 w 914400"/>
                <a:gd name="connsiteY460" fmla="*/ 537248 h 638175"/>
                <a:gd name="connsiteX461" fmla="*/ 673553 w 914400"/>
                <a:gd name="connsiteY461" fmla="*/ 540944 h 638175"/>
                <a:gd name="connsiteX462" fmla="*/ 677239 w 914400"/>
                <a:gd name="connsiteY462" fmla="*/ 540944 h 638175"/>
                <a:gd name="connsiteX463" fmla="*/ 680935 w 914400"/>
                <a:gd name="connsiteY463" fmla="*/ 544630 h 638175"/>
                <a:gd name="connsiteX464" fmla="*/ 680935 w 914400"/>
                <a:gd name="connsiteY464" fmla="*/ 548326 h 638175"/>
                <a:gd name="connsiteX465" fmla="*/ 680935 w 914400"/>
                <a:gd name="connsiteY465" fmla="*/ 552012 h 638175"/>
                <a:gd name="connsiteX466" fmla="*/ 684621 w 914400"/>
                <a:gd name="connsiteY466" fmla="*/ 552012 h 638175"/>
                <a:gd name="connsiteX467" fmla="*/ 688307 w 914400"/>
                <a:gd name="connsiteY467" fmla="*/ 552012 h 638175"/>
                <a:gd name="connsiteX468" fmla="*/ 692003 w 914400"/>
                <a:gd name="connsiteY468" fmla="*/ 552012 h 638175"/>
                <a:gd name="connsiteX469" fmla="*/ 699375 w 914400"/>
                <a:gd name="connsiteY469" fmla="*/ 555708 h 638175"/>
                <a:gd name="connsiteX470" fmla="*/ 703071 w 914400"/>
                <a:gd name="connsiteY470" fmla="*/ 555708 h 638175"/>
                <a:gd name="connsiteX471" fmla="*/ 699375 w 914400"/>
                <a:gd name="connsiteY471" fmla="*/ 548326 h 638175"/>
                <a:gd name="connsiteX472" fmla="*/ 703071 w 914400"/>
                <a:gd name="connsiteY472" fmla="*/ 552012 h 638175"/>
                <a:gd name="connsiteX473" fmla="*/ 699375 w 914400"/>
                <a:gd name="connsiteY473" fmla="*/ 544630 h 638175"/>
                <a:gd name="connsiteX474" fmla="*/ 699375 w 914400"/>
                <a:gd name="connsiteY474" fmla="*/ 540944 h 638175"/>
                <a:gd name="connsiteX475" fmla="*/ 703071 w 914400"/>
                <a:gd name="connsiteY475" fmla="*/ 537248 h 638175"/>
                <a:gd name="connsiteX476" fmla="*/ 699375 w 914400"/>
                <a:gd name="connsiteY476" fmla="*/ 537248 h 638175"/>
                <a:gd name="connsiteX477" fmla="*/ 699375 w 914400"/>
                <a:gd name="connsiteY477" fmla="*/ 533562 h 638175"/>
                <a:gd name="connsiteX478" fmla="*/ 695689 w 914400"/>
                <a:gd name="connsiteY478" fmla="*/ 533562 h 638175"/>
                <a:gd name="connsiteX479" fmla="*/ 692003 w 914400"/>
                <a:gd name="connsiteY479" fmla="*/ 529876 h 638175"/>
                <a:gd name="connsiteX480" fmla="*/ 692003 w 914400"/>
                <a:gd name="connsiteY480" fmla="*/ 526180 h 638175"/>
                <a:gd name="connsiteX481" fmla="*/ 692003 w 914400"/>
                <a:gd name="connsiteY481" fmla="*/ 518799 h 638175"/>
                <a:gd name="connsiteX482" fmla="*/ 699375 w 914400"/>
                <a:gd name="connsiteY482" fmla="*/ 522494 h 638175"/>
                <a:gd name="connsiteX483" fmla="*/ 703071 w 914400"/>
                <a:gd name="connsiteY483" fmla="*/ 522494 h 638175"/>
                <a:gd name="connsiteX484" fmla="*/ 706757 w 914400"/>
                <a:gd name="connsiteY484" fmla="*/ 526180 h 638175"/>
                <a:gd name="connsiteX485" fmla="*/ 710443 w 914400"/>
                <a:gd name="connsiteY485" fmla="*/ 526180 h 638175"/>
                <a:gd name="connsiteX486" fmla="*/ 710443 w 914400"/>
                <a:gd name="connsiteY486" fmla="*/ 529876 h 638175"/>
                <a:gd name="connsiteX487" fmla="*/ 714139 w 914400"/>
                <a:gd name="connsiteY487" fmla="*/ 529876 h 638175"/>
                <a:gd name="connsiteX488" fmla="*/ 717825 w 914400"/>
                <a:gd name="connsiteY488" fmla="*/ 529876 h 638175"/>
                <a:gd name="connsiteX489" fmla="*/ 721512 w 914400"/>
                <a:gd name="connsiteY489" fmla="*/ 526180 h 638175"/>
                <a:gd name="connsiteX490" fmla="*/ 725207 w 914400"/>
                <a:gd name="connsiteY490" fmla="*/ 533562 h 638175"/>
                <a:gd name="connsiteX491" fmla="*/ 728893 w 914400"/>
                <a:gd name="connsiteY491" fmla="*/ 533562 h 638175"/>
                <a:gd name="connsiteX492" fmla="*/ 732580 w 914400"/>
                <a:gd name="connsiteY492" fmla="*/ 537248 h 638175"/>
                <a:gd name="connsiteX493" fmla="*/ 736266 w 914400"/>
                <a:gd name="connsiteY493" fmla="*/ 533562 h 638175"/>
                <a:gd name="connsiteX494" fmla="*/ 747334 w 914400"/>
                <a:gd name="connsiteY494" fmla="*/ 529876 h 638175"/>
                <a:gd name="connsiteX495" fmla="*/ 747334 w 914400"/>
                <a:gd name="connsiteY495" fmla="*/ 526180 h 638175"/>
                <a:gd name="connsiteX496" fmla="*/ 747334 w 914400"/>
                <a:gd name="connsiteY496" fmla="*/ 522494 h 638175"/>
                <a:gd name="connsiteX497" fmla="*/ 751029 w 914400"/>
                <a:gd name="connsiteY497" fmla="*/ 522494 h 638175"/>
                <a:gd name="connsiteX498" fmla="*/ 754716 w 914400"/>
                <a:gd name="connsiteY498" fmla="*/ 518799 h 638175"/>
                <a:gd name="connsiteX499" fmla="*/ 758402 w 914400"/>
                <a:gd name="connsiteY499" fmla="*/ 518799 h 638175"/>
                <a:gd name="connsiteX500" fmla="*/ 762098 w 914400"/>
                <a:gd name="connsiteY500" fmla="*/ 518799 h 638175"/>
                <a:gd name="connsiteX501" fmla="*/ 765784 w 914400"/>
                <a:gd name="connsiteY501" fmla="*/ 515112 h 638175"/>
                <a:gd name="connsiteX502" fmla="*/ 765784 w 914400"/>
                <a:gd name="connsiteY502" fmla="*/ 511417 h 638175"/>
                <a:gd name="connsiteX503" fmla="*/ 769470 w 914400"/>
                <a:gd name="connsiteY503" fmla="*/ 511417 h 638175"/>
                <a:gd name="connsiteX504" fmla="*/ 773166 w 914400"/>
                <a:gd name="connsiteY504" fmla="*/ 507730 h 638175"/>
                <a:gd name="connsiteX505" fmla="*/ 773166 w 914400"/>
                <a:gd name="connsiteY505" fmla="*/ 511417 h 638175"/>
                <a:gd name="connsiteX506" fmla="*/ 776852 w 914400"/>
                <a:gd name="connsiteY506" fmla="*/ 511417 h 638175"/>
                <a:gd name="connsiteX507" fmla="*/ 780538 w 914400"/>
                <a:gd name="connsiteY507" fmla="*/ 507730 h 638175"/>
                <a:gd name="connsiteX508" fmla="*/ 787920 w 914400"/>
                <a:gd name="connsiteY508" fmla="*/ 504035 h 638175"/>
                <a:gd name="connsiteX509" fmla="*/ 806360 w 914400"/>
                <a:gd name="connsiteY509" fmla="*/ 496653 h 638175"/>
                <a:gd name="connsiteX510" fmla="*/ 810056 w 914400"/>
                <a:gd name="connsiteY510" fmla="*/ 496653 h 638175"/>
                <a:gd name="connsiteX511" fmla="*/ 813742 w 914400"/>
                <a:gd name="connsiteY511" fmla="*/ 496653 h 638175"/>
                <a:gd name="connsiteX512" fmla="*/ 813742 w 914400"/>
                <a:gd name="connsiteY512" fmla="*/ 492967 h 638175"/>
                <a:gd name="connsiteX513" fmla="*/ 821124 w 914400"/>
                <a:gd name="connsiteY513" fmla="*/ 489271 h 638175"/>
                <a:gd name="connsiteX514" fmla="*/ 828496 w 914400"/>
                <a:gd name="connsiteY514" fmla="*/ 485585 h 638175"/>
                <a:gd name="connsiteX515" fmla="*/ 832192 w 914400"/>
                <a:gd name="connsiteY515" fmla="*/ 485585 h 638175"/>
                <a:gd name="connsiteX516" fmla="*/ 835878 w 914400"/>
                <a:gd name="connsiteY516" fmla="*/ 481899 h 638175"/>
                <a:gd name="connsiteX517" fmla="*/ 835878 w 914400"/>
                <a:gd name="connsiteY517" fmla="*/ 485585 h 638175"/>
                <a:gd name="connsiteX518" fmla="*/ 839564 w 914400"/>
                <a:gd name="connsiteY518" fmla="*/ 485585 h 638175"/>
                <a:gd name="connsiteX519" fmla="*/ 843260 w 914400"/>
                <a:gd name="connsiteY519" fmla="*/ 485585 h 638175"/>
                <a:gd name="connsiteX520" fmla="*/ 843260 w 914400"/>
                <a:gd name="connsiteY520" fmla="*/ 489271 h 638175"/>
                <a:gd name="connsiteX521" fmla="*/ 846946 w 914400"/>
                <a:gd name="connsiteY521" fmla="*/ 492967 h 638175"/>
                <a:gd name="connsiteX522" fmla="*/ 854328 w 914400"/>
                <a:gd name="connsiteY522" fmla="*/ 500349 h 638175"/>
                <a:gd name="connsiteX523" fmla="*/ 861700 w 914400"/>
                <a:gd name="connsiteY523" fmla="*/ 496653 h 638175"/>
                <a:gd name="connsiteX524" fmla="*/ 861700 w 914400"/>
                <a:gd name="connsiteY524" fmla="*/ 492967 h 638175"/>
                <a:gd name="connsiteX525" fmla="*/ 865396 w 914400"/>
                <a:gd name="connsiteY525" fmla="*/ 492967 h 638175"/>
                <a:gd name="connsiteX526" fmla="*/ 869082 w 914400"/>
                <a:gd name="connsiteY526" fmla="*/ 489271 h 638175"/>
                <a:gd name="connsiteX527" fmla="*/ 872769 w 914400"/>
                <a:gd name="connsiteY527" fmla="*/ 489271 h 638175"/>
                <a:gd name="connsiteX528" fmla="*/ 872769 w 914400"/>
                <a:gd name="connsiteY528" fmla="*/ 485585 h 638175"/>
                <a:gd name="connsiteX529" fmla="*/ 876455 w 914400"/>
                <a:gd name="connsiteY529" fmla="*/ 481899 h 638175"/>
                <a:gd name="connsiteX530" fmla="*/ 880150 w 914400"/>
                <a:gd name="connsiteY530" fmla="*/ 481899 h 638175"/>
                <a:gd name="connsiteX531" fmla="*/ 887523 w 914400"/>
                <a:gd name="connsiteY531" fmla="*/ 470821 h 638175"/>
                <a:gd name="connsiteX532" fmla="*/ 891218 w 914400"/>
                <a:gd name="connsiteY532" fmla="*/ 467135 h 638175"/>
                <a:gd name="connsiteX533" fmla="*/ 891218 w 914400"/>
                <a:gd name="connsiteY533" fmla="*/ 463439 h 638175"/>
                <a:gd name="connsiteX534" fmla="*/ 891218 w 914400"/>
                <a:gd name="connsiteY534" fmla="*/ 459753 h 638175"/>
                <a:gd name="connsiteX535" fmla="*/ 891218 w 914400"/>
                <a:gd name="connsiteY535" fmla="*/ 448676 h 638175"/>
                <a:gd name="connsiteX536" fmla="*/ 898591 w 914400"/>
                <a:gd name="connsiteY536" fmla="*/ 444989 h 638175"/>
                <a:gd name="connsiteX537" fmla="*/ 905973 w 914400"/>
                <a:gd name="connsiteY537" fmla="*/ 444989 h 638175"/>
                <a:gd name="connsiteX538" fmla="*/ 909659 w 914400"/>
                <a:gd name="connsiteY538" fmla="*/ 437607 h 638175"/>
                <a:gd name="connsiteX539" fmla="*/ 905973 w 914400"/>
                <a:gd name="connsiteY539" fmla="*/ 433921 h 638175"/>
                <a:gd name="connsiteX540" fmla="*/ 905973 w 914400"/>
                <a:gd name="connsiteY540" fmla="*/ 426539 h 638175"/>
                <a:gd name="connsiteX541" fmla="*/ 905973 w 914400"/>
                <a:gd name="connsiteY541" fmla="*/ 422844 h 638175"/>
                <a:gd name="connsiteX542" fmla="*/ 894905 w 914400"/>
                <a:gd name="connsiteY542" fmla="*/ 419158 h 638175"/>
                <a:gd name="connsiteX543" fmla="*/ 898591 w 914400"/>
                <a:gd name="connsiteY543" fmla="*/ 419158 h 638175"/>
                <a:gd name="connsiteX544" fmla="*/ 876455 w 914400"/>
                <a:gd name="connsiteY544" fmla="*/ 404394 h 638175"/>
                <a:gd name="connsiteX545" fmla="*/ 872769 w 914400"/>
                <a:gd name="connsiteY545" fmla="*/ 400698 h 638175"/>
                <a:gd name="connsiteX546" fmla="*/ 869082 w 914400"/>
                <a:gd name="connsiteY546" fmla="*/ 393316 h 638175"/>
                <a:gd name="connsiteX547" fmla="*/ 850632 w 914400"/>
                <a:gd name="connsiteY547" fmla="*/ 385944 h 638175"/>
                <a:gd name="connsiteX548" fmla="*/ 835878 w 914400"/>
                <a:gd name="connsiteY548" fmla="*/ 385944 h 638175"/>
                <a:gd name="connsiteX549" fmla="*/ 835878 w 914400"/>
                <a:gd name="connsiteY549" fmla="*/ 382248 h 638175"/>
                <a:gd name="connsiteX550" fmla="*/ 835878 w 914400"/>
                <a:gd name="connsiteY550" fmla="*/ 374866 h 638175"/>
                <a:gd name="connsiteX551" fmla="*/ 835878 w 914400"/>
                <a:gd name="connsiteY551" fmla="*/ 371180 h 638175"/>
                <a:gd name="connsiteX552" fmla="*/ 839564 w 914400"/>
                <a:gd name="connsiteY552" fmla="*/ 367484 h 638175"/>
                <a:gd name="connsiteX553" fmla="*/ 839564 w 914400"/>
                <a:gd name="connsiteY553" fmla="*/ 363798 h 638175"/>
                <a:gd name="connsiteX554" fmla="*/ 839564 w 914400"/>
                <a:gd name="connsiteY554" fmla="*/ 360103 h 638175"/>
                <a:gd name="connsiteX555" fmla="*/ 850632 w 914400"/>
                <a:gd name="connsiteY555" fmla="*/ 360103 h 638175"/>
                <a:gd name="connsiteX556" fmla="*/ 858014 w 914400"/>
                <a:gd name="connsiteY556" fmla="*/ 356416 h 638175"/>
                <a:gd name="connsiteX557" fmla="*/ 865396 w 914400"/>
                <a:gd name="connsiteY557" fmla="*/ 352721 h 638175"/>
                <a:gd name="connsiteX558" fmla="*/ 865396 w 914400"/>
                <a:gd name="connsiteY558" fmla="*/ 349035 h 638175"/>
                <a:gd name="connsiteX559" fmla="*/ 865396 w 914400"/>
                <a:gd name="connsiteY559" fmla="*/ 345339 h 638175"/>
                <a:gd name="connsiteX560" fmla="*/ 865396 w 914400"/>
                <a:gd name="connsiteY560" fmla="*/ 341653 h 638175"/>
                <a:gd name="connsiteX561" fmla="*/ 869082 w 914400"/>
                <a:gd name="connsiteY561" fmla="*/ 341653 h 638175"/>
                <a:gd name="connsiteX562" fmla="*/ 869082 w 914400"/>
                <a:gd name="connsiteY562" fmla="*/ 337966 h 638175"/>
                <a:gd name="connsiteX563" fmla="*/ 872769 w 914400"/>
                <a:gd name="connsiteY563" fmla="*/ 323203 h 638175"/>
                <a:gd name="connsiteX564" fmla="*/ 850632 w 914400"/>
                <a:gd name="connsiteY564" fmla="*/ 323203 h 638175"/>
                <a:gd name="connsiteX565" fmla="*/ 846946 w 914400"/>
                <a:gd name="connsiteY565" fmla="*/ 323203 h 638175"/>
                <a:gd name="connsiteX566" fmla="*/ 839564 w 914400"/>
                <a:gd name="connsiteY566" fmla="*/ 319507 h 638175"/>
                <a:gd name="connsiteX567" fmla="*/ 832192 w 914400"/>
                <a:gd name="connsiteY567" fmla="*/ 315821 h 638175"/>
                <a:gd name="connsiteX568" fmla="*/ 828496 w 914400"/>
                <a:gd name="connsiteY568" fmla="*/ 315821 h 638175"/>
                <a:gd name="connsiteX569" fmla="*/ 821124 w 914400"/>
                <a:gd name="connsiteY569" fmla="*/ 315821 h 638175"/>
                <a:gd name="connsiteX570" fmla="*/ 828496 w 914400"/>
                <a:gd name="connsiteY570" fmla="*/ 304743 h 638175"/>
                <a:gd name="connsiteX571" fmla="*/ 828496 w 914400"/>
                <a:gd name="connsiteY571" fmla="*/ 293675 h 638175"/>
                <a:gd name="connsiteX572" fmla="*/ 828496 w 914400"/>
                <a:gd name="connsiteY572" fmla="*/ 289989 h 638175"/>
                <a:gd name="connsiteX573" fmla="*/ 828496 w 914400"/>
                <a:gd name="connsiteY573" fmla="*/ 286293 h 638175"/>
                <a:gd name="connsiteX574" fmla="*/ 817428 w 914400"/>
                <a:gd name="connsiteY574" fmla="*/ 278911 h 638175"/>
                <a:gd name="connsiteX575" fmla="*/ 813742 w 914400"/>
                <a:gd name="connsiteY575" fmla="*/ 278911 h 638175"/>
                <a:gd name="connsiteX576" fmla="*/ 810056 w 914400"/>
                <a:gd name="connsiteY576" fmla="*/ 286293 h 638175"/>
                <a:gd name="connsiteX577" fmla="*/ 810056 w 914400"/>
                <a:gd name="connsiteY577" fmla="*/ 282607 h 638175"/>
                <a:gd name="connsiteX578" fmla="*/ 806360 w 914400"/>
                <a:gd name="connsiteY578" fmla="*/ 278911 h 638175"/>
                <a:gd name="connsiteX579" fmla="*/ 802674 w 914400"/>
                <a:gd name="connsiteY579" fmla="*/ 282607 h 638175"/>
                <a:gd name="connsiteX580" fmla="*/ 798988 w 914400"/>
                <a:gd name="connsiteY580" fmla="*/ 286293 h 638175"/>
                <a:gd name="connsiteX581" fmla="*/ 798988 w 914400"/>
                <a:gd name="connsiteY581" fmla="*/ 289989 h 638175"/>
                <a:gd name="connsiteX582" fmla="*/ 795302 w 914400"/>
                <a:gd name="connsiteY582" fmla="*/ 286293 h 638175"/>
                <a:gd name="connsiteX583" fmla="*/ 791606 w 914400"/>
                <a:gd name="connsiteY583" fmla="*/ 282607 h 638175"/>
                <a:gd name="connsiteX584" fmla="*/ 795302 w 914400"/>
                <a:gd name="connsiteY584" fmla="*/ 278911 h 638175"/>
                <a:gd name="connsiteX585" fmla="*/ 787920 w 914400"/>
                <a:gd name="connsiteY585" fmla="*/ 275225 h 638175"/>
                <a:gd name="connsiteX586" fmla="*/ 784234 w 914400"/>
                <a:gd name="connsiteY586" fmla="*/ 275225 h 638175"/>
                <a:gd name="connsiteX587" fmla="*/ 769470 w 914400"/>
                <a:gd name="connsiteY587" fmla="*/ 278911 h 638175"/>
                <a:gd name="connsiteX588" fmla="*/ 751029 w 914400"/>
                <a:gd name="connsiteY588" fmla="*/ 275225 h 638175"/>
                <a:gd name="connsiteX589" fmla="*/ 747334 w 914400"/>
                <a:gd name="connsiteY589" fmla="*/ 275225 h 638175"/>
                <a:gd name="connsiteX590" fmla="*/ 739961 w 914400"/>
                <a:gd name="connsiteY590" fmla="*/ 278911 h 638175"/>
                <a:gd name="connsiteX591" fmla="*/ 736266 w 914400"/>
                <a:gd name="connsiteY591" fmla="*/ 275225 h 638175"/>
                <a:gd name="connsiteX592" fmla="*/ 732580 w 914400"/>
                <a:gd name="connsiteY592" fmla="*/ 275225 h 638175"/>
                <a:gd name="connsiteX593" fmla="*/ 732580 w 914400"/>
                <a:gd name="connsiteY593" fmla="*/ 271530 h 638175"/>
                <a:gd name="connsiteX594" fmla="*/ 728893 w 914400"/>
                <a:gd name="connsiteY594" fmla="*/ 267843 h 638175"/>
                <a:gd name="connsiteX595" fmla="*/ 728893 w 914400"/>
                <a:gd name="connsiteY595" fmla="*/ 260461 h 638175"/>
                <a:gd name="connsiteX596" fmla="*/ 721512 w 914400"/>
                <a:gd name="connsiteY596" fmla="*/ 260461 h 638175"/>
                <a:gd name="connsiteX597" fmla="*/ 721512 w 914400"/>
                <a:gd name="connsiteY597" fmla="*/ 256766 h 638175"/>
                <a:gd name="connsiteX598" fmla="*/ 717825 w 914400"/>
                <a:gd name="connsiteY598" fmla="*/ 256766 h 638175"/>
                <a:gd name="connsiteX599" fmla="*/ 717825 w 914400"/>
                <a:gd name="connsiteY599" fmla="*/ 249384 h 638175"/>
                <a:gd name="connsiteX600" fmla="*/ 706757 w 914400"/>
                <a:gd name="connsiteY600" fmla="*/ 242012 h 638175"/>
                <a:gd name="connsiteX601" fmla="*/ 703071 w 914400"/>
                <a:gd name="connsiteY601" fmla="*/ 234630 h 638175"/>
                <a:gd name="connsiteX602" fmla="*/ 703071 w 914400"/>
                <a:gd name="connsiteY602" fmla="*/ 230934 h 638175"/>
                <a:gd name="connsiteX603" fmla="*/ 703071 w 914400"/>
                <a:gd name="connsiteY603" fmla="*/ 227248 h 638175"/>
                <a:gd name="connsiteX604" fmla="*/ 699375 w 914400"/>
                <a:gd name="connsiteY604" fmla="*/ 227248 h 638175"/>
                <a:gd name="connsiteX605" fmla="*/ 692003 w 914400"/>
                <a:gd name="connsiteY605" fmla="*/ 227248 h 638175"/>
                <a:gd name="connsiteX606" fmla="*/ 688307 w 914400"/>
                <a:gd name="connsiteY606" fmla="*/ 227248 h 638175"/>
                <a:gd name="connsiteX607" fmla="*/ 684621 w 914400"/>
                <a:gd name="connsiteY607" fmla="*/ 227248 h 638175"/>
                <a:gd name="connsiteX608" fmla="*/ 684621 w 914400"/>
                <a:gd name="connsiteY608" fmla="*/ 223552 h 638175"/>
                <a:gd name="connsiteX609" fmla="*/ 680935 w 914400"/>
                <a:gd name="connsiteY609" fmla="*/ 227248 h 638175"/>
                <a:gd name="connsiteX610" fmla="*/ 677239 w 914400"/>
                <a:gd name="connsiteY610" fmla="*/ 227248 h 638175"/>
                <a:gd name="connsiteX611" fmla="*/ 669867 w 914400"/>
                <a:gd name="connsiteY611" fmla="*/ 227248 h 638175"/>
                <a:gd name="connsiteX612" fmla="*/ 666171 w 914400"/>
                <a:gd name="connsiteY612" fmla="*/ 230934 h 638175"/>
                <a:gd name="connsiteX613" fmla="*/ 662485 w 914400"/>
                <a:gd name="connsiteY613" fmla="*/ 230934 h 638175"/>
                <a:gd name="connsiteX614" fmla="*/ 662485 w 914400"/>
                <a:gd name="connsiteY614" fmla="*/ 238316 h 638175"/>
                <a:gd name="connsiteX615" fmla="*/ 655113 w 914400"/>
                <a:gd name="connsiteY615" fmla="*/ 238316 h 638175"/>
                <a:gd name="connsiteX616" fmla="*/ 655113 w 914400"/>
                <a:gd name="connsiteY616" fmla="*/ 242012 h 638175"/>
                <a:gd name="connsiteX617" fmla="*/ 644045 w 914400"/>
                <a:gd name="connsiteY617" fmla="*/ 242012 h 638175"/>
                <a:gd name="connsiteX618" fmla="*/ 644045 w 914400"/>
                <a:gd name="connsiteY618" fmla="*/ 238316 h 638175"/>
                <a:gd name="connsiteX619" fmla="*/ 640349 w 914400"/>
                <a:gd name="connsiteY619" fmla="*/ 238316 h 638175"/>
                <a:gd name="connsiteX620" fmla="*/ 636663 w 914400"/>
                <a:gd name="connsiteY620" fmla="*/ 238316 h 638175"/>
                <a:gd name="connsiteX621" fmla="*/ 632977 w 914400"/>
                <a:gd name="connsiteY621" fmla="*/ 238316 h 638175"/>
                <a:gd name="connsiteX622" fmla="*/ 629281 w 914400"/>
                <a:gd name="connsiteY622" fmla="*/ 242012 h 638175"/>
                <a:gd name="connsiteX623" fmla="*/ 625595 w 914400"/>
                <a:gd name="connsiteY623" fmla="*/ 238316 h 638175"/>
                <a:gd name="connsiteX624" fmla="*/ 621909 w 914400"/>
                <a:gd name="connsiteY624" fmla="*/ 238316 h 638175"/>
                <a:gd name="connsiteX625" fmla="*/ 614527 w 914400"/>
                <a:gd name="connsiteY625" fmla="*/ 238316 h 638175"/>
                <a:gd name="connsiteX626" fmla="*/ 610840 w 914400"/>
                <a:gd name="connsiteY626" fmla="*/ 238316 h 638175"/>
                <a:gd name="connsiteX627" fmla="*/ 607145 w 914400"/>
                <a:gd name="connsiteY627" fmla="*/ 238316 h 638175"/>
                <a:gd name="connsiteX628" fmla="*/ 603459 w 914400"/>
                <a:gd name="connsiteY628" fmla="*/ 238316 h 638175"/>
                <a:gd name="connsiteX629" fmla="*/ 603459 w 914400"/>
                <a:gd name="connsiteY629" fmla="*/ 242012 h 638175"/>
                <a:gd name="connsiteX630" fmla="*/ 599772 w 914400"/>
                <a:gd name="connsiteY630" fmla="*/ 238316 h 638175"/>
                <a:gd name="connsiteX631" fmla="*/ 596077 w 914400"/>
                <a:gd name="connsiteY631" fmla="*/ 238316 h 638175"/>
                <a:gd name="connsiteX632" fmla="*/ 588704 w 914400"/>
                <a:gd name="connsiteY632" fmla="*/ 238316 h 638175"/>
                <a:gd name="connsiteX633" fmla="*/ 588704 w 914400"/>
                <a:gd name="connsiteY633" fmla="*/ 234630 h 638175"/>
                <a:gd name="connsiteX634" fmla="*/ 585009 w 914400"/>
                <a:gd name="connsiteY634" fmla="*/ 234630 h 638175"/>
                <a:gd name="connsiteX635" fmla="*/ 577636 w 914400"/>
                <a:gd name="connsiteY635" fmla="*/ 238316 h 638175"/>
                <a:gd name="connsiteX636" fmla="*/ 577636 w 914400"/>
                <a:gd name="connsiteY636" fmla="*/ 242012 h 638175"/>
                <a:gd name="connsiteX637" fmla="*/ 581323 w 914400"/>
                <a:gd name="connsiteY637" fmla="*/ 245698 h 638175"/>
                <a:gd name="connsiteX638" fmla="*/ 577636 w 914400"/>
                <a:gd name="connsiteY638" fmla="*/ 249384 h 638175"/>
                <a:gd name="connsiteX639" fmla="*/ 577636 w 914400"/>
                <a:gd name="connsiteY639" fmla="*/ 245698 h 638175"/>
                <a:gd name="connsiteX640" fmla="*/ 577636 w 914400"/>
                <a:gd name="connsiteY640" fmla="*/ 242012 h 638175"/>
                <a:gd name="connsiteX641" fmla="*/ 573950 w 914400"/>
                <a:gd name="connsiteY641" fmla="*/ 242012 h 638175"/>
                <a:gd name="connsiteX642" fmla="*/ 570254 w 914400"/>
                <a:gd name="connsiteY642" fmla="*/ 242012 h 638175"/>
                <a:gd name="connsiteX643" fmla="*/ 566568 w 914400"/>
                <a:gd name="connsiteY643" fmla="*/ 234630 h 638175"/>
                <a:gd name="connsiteX644" fmla="*/ 566568 w 914400"/>
                <a:gd name="connsiteY644" fmla="*/ 230934 h 638175"/>
                <a:gd name="connsiteX645" fmla="*/ 570254 w 914400"/>
                <a:gd name="connsiteY645" fmla="*/ 227248 h 638175"/>
                <a:gd name="connsiteX646" fmla="*/ 573950 w 914400"/>
                <a:gd name="connsiteY646" fmla="*/ 227248 h 638175"/>
                <a:gd name="connsiteX647" fmla="*/ 573950 w 914400"/>
                <a:gd name="connsiteY647" fmla="*/ 223552 h 638175"/>
                <a:gd name="connsiteX648" fmla="*/ 570254 w 914400"/>
                <a:gd name="connsiteY648" fmla="*/ 223552 h 638175"/>
                <a:gd name="connsiteX649" fmla="*/ 566568 w 914400"/>
                <a:gd name="connsiteY649" fmla="*/ 223552 h 638175"/>
                <a:gd name="connsiteX650" fmla="*/ 562882 w 914400"/>
                <a:gd name="connsiteY650" fmla="*/ 223552 h 638175"/>
                <a:gd name="connsiteX651" fmla="*/ 559186 w 914400"/>
                <a:gd name="connsiteY651" fmla="*/ 219866 h 638175"/>
                <a:gd name="connsiteX652" fmla="*/ 559186 w 914400"/>
                <a:gd name="connsiteY652" fmla="*/ 216170 h 638175"/>
                <a:gd name="connsiteX653" fmla="*/ 559186 w 914400"/>
                <a:gd name="connsiteY653" fmla="*/ 212484 h 638175"/>
                <a:gd name="connsiteX654" fmla="*/ 559186 w 914400"/>
                <a:gd name="connsiteY654" fmla="*/ 208788 h 638175"/>
                <a:gd name="connsiteX655" fmla="*/ 555500 w 914400"/>
                <a:gd name="connsiteY655" fmla="*/ 205102 h 638175"/>
                <a:gd name="connsiteX656" fmla="*/ 551814 w 914400"/>
                <a:gd name="connsiteY656" fmla="*/ 201407 h 638175"/>
                <a:gd name="connsiteX657" fmla="*/ 551814 w 914400"/>
                <a:gd name="connsiteY657" fmla="*/ 190338 h 638175"/>
                <a:gd name="connsiteX658" fmla="*/ 548118 w 914400"/>
                <a:gd name="connsiteY658" fmla="*/ 190338 h 638175"/>
                <a:gd name="connsiteX659" fmla="*/ 548118 w 914400"/>
                <a:gd name="connsiteY659" fmla="*/ 186652 h 638175"/>
                <a:gd name="connsiteX660" fmla="*/ 548118 w 914400"/>
                <a:gd name="connsiteY660" fmla="*/ 182957 h 638175"/>
                <a:gd name="connsiteX661" fmla="*/ 544432 w 914400"/>
                <a:gd name="connsiteY661" fmla="*/ 182957 h 638175"/>
                <a:gd name="connsiteX662" fmla="*/ 540746 w 914400"/>
                <a:gd name="connsiteY662" fmla="*/ 182957 h 638175"/>
                <a:gd name="connsiteX663" fmla="*/ 537050 w 914400"/>
                <a:gd name="connsiteY663" fmla="*/ 182957 h 638175"/>
                <a:gd name="connsiteX664" fmla="*/ 537050 w 914400"/>
                <a:gd name="connsiteY664" fmla="*/ 171889 h 638175"/>
                <a:gd name="connsiteX665" fmla="*/ 537050 w 914400"/>
                <a:gd name="connsiteY665" fmla="*/ 168193 h 638175"/>
                <a:gd name="connsiteX666" fmla="*/ 533364 w 914400"/>
                <a:gd name="connsiteY666" fmla="*/ 168193 h 638175"/>
                <a:gd name="connsiteX667" fmla="*/ 529678 w 914400"/>
                <a:gd name="connsiteY667" fmla="*/ 168193 h 638175"/>
                <a:gd name="connsiteX668" fmla="*/ 529678 w 914400"/>
                <a:gd name="connsiteY668" fmla="*/ 164507 h 638175"/>
                <a:gd name="connsiteX669" fmla="*/ 533364 w 914400"/>
                <a:gd name="connsiteY669" fmla="*/ 164507 h 638175"/>
                <a:gd name="connsiteX670" fmla="*/ 533364 w 914400"/>
                <a:gd name="connsiteY670" fmla="*/ 157125 h 638175"/>
                <a:gd name="connsiteX671" fmla="*/ 533364 w 914400"/>
                <a:gd name="connsiteY671" fmla="*/ 149743 h 638175"/>
                <a:gd name="connsiteX672" fmla="*/ 533364 w 914400"/>
                <a:gd name="connsiteY672" fmla="*/ 142361 h 638175"/>
                <a:gd name="connsiteX673" fmla="*/ 537050 w 914400"/>
                <a:gd name="connsiteY673" fmla="*/ 142361 h 638175"/>
                <a:gd name="connsiteX674" fmla="*/ 540746 w 914400"/>
                <a:gd name="connsiteY674" fmla="*/ 138675 h 638175"/>
                <a:gd name="connsiteX675" fmla="*/ 544432 w 914400"/>
                <a:gd name="connsiteY675" fmla="*/ 138675 h 638175"/>
                <a:gd name="connsiteX676" fmla="*/ 540746 w 914400"/>
                <a:gd name="connsiteY676" fmla="*/ 134979 h 638175"/>
                <a:gd name="connsiteX677" fmla="*/ 537050 w 914400"/>
                <a:gd name="connsiteY677" fmla="*/ 134979 h 638175"/>
                <a:gd name="connsiteX678" fmla="*/ 533364 w 914400"/>
                <a:gd name="connsiteY678" fmla="*/ 131293 h 638175"/>
                <a:gd name="connsiteX679" fmla="*/ 533364 w 914400"/>
                <a:gd name="connsiteY679" fmla="*/ 127597 h 638175"/>
                <a:gd name="connsiteX680" fmla="*/ 537050 w 914400"/>
                <a:gd name="connsiteY680" fmla="*/ 127597 h 638175"/>
                <a:gd name="connsiteX681" fmla="*/ 537050 w 914400"/>
                <a:gd name="connsiteY681" fmla="*/ 123909 h 638175"/>
                <a:gd name="connsiteX682" fmla="*/ 544432 w 914400"/>
                <a:gd name="connsiteY682" fmla="*/ 123909 h 638175"/>
                <a:gd name="connsiteX683" fmla="*/ 551814 w 914400"/>
                <a:gd name="connsiteY683" fmla="*/ 120218 h 638175"/>
                <a:gd name="connsiteX684" fmla="*/ 555500 w 914400"/>
                <a:gd name="connsiteY684" fmla="*/ 120218 h 638175"/>
                <a:gd name="connsiteX685" fmla="*/ 555500 w 914400"/>
                <a:gd name="connsiteY685" fmla="*/ 116528 h 638175"/>
                <a:gd name="connsiteX686" fmla="*/ 559186 w 914400"/>
                <a:gd name="connsiteY686" fmla="*/ 116528 h 638175"/>
                <a:gd name="connsiteX687" fmla="*/ 559186 w 914400"/>
                <a:gd name="connsiteY687" fmla="*/ 109147 h 638175"/>
                <a:gd name="connsiteX688" fmla="*/ 559186 w 914400"/>
                <a:gd name="connsiteY688" fmla="*/ 105456 h 638175"/>
                <a:gd name="connsiteX689" fmla="*/ 559186 w 914400"/>
                <a:gd name="connsiteY689" fmla="*/ 101766 h 638175"/>
                <a:gd name="connsiteX690" fmla="*/ 555500 w 914400"/>
                <a:gd name="connsiteY690" fmla="*/ 101766 h 638175"/>
                <a:gd name="connsiteX691" fmla="*/ 551814 w 914400"/>
                <a:gd name="connsiteY691" fmla="*/ 98075 h 638175"/>
                <a:gd name="connsiteX692" fmla="*/ 551814 w 914400"/>
                <a:gd name="connsiteY692" fmla="*/ 90695 h 638175"/>
                <a:gd name="connsiteX693" fmla="*/ 551814 w 914400"/>
                <a:gd name="connsiteY693" fmla="*/ 87004 h 638175"/>
                <a:gd name="connsiteX694" fmla="*/ 555500 w 914400"/>
                <a:gd name="connsiteY694" fmla="*/ 83313 h 638175"/>
                <a:gd name="connsiteX695" fmla="*/ 555500 w 914400"/>
                <a:gd name="connsiteY695" fmla="*/ 75932 h 638175"/>
                <a:gd name="connsiteX696" fmla="*/ 551814 w 914400"/>
                <a:gd name="connsiteY696" fmla="*/ 72242 h 638175"/>
                <a:gd name="connsiteX697" fmla="*/ 548118 w 914400"/>
                <a:gd name="connsiteY697" fmla="*/ 68551 h 638175"/>
                <a:gd name="connsiteX698" fmla="*/ 548118 w 914400"/>
                <a:gd name="connsiteY698" fmla="*/ 61170 h 638175"/>
                <a:gd name="connsiteX699" fmla="*/ 544432 w 914400"/>
                <a:gd name="connsiteY699" fmla="*/ 50098 h 638175"/>
                <a:gd name="connsiteX700" fmla="*/ 544432 w 914400"/>
                <a:gd name="connsiteY700" fmla="*/ 46407 h 638175"/>
                <a:gd name="connsiteX701" fmla="*/ 540746 w 914400"/>
                <a:gd name="connsiteY701" fmla="*/ 42717 h 638175"/>
                <a:gd name="connsiteX702" fmla="*/ 529678 w 914400"/>
                <a:gd name="connsiteY702" fmla="*/ 39026 h 638175"/>
                <a:gd name="connsiteX703" fmla="*/ 525982 w 914400"/>
                <a:gd name="connsiteY703" fmla="*/ 35335 h 638175"/>
                <a:gd name="connsiteX704" fmla="*/ 525982 w 914400"/>
                <a:gd name="connsiteY704" fmla="*/ 31645 h 638175"/>
                <a:gd name="connsiteX705" fmla="*/ 525982 w 914400"/>
                <a:gd name="connsiteY705" fmla="*/ 27954 h 638175"/>
                <a:gd name="connsiteX706" fmla="*/ 522296 w 914400"/>
                <a:gd name="connsiteY706" fmla="*/ 24264 h 638175"/>
                <a:gd name="connsiteX707" fmla="*/ 518610 w 914400"/>
                <a:gd name="connsiteY707" fmla="*/ 20573 h 638175"/>
                <a:gd name="connsiteX708" fmla="*/ 514924 w 914400"/>
                <a:gd name="connsiteY708" fmla="*/ 20573 h 638175"/>
                <a:gd name="connsiteX709" fmla="*/ 511228 w 914400"/>
                <a:gd name="connsiteY709" fmla="*/ 16882 h 638175"/>
                <a:gd name="connsiteX710" fmla="*/ 507542 w 914400"/>
                <a:gd name="connsiteY710" fmla="*/ 20573 h 638175"/>
                <a:gd name="connsiteX711" fmla="*/ 503856 w 914400"/>
                <a:gd name="connsiteY711" fmla="*/ 20573 h 638175"/>
                <a:gd name="connsiteX712" fmla="*/ 500160 w 914400"/>
                <a:gd name="connsiteY712" fmla="*/ 20573 h 638175"/>
                <a:gd name="connsiteX713" fmla="*/ 496474 w 914400"/>
                <a:gd name="connsiteY713" fmla="*/ 24264 h 638175"/>
                <a:gd name="connsiteX714" fmla="*/ 489092 w 914400"/>
                <a:gd name="connsiteY714" fmla="*/ 31645 h 638175"/>
                <a:gd name="connsiteX715" fmla="*/ 481720 w 914400"/>
                <a:gd name="connsiteY715" fmla="*/ 39026 h 638175"/>
                <a:gd name="connsiteX716" fmla="*/ 478024 w 914400"/>
                <a:gd name="connsiteY716" fmla="*/ 42717 h 638175"/>
                <a:gd name="connsiteX717" fmla="*/ 474338 w 914400"/>
                <a:gd name="connsiteY717" fmla="*/ 39026 h 638175"/>
                <a:gd name="connsiteX718" fmla="*/ 474338 w 914400"/>
                <a:gd name="connsiteY718" fmla="*/ 35335 h 638175"/>
                <a:gd name="connsiteX719" fmla="*/ 470652 w 914400"/>
                <a:gd name="connsiteY719" fmla="*/ 39026 h 638175"/>
                <a:gd name="connsiteX720" fmla="*/ 466956 w 914400"/>
                <a:gd name="connsiteY720" fmla="*/ 42717 h 638175"/>
                <a:gd name="connsiteX721" fmla="*/ 459583 w 914400"/>
                <a:gd name="connsiteY721" fmla="*/ 46407 h 638175"/>
                <a:gd name="connsiteX722" fmla="*/ 459583 w 914400"/>
                <a:gd name="connsiteY722" fmla="*/ 39026 h 638175"/>
                <a:gd name="connsiteX723" fmla="*/ 452202 w 914400"/>
                <a:gd name="connsiteY723" fmla="*/ 27954 h 638175"/>
                <a:gd name="connsiteX724" fmla="*/ 448516 w 914400"/>
                <a:gd name="connsiteY724" fmla="*/ 20573 h 638175"/>
                <a:gd name="connsiteX725" fmla="*/ 441134 w 914400"/>
                <a:gd name="connsiteY725" fmla="*/ 9502 h 638175"/>
                <a:gd name="connsiteX726" fmla="*/ 437447 w 914400"/>
                <a:gd name="connsiteY726" fmla="*/ 5812 h 638175"/>
                <a:gd name="connsiteX727" fmla="*/ 315699 w 914400"/>
                <a:gd name="connsiteY727" fmla="*/ 138675 h 638175"/>
                <a:gd name="connsiteX728" fmla="*/ 308326 w 914400"/>
                <a:gd name="connsiteY728" fmla="*/ 134979 h 638175"/>
                <a:gd name="connsiteX729" fmla="*/ 312013 w 914400"/>
                <a:gd name="connsiteY729" fmla="*/ 138675 h 638175"/>
                <a:gd name="connsiteX730" fmla="*/ 315699 w 914400"/>
                <a:gd name="connsiteY730" fmla="*/ 138675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Lst>
              <a:rect l="l" t="t" r="r" b="b"/>
              <a:pathLst>
                <a:path w="914400" h="638175">
                  <a:moveTo>
                    <a:pt x="437447" y="5812"/>
                  </a:moveTo>
                  <a:lnTo>
                    <a:pt x="430065" y="9502"/>
                  </a:lnTo>
                  <a:lnTo>
                    <a:pt x="430065" y="13193"/>
                  </a:lnTo>
                  <a:lnTo>
                    <a:pt x="426379" y="24264"/>
                  </a:lnTo>
                  <a:lnTo>
                    <a:pt x="422693" y="31645"/>
                  </a:lnTo>
                  <a:lnTo>
                    <a:pt x="422693" y="35335"/>
                  </a:lnTo>
                  <a:lnTo>
                    <a:pt x="422693" y="39026"/>
                  </a:lnTo>
                  <a:lnTo>
                    <a:pt x="418998" y="46407"/>
                  </a:lnTo>
                  <a:lnTo>
                    <a:pt x="418998" y="50098"/>
                  </a:lnTo>
                  <a:lnTo>
                    <a:pt x="418998" y="53789"/>
                  </a:lnTo>
                  <a:lnTo>
                    <a:pt x="415311" y="50098"/>
                  </a:lnTo>
                  <a:lnTo>
                    <a:pt x="415311" y="57479"/>
                  </a:lnTo>
                  <a:lnTo>
                    <a:pt x="411625" y="57479"/>
                  </a:lnTo>
                  <a:lnTo>
                    <a:pt x="411625" y="53789"/>
                  </a:lnTo>
                  <a:lnTo>
                    <a:pt x="411625" y="50098"/>
                  </a:lnTo>
                  <a:lnTo>
                    <a:pt x="407929" y="57479"/>
                  </a:lnTo>
                  <a:lnTo>
                    <a:pt x="407929" y="61170"/>
                  </a:lnTo>
                  <a:lnTo>
                    <a:pt x="411625" y="61170"/>
                  </a:lnTo>
                  <a:lnTo>
                    <a:pt x="411625" y="64860"/>
                  </a:lnTo>
                  <a:lnTo>
                    <a:pt x="407929" y="64860"/>
                  </a:lnTo>
                  <a:lnTo>
                    <a:pt x="411625" y="68551"/>
                  </a:lnTo>
                  <a:lnTo>
                    <a:pt x="407929" y="72242"/>
                  </a:lnTo>
                  <a:lnTo>
                    <a:pt x="404243" y="75932"/>
                  </a:lnTo>
                  <a:lnTo>
                    <a:pt x="393175" y="87004"/>
                  </a:lnTo>
                  <a:lnTo>
                    <a:pt x="385793" y="94385"/>
                  </a:lnTo>
                  <a:lnTo>
                    <a:pt x="378421" y="98075"/>
                  </a:lnTo>
                  <a:lnTo>
                    <a:pt x="378421" y="101766"/>
                  </a:lnTo>
                  <a:lnTo>
                    <a:pt x="374725" y="101766"/>
                  </a:lnTo>
                  <a:lnTo>
                    <a:pt x="371039" y="105456"/>
                  </a:lnTo>
                  <a:lnTo>
                    <a:pt x="367353" y="105456"/>
                  </a:lnTo>
                  <a:lnTo>
                    <a:pt x="363667" y="109147"/>
                  </a:lnTo>
                  <a:lnTo>
                    <a:pt x="363667" y="112837"/>
                  </a:lnTo>
                  <a:lnTo>
                    <a:pt x="359971" y="112837"/>
                  </a:lnTo>
                  <a:lnTo>
                    <a:pt x="359971" y="116528"/>
                  </a:lnTo>
                  <a:lnTo>
                    <a:pt x="356285" y="116528"/>
                  </a:lnTo>
                  <a:lnTo>
                    <a:pt x="352599" y="116528"/>
                  </a:lnTo>
                  <a:lnTo>
                    <a:pt x="345217" y="120218"/>
                  </a:lnTo>
                  <a:lnTo>
                    <a:pt x="341531" y="123909"/>
                  </a:lnTo>
                  <a:lnTo>
                    <a:pt x="337835" y="123909"/>
                  </a:lnTo>
                  <a:lnTo>
                    <a:pt x="334149" y="127597"/>
                  </a:lnTo>
                  <a:lnTo>
                    <a:pt x="326767" y="131293"/>
                  </a:lnTo>
                  <a:lnTo>
                    <a:pt x="323081" y="131293"/>
                  </a:lnTo>
                  <a:lnTo>
                    <a:pt x="319395" y="134979"/>
                  </a:lnTo>
                  <a:lnTo>
                    <a:pt x="315699" y="138675"/>
                  </a:lnTo>
                  <a:lnTo>
                    <a:pt x="315699" y="142361"/>
                  </a:lnTo>
                  <a:lnTo>
                    <a:pt x="312013" y="142361"/>
                  </a:lnTo>
                  <a:lnTo>
                    <a:pt x="308326" y="142361"/>
                  </a:lnTo>
                  <a:lnTo>
                    <a:pt x="308326" y="146057"/>
                  </a:lnTo>
                  <a:lnTo>
                    <a:pt x="308326" y="149743"/>
                  </a:lnTo>
                  <a:lnTo>
                    <a:pt x="304631" y="149743"/>
                  </a:lnTo>
                  <a:lnTo>
                    <a:pt x="304631" y="153439"/>
                  </a:lnTo>
                  <a:lnTo>
                    <a:pt x="300945" y="153439"/>
                  </a:lnTo>
                  <a:lnTo>
                    <a:pt x="300945" y="157125"/>
                  </a:lnTo>
                  <a:lnTo>
                    <a:pt x="297258" y="157125"/>
                  </a:lnTo>
                  <a:lnTo>
                    <a:pt x="297258" y="160811"/>
                  </a:lnTo>
                  <a:lnTo>
                    <a:pt x="289877" y="164507"/>
                  </a:lnTo>
                  <a:lnTo>
                    <a:pt x="286190" y="168193"/>
                  </a:lnTo>
                  <a:lnTo>
                    <a:pt x="282504" y="171889"/>
                  </a:lnTo>
                  <a:lnTo>
                    <a:pt x="282504" y="175575"/>
                  </a:lnTo>
                  <a:lnTo>
                    <a:pt x="278808" y="182957"/>
                  </a:lnTo>
                  <a:lnTo>
                    <a:pt x="278808" y="190338"/>
                  </a:lnTo>
                  <a:lnTo>
                    <a:pt x="275122" y="197720"/>
                  </a:lnTo>
                  <a:lnTo>
                    <a:pt x="275122" y="201407"/>
                  </a:lnTo>
                  <a:lnTo>
                    <a:pt x="271436" y="208788"/>
                  </a:lnTo>
                  <a:lnTo>
                    <a:pt x="267740" y="212484"/>
                  </a:lnTo>
                  <a:lnTo>
                    <a:pt x="252986" y="212484"/>
                  </a:lnTo>
                  <a:lnTo>
                    <a:pt x="249300" y="212484"/>
                  </a:lnTo>
                  <a:lnTo>
                    <a:pt x="241918" y="219866"/>
                  </a:lnTo>
                  <a:lnTo>
                    <a:pt x="238232" y="216170"/>
                  </a:lnTo>
                  <a:lnTo>
                    <a:pt x="234536" y="219866"/>
                  </a:lnTo>
                  <a:lnTo>
                    <a:pt x="223478" y="223552"/>
                  </a:lnTo>
                  <a:lnTo>
                    <a:pt x="216096" y="223552"/>
                  </a:lnTo>
                  <a:lnTo>
                    <a:pt x="212410" y="227248"/>
                  </a:lnTo>
                  <a:lnTo>
                    <a:pt x="205028" y="227248"/>
                  </a:lnTo>
                  <a:lnTo>
                    <a:pt x="201342" y="245698"/>
                  </a:lnTo>
                  <a:lnTo>
                    <a:pt x="201342" y="249384"/>
                  </a:lnTo>
                  <a:lnTo>
                    <a:pt x="208714" y="253080"/>
                  </a:lnTo>
                  <a:lnTo>
                    <a:pt x="208714" y="249384"/>
                  </a:lnTo>
                  <a:lnTo>
                    <a:pt x="223478" y="260461"/>
                  </a:lnTo>
                  <a:lnTo>
                    <a:pt x="223478" y="264148"/>
                  </a:lnTo>
                  <a:lnTo>
                    <a:pt x="223478" y="267843"/>
                  </a:lnTo>
                  <a:lnTo>
                    <a:pt x="223478" y="271530"/>
                  </a:lnTo>
                  <a:lnTo>
                    <a:pt x="223478" y="275225"/>
                  </a:lnTo>
                  <a:lnTo>
                    <a:pt x="223478" y="286293"/>
                  </a:lnTo>
                  <a:lnTo>
                    <a:pt x="227164" y="289989"/>
                  </a:lnTo>
                  <a:lnTo>
                    <a:pt x="245604" y="289989"/>
                  </a:lnTo>
                  <a:lnTo>
                    <a:pt x="245604" y="293675"/>
                  </a:lnTo>
                  <a:lnTo>
                    <a:pt x="241918" y="293675"/>
                  </a:lnTo>
                  <a:lnTo>
                    <a:pt x="245604" y="297361"/>
                  </a:lnTo>
                  <a:lnTo>
                    <a:pt x="245604" y="301057"/>
                  </a:lnTo>
                  <a:lnTo>
                    <a:pt x="245604" y="304743"/>
                  </a:lnTo>
                  <a:lnTo>
                    <a:pt x="249300" y="304743"/>
                  </a:lnTo>
                  <a:lnTo>
                    <a:pt x="252986" y="304743"/>
                  </a:lnTo>
                  <a:lnTo>
                    <a:pt x="252986" y="312125"/>
                  </a:lnTo>
                  <a:lnTo>
                    <a:pt x="260368" y="312125"/>
                  </a:lnTo>
                  <a:lnTo>
                    <a:pt x="260368" y="315821"/>
                  </a:lnTo>
                  <a:lnTo>
                    <a:pt x="260368" y="319507"/>
                  </a:lnTo>
                  <a:lnTo>
                    <a:pt x="252986" y="319507"/>
                  </a:lnTo>
                  <a:lnTo>
                    <a:pt x="252986" y="323203"/>
                  </a:lnTo>
                  <a:lnTo>
                    <a:pt x="252986" y="326889"/>
                  </a:lnTo>
                  <a:lnTo>
                    <a:pt x="256672" y="326889"/>
                  </a:lnTo>
                  <a:lnTo>
                    <a:pt x="256672" y="330585"/>
                  </a:lnTo>
                  <a:lnTo>
                    <a:pt x="252986" y="330585"/>
                  </a:lnTo>
                  <a:lnTo>
                    <a:pt x="249300" y="330585"/>
                  </a:lnTo>
                  <a:lnTo>
                    <a:pt x="249300" y="334271"/>
                  </a:lnTo>
                  <a:lnTo>
                    <a:pt x="245604" y="337966"/>
                  </a:lnTo>
                  <a:lnTo>
                    <a:pt x="245604" y="345339"/>
                  </a:lnTo>
                  <a:lnTo>
                    <a:pt x="245604" y="349035"/>
                  </a:lnTo>
                  <a:lnTo>
                    <a:pt x="241918" y="352721"/>
                  </a:lnTo>
                  <a:lnTo>
                    <a:pt x="238232" y="356416"/>
                  </a:lnTo>
                  <a:lnTo>
                    <a:pt x="234536" y="356416"/>
                  </a:lnTo>
                  <a:lnTo>
                    <a:pt x="234536" y="360103"/>
                  </a:lnTo>
                  <a:lnTo>
                    <a:pt x="238232" y="363798"/>
                  </a:lnTo>
                  <a:lnTo>
                    <a:pt x="245604" y="367484"/>
                  </a:lnTo>
                  <a:lnTo>
                    <a:pt x="249300" y="367484"/>
                  </a:lnTo>
                  <a:lnTo>
                    <a:pt x="252986" y="367484"/>
                  </a:lnTo>
                  <a:lnTo>
                    <a:pt x="256672" y="363798"/>
                  </a:lnTo>
                  <a:lnTo>
                    <a:pt x="260368" y="360103"/>
                  </a:lnTo>
                  <a:lnTo>
                    <a:pt x="264054" y="360103"/>
                  </a:lnTo>
                  <a:lnTo>
                    <a:pt x="267740" y="356416"/>
                  </a:lnTo>
                  <a:lnTo>
                    <a:pt x="267740" y="352721"/>
                  </a:lnTo>
                  <a:lnTo>
                    <a:pt x="271436" y="352721"/>
                  </a:lnTo>
                  <a:lnTo>
                    <a:pt x="271436" y="349035"/>
                  </a:lnTo>
                  <a:lnTo>
                    <a:pt x="271436" y="345339"/>
                  </a:lnTo>
                  <a:lnTo>
                    <a:pt x="267740" y="341653"/>
                  </a:lnTo>
                  <a:lnTo>
                    <a:pt x="278808" y="337966"/>
                  </a:lnTo>
                  <a:lnTo>
                    <a:pt x="282504" y="345339"/>
                  </a:lnTo>
                  <a:lnTo>
                    <a:pt x="282504" y="349035"/>
                  </a:lnTo>
                  <a:lnTo>
                    <a:pt x="282504" y="352721"/>
                  </a:lnTo>
                  <a:lnTo>
                    <a:pt x="282504" y="356416"/>
                  </a:lnTo>
                  <a:lnTo>
                    <a:pt x="286190" y="360103"/>
                  </a:lnTo>
                  <a:lnTo>
                    <a:pt x="282504" y="363798"/>
                  </a:lnTo>
                  <a:lnTo>
                    <a:pt x="282504" y="367484"/>
                  </a:lnTo>
                  <a:lnTo>
                    <a:pt x="282504" y="385944"/>
                  </a:lnTo>
                  <a:lnTo>
                    <a:pt x="289877" y="385944"/>
                  </a:lnTo>
                  <a:lnTo>
                    <a:pt x="289877" y="389630"/>
                  </a:lnTo>
                  <a:lnTo>
                    <a:pt x="286190" y="389630"/>
                  </a:lnTo>
                  <a:lnTo>
                    <a:pt x="297258" y="397012"/>
                  </a:lnTo>
                  <a:lnTo>
                    <a:pt x="297258" y="408080"/>
                  </a:lnTo>
                  <a:lnTo>
                    <a:pt x="297258" y="411776"/>
                  </a:lnTo>
                  <a:lnTo>
                    <a:pt x="297258" y="415462"/>
                  </a:lnTo>
                  <a:lnTo>
                    <a:pt x="297258" y="419158"/>
                  </a:lnTo>
                  <a:lnTo>
                    <a:pt x="300945" y="422844"/>
                  </a:lnTo>
                  <a:lnTo>
                    <a:pt x="304631" y="426539"/>
                  </a:lnTo>
                  <a:lnTo>
                    <a:pt x="308326" y="426539"/>
                  </a:lnTo>
                  <a:lnTo>
                    <a:pt x="308326" y="430226"/>
                  </a:lnTo>
                  <a:lnTo>
                    <a:pt x="312013" y="437607"/>
                  </a:lnTo>
                  <a:lnTo>
                    <a:pt x="312013" y="441294"/>
                  </a:lnTo>
                  <a:lnTo>
                    <a:pt x="315699" y="444989"/>
                  </a:lnTo>
                  <a:lnTo>
                    <a:pt x="312013" y="448676"/>
                  </a:lnTo>
                  <a:lnTo>
                    <a:pt x="315699" y="452371"/>
                  </a:lnTo>
                  <a:lnTo>
                    <a:pt x="315699" y="456057"/>
                  </a:lnTo>
                  <a:lnTo>
                    <a:pt x="315699" y="459753"/>
                  </a:lnTo>
                  <a:lnTo>
                    <a:pt x="312013" y="463439"/>
                  </a:lnTo>
                  <a:lnTo>
                    <a:pt x="304631" y="467135"/>
                  </a:lnTo>
                  <a:lnTo>
                    <a:pt x="297258" y="463439"/>
                  </a:lnTo>
                  <a:lnTo>
                    <a:pt x="286190" y="459753"/>
                  </a:lnTo>
                  <a:lnTo>
                    <a:pt x="278808" y="456057"/>
                  </a:lnTo>
                  <a:lnTo>
                    <a:pt x="275122" y="448676"/>
                  </a:lnTo>
                  <a:lnTo>
                    <a:pt x="271436" y="448676"/>
                  </a:lnTo>
                  <a:lnTo>
                    <a:pt x="267740" y="448676"/>
                  </a:lnTo>
                  <a:lnTo>
                    <a:pt x="264054" y="444989"/>
                  </a:lnTo>
                  <a:lnTo>
                    <a:pt x="260368" y="444989"/>
                  </a:lnTo>
                  <a:lnTo>
                    <a:pt x="252986" y="441294"/>
                  </a:lnTo>
                  <a:lnTo>
                    <a:pt x="249300" y="437607"/>
                  </a:lnTo>
                  <a:lnTo>
                    <a:pt x="245604" y="437607"/>
                  </a:lnTo>
                  <a:lnTo>
                    <a:pt x="241918" y="437607"/>
                  </a:lnTo>
                  <a:lnTo>
                    <a:pt x="230850" y="437607"/>
                  </a:lnTo>
                  <a:lnTo>
                    <a:pt x="227164" y="433921"/>
                  </a:lnTo>
                  <a:lnTo>
                    <a:pt x="223478" y="433921"/>
                  </a:lnTo>
                  <a:lnTo>
                    <a:pt x="219782" y="437607"/>
                  </a:lnTo>
                  <a:lnTo>
                    <a:pt x="216096" y="441294"/>
                  </a:lnTo>
                  <a:lnTo>
                    <a:pt x="212410" y="441294"/>
                  </a:lnTo>
                  <a:lnTo>
                    <a:pt x="205028" y="444989"/>
                  </a:lnTo>
                  <a:lnTo>
                    <a:pt x="201342" y="444989"/>
                  </a:lnTo>
                  <a:lnTo>
                    <a:pt x="197646" y="448676"/>
                  </a:lnTo>
                  <a:lnTo>
                    <a:pt x="193960" y="448676"/>
                  </a:lnTo>
                  <a:lnTo>
                    <a:pt x="186578" y="444989"/>
                  </a:lnTo>
                  <a:lnTo>
                    <a:pt x="182892" y="448676"/>
                  </a:lnTo>
                  <a:lnTo>
                    <a:pt x="179206" y="448676"/>
                  </a:lnTo>
                  <a:lnTo>
                    <a:pt x="175510" y="452371"/>
                  </a:lnTo>
                  <a:lnTo>
                    <a:pt x="175510" y="456057"/>
                  </a:lnTo>
                  <a:lnTo>
                    <a:pt x="171824" y="456057"/>
                  </a:lnTo>
                  <a:lnTo>
                    <a:pt x="168138" y="459753"/>
                  </a:lnTo>
                  <a:lnTo>
                    <a:pt x="164442" y="459753"/>
                  </a:lnTo>
                  <a:lnTo>
                    <a:pt x="160756" y="456057"/>
                  </a:lnTo>
                  <a:lnTo>
                    <a:pt x="157069" y="452371"/>
                  </a:lnTo>
                  <a:lnTo>
                    <a:pt x="146001" y="452371"/>
                  </a:lnTo>
                  <a:lnTo>
                    <a:pt x="142315" y="452371"/>
                  </a:lnTo>
                  <a:lnTo>
                    <a:pt x="134933" y="444989"/>
                  </a:lnTo>
                  <a:lnTo>
                    <a:pt x="127554" y="441294"/>
                  </a:lnTo>
                  <a:lnTo>
                    <a:pt x="123865" y="441294"/>
                  </a:lnTo>
                  <a:lnTo>
                    <a:pt x="120176" y="441294"/>
                  </a:lnTo>
                  <a:lnTo>
                    <a:pt x="120176" y="448676"/>
                  </a:lnTo>
                  <a:lnTo>
                    <a:pt x="116487" y="452371"/>
                  </a:lnTo>
                  <a:lnTo>
                    <a:pt x="112798" y="456057"/>
                  </a:lnTo>
                  <a:lnTo>
                    <a:pt x="109108" y="456057"/>
                  </a:lnTo>
                  <a:lnTo>
                    <a:pt x="105419" y="456057"/>
                  </a:lnTo>
                  <a:lnTo>
                    <a:pt x="101730" y="452371"/>
                  </a:lnTo>
                  <a:lnTo>
                    <a:pt x="98041" y="448676"/>
                  </a:lnTo>
                  <a:lnTo>
                    <a:pt x="94352" y="456057"/>
                  </a:lnTo>
                  <a:lnTo>
                    <a:pt x="90663" y="467135"/>
                  </a:lnTo>
                  <a:lnTo>
                    <a:pt x="83284" y="474517"/>
                  </a:lnTo>
                  <a:lnTo>
                    <a:pt x="79595" y="478203"/>
                  </a:lnTo>
                  <a:lnTo>
                    <a:pt x="83284" y="478203"/>
                  </a:lnTo>
                  <a:lnTo>
                    <a:pt x="79595" y="481899"/>
                  </a:lnTo>
                  <a:lnTo>
                    <a:pt x="75906" y="489271"/>
                  </a:lnTo>
                  <a:lnTo>
                    <a:pt x="72217" y="489271"/>
                  </a:lnTo>
                  <a:lnTo>
                    <a:pt x="72217" y="492967"/>
                  </a:lnTo>
                  <a:lnTo>
                    <a:pt x="68528" y="504035"/>
                  </a:lnTo>
                  <a:lnTo>
                    <a:pt x="64839" y="507730"/>
                  </a:lnTo>
                  <a:lnTo>
                    <a:pt x="64839" y="511417"/>
                  </a:lnTo>
                  <a:lnTo>
                    <a:pt x="61149" y="511417"/>
                  </a:lnTo>
                  <a:lnTo>
                    <a:pt x="53771" y="511417"/>
                  </a:lnTo>
                  <a:lnTo>
                    <a:pt x="50082" y="511417"/>
                  </a:lnTo>
                  <a:lnTo>
                    <a:pt x="50082" y="518799"/>
                  </a:lnTo>
                  <a:lnTo>
                    <a:pt x="46393" y="522494"/>
                  </a:lnTo>
                  <a:lnTo>
                    <a:pt x="42704" y="522494"/>
                  </a:lnTo>
                  <a:lnTo>
                    <a:pt x="39014" y="522494"/>
                  </a:lnTo>
                  <a:lnTo>
                    <a:pt x="35325" y="522494"/>
                  </a:lnTo>
                  <a:lnTo>
                    <a:pt x="35325" y="526180"/>
                  </a:lnTo>
                  <a:lnTo>
                    <a:pt x="35325" y="529876"/>
                  </a:lnTo>
                  <a:lnTo>
                    <a:pt x="39014" y="533562"/>
                  </a:lnTo>
                  <a:lnTo>
                    <a:pt x="39014" y="537248"/>
                  </a:lnTo>
                  <a:lnTo>
                    <a:pt x="35325" y="537248"/>
                  </a:lnTo>
                  <a:lnTo>
                    <a:pt x="31636" y="533562"/>
                  </a:lnTo>
                  <a:lnTo>
                    <a:pt x="20569" y="537248"/>
                  </a:lnTo>
                  <a:lnTo>
                    <a:pt x="16879" y="533562"/>
                  </a:lnTo>
                  <a:lnTo>
                    <a:pt x="9501" y="537248"/>
                  </a:lnTo>
                  <a:lnTo>
                    <a:pt x="5812" y="533562"/>
                  </a:lnTo>
                  <a:lnTo>
                    <a:pt x="5812" y="537248"/>
                  </a:lnTo>
                  <a:lnTo>
                    <a:pt x="5812" y="540944"/>
                  </a:lnTo>
                  <a:lnTo>
                    <a:pt x="9501" y="544630"/>
                  </a:lnTo>
                  <a:lnTo>
                    <a:pt x="5812" y="544630"/>
                  </a:lnTo>
                  <a:lnTo>
                    <a:pt x="9501" y="548326"/>
                  </a:lnTo>
                  <a:lnTo>
                    <a:pt x="13190" y="548326"/>
                  </a:lnTo>
                  <a:lnTo>
                    <a:pt x="16879" y="548326"/>
                  </a:lnTo>
                  <a:lnTo>
                    <a:pt x="24258" y="548326"/>
                  </a:lnTo>
                  <a:lnTo>
                    <a:pt x="20569" y="563090"/>
                  </a:lnTo>
                  <a:lnTo>
                    <a:pt x="20569" y="566776"/>
                  </a:lnTo>
                  <a:lnTo>
                    <a:pt x="13190" y="566776"/>
                  </a:lnTo>
                  <a:lnTo>
                    <a:pt x="13190" y="570472"/>
                  </a:lnTo>
                  <a:lnTo>
                    <a:pt x="13190" y="574158"/>
                  </a:lnTo>
                  <a:lnTo>
                    <a:pt x="16879" y="574158"/>
                  </a:lnTo>
                  <a:lnTo>
                    <a:pt x="20569" y="577854"/>
                  </a:lnTo>
                  <a:lnTo>
                    <a:pt x="27947" y="581540"/>
                  </a:lnTo>
                  <a:lnTo>
                    <a:pt x="31636" y="585226"/>
                  </a:lnTo>
                  <a:lnTo>
                    <a:pt x="35325" y="585226"/>
                  </a:lnTo>
                  <a:lnTo>
                    <a:pt x="35325" y="588922"/>
                  </a:lnTo>
                  <a:lnTo>
                    <a:pt x="39014" y="592608"/>
                  </a:lnTo>
                  <a:lnTo>
                    <a:pt x="39014" y="596303"/>
                  </a:lnTo>
                  <a:lnTo>
                    <a:pt x="42704" y="596303"/>
                  </a:lnTo>
                  <a:lnTo>
                    <a:pt x="42704" y="599990"/>
                  </a:lnTo>
                  <a:lnTo>
                    <a:pt x="46393" y="599990"/>
                  </a:lnTo>
                  <a:lnTo>
                    <a:pt x="50082" y="596303"/>
                  </a:lnTo>
                  <a:lnTo>
                    <a:pt x="53771" y="592608"/>
                  </a:lnTo>
                  <a:lnTo>
                    <a:pt x="57460" y="592608"/>
                  </a:lnTo>
                  <a:lnTo>
                    <a:pt x="61149" y="596303"/>
                  </a:lnTo>
                  <a:lnTo>
                    <a:pt x="64839" y="599990"/>
                  </a:lnTo>
                  <a:lnTo>
                    <a:pt x="75906" y="603685"/>
                  </a:lnTo>
                  <a:lnTo>
                    <a:pt x="75906" y="607372"/>
                  </a:lnTo>
                  <a:lnTo>
                    <a:pt x="75906" y="611067"/>
                  </a:lnTo>
                  <a:lnTo>
                    <a:pt x="75906" y="614753"/>
                  </a:lnTo>
                  <a:lnTo>
                    <a:pt x="79595" y="618449"/>
                  </a:lnTo>
                  <a:lnTo>
                    <a:pt x="75906" y="622135"/>
                  </a:lnTo>
                  <a:lnTo>
                    <a:pt x="72217" y="625831"/>
                  </a:lnTo>
                  <a:lnTo>
                    <a:pt x="68528" y="625831"/>
                  </a:lnTo>
                  <a:lnTo>
                    <a:pt x="68528" y="629517"/>
                  </a:lnTo>
                  <a:lnTo>
                    <a:pt x="72217" y="633203"/>
                  </a:lnTo>
                  <a:lnTo>
                    <a:pt x="79595" y="629517"/>
                  </a:lnTo>
                  <a:lnTo>
                    <a:pt x="86973" y="629517"/>
                  </a:lnTo>
                  <a:lnTo>
                    <a:pt x="94352" y="629517"/>
                  </a:lnTo>
                  <a:lnTo>
                    <a:pt x="98041" y="629517"/>
                  </a:lnTo>
                  <a:lnTo>
                    <a:pt x="105419" y="629517"/>
                  </a:lnTo>
                  <a:lnTo>
                    <a:pt x="109108" y="629517"/>
                  </a:lnTo>
                  <a:lnTo>
                    <a:pt x="112798" y="629517"/>
                  </a:lnTo>
                  <a:lnTo>
                    <a:pt x="116487" y="625831"/>
                  </a:lnTo>
                  <a:lnTo>
                    <a:pt x="120176" y="629517"/>
                  </a:lnTo>
                  <a:lnTo>
                    <a:pt x="127554" y="633203"/>
                  </a:lnTo>
                  <a:lnTo>
                    <a:pt x="131243" y="636899"/>
                  </a:lnTo>
                  <a:lnTo>
                    <a:pt x="134933" y="633203"/>
                  </a:lnTo>
                  <a:lnTo>
                    <a:pt x="138620" y="629517"/>
                  </a:lnTo>
                  <a:lnTo>
                    <a:pt x="146001" y="629517"/>
                  </a:lnTo>
                  <a:lnTo>
                    <a:pt x="153383" y="633203"/>
                  </a:lnTo>
                  <a:lnTo>
                    <a:pt x="157069" y="633203"/>
                  </a:lnTo>
                  <a:lnTo>
                    <a:pt x="157069" y="629517"/>
                  </a:lnTo>
                  <a:lnTo>
                    <a:pt x="164442" y="625831"/>
                  </a:lnTo>
                  <a:lnTo>
                    <a:pt x="182892" y="618449"/>
                  </a:lnTo>
                  <a:lnTo>
                    <a:pt x="182892" y="614753"/>
                  </a:lnTo>
                  <a:lnTo>
                    <a:pt x="186578" y="614753"/>
                  </a:lnTo>
                  <a:lnTo>
                    <a:pt x="186578" y="607372"/>
                  </a:lnTo>
                  <a:lnTo>
                    <a:pt x="186578" y="599990"/>
                  </a:lnTo>
                  <a:lnTo>
                    <a:pt x="190274" y="592608"/>
                  </a:lnTo>
                  <a:lnTo>
                    <a:pt x="190274" y="588922"/>
                  </a:lnTo>
                  <a:lnTo>
                    <a:pt x="197646" y="577854"/>
                  </a:lnTo>
                  <a:lnTo>
                    <a:pt x="201342" y="574158"/>
                  </a:lnTo>
                  <a:lnTo>
                    <a:pt x="205028" y="570472"/>
                  </a:lnTo>
                  <a:lnTo>
                    <a:pt x="205028" y="566776"/>
                  </a:lnTo>
                  <a:lnTo>
                    <a:pt x="208714" y="563090"/>
                  </a:lnTo>
                  <a:lnTo>
                    <a:pt x="212410" y="563090"/>
                  </a:lnTo>
                  <a:lnTo>
                    <a:pt x="212410" y="566776"/>
                  </a:lnTo>
                  <a:lnTo>
                    <a:pt x="216096" y="570472"/>
                  </a:lnTo>
                  <a:lnTo>
                    <a:pt x="219782" y="574158"/>
                  </a:lnTo>
                  <a:lnTo>
                    <a:pt x="223478" y="574158"/>
                  </a:lnTo>
                  <a:lnTo>
                    <a:pt x="230850" y="574158"/>
                  </a:lnTo>
                  <a:lnTo>
                    <a:pt x="238232" y="574158"/>
                  </a:lnTo>
                  <a:lnTo>
                    <a:pt x="241918" y="570472"/>
                  </a:lnTo>
                  <a:lnTo>
                    <a:pt x="245604" y="563090"/>
                  </a:lnTo>
                  <a:lnTo>
                    <a:pt x="245604" y="559394"/>
                  </a:lnTo>
                  <a:lnTo>
                    <a:pt x="249300" y="559394"/>
                  </a:lnTo>
                  <a:lnTo>
                    <a:pt x="252986" y="559394"/>
                  </a:lnTo>
                  <a:lnTo>
                    <a:pt x="256672" y="559394"/>
                  </a:lnTo>
                  <a:lnTo>
                    <a:pt x="260368" y="563090"/>
                  </a:lnTo>
                  <a:lnTo>
                    <a:pt x="260368" y="566776"/>
                  </a:lnTo>
                  <a:lnTo>
                    <a:pt x="264054" y="566776"/>
                  </a:lnTo>
                  <a:lnTo>
                    <a:pt x="267740" y="566776"/>
                  </a:lnTo>
                  <a:lnTo>
                    <a:pt x="271436" y="570472"/>
                  </a:lnTo>
                  <a:lnTo>
                    <a:pt x="275122" y="570472"/>
                  </a:lnTo>
                  <a:lnTo>
                    <a:pt x="278808" y="566776"/>
                  </a:lnTo>
                  <a:lnTo>
                    <a:pt x="278808" y="563090"/>
                  </a:lnTo>
                  <a:lnTo>
                    <a:pt x="282504" y="559394"/>
                  </a:lnTo>
                  <a:lnTo>
                    <a:pt x="286190" y="559394"/>
                  </a:lnTo>
                  <a:lnTo>
                    <a:pt x="293572" y="559394"/>
                  </a:lnTo>
                  <a:lnTo>
                    <a:pt x="297258" y="559394"/>
                  </a:lnTo>
                  <a:lnTo>
                    <a:pt x="300945" y="559394"/>
                  </a:lnTo>
                  <a:lnTo>
                    <a:pt x="308326" y="563090"/>
                  </a:lnTo>
                  <a:lnTo>
                    <a:pt x="312013" y="566776"/>
                  </a:lnTo>
                  <a:lnTo>
                    <a:pt x="315699" y="566776"/>
                  </a:lnTo>
                  <a:lnTo>
                    <a:pt x="323081" y="566776"/>
                  </a:lnTo>
                  <a:lnTo>
                    <a:pt x="326767" y="570472"/>
                  </a:lnTo>
                  <a:lnTo>
                    <a:pt x="326767" y="577854"/>
                  </a:lnTo>
                  <a:lnTo>
                    <a:pt x="330463" y="581540"/>
                  </a:lnTo>
                  <a:lnTo>
                    <a:pt x="334149" y="585226"/>
                  </a:lnTo>
                  <a:lnTo>
                    <a:pt x="337835" y="588922"/>
                  </a:lnTo>
                  <a:lnTo>
                    <a:pt x="341531" y="588922"/>
                  </a:lnTo>
                  <a:lnTo>
                    <a:pt x="345217" y="588922"/>
                  </a:lnTo>
                  <a:lnTo>
                    <a:pt x="348903" y="592608"/>
                  </a:lnTo>
                  <a:lnTo>
                    <a:pt x="352599" y="592608"/>
                  </a:lnTo>
                  <a:lnTo>
                    <a:pt x="352599" y="599990"/>
                  </a:lnTo>
                  <a:lnTo>
                    <a:pt x="356285" y="599990"/>
                  </a:lnTo>
                  <a:lnTo>
                    <a:pt x="359971" y="603685"/>
                  </a:lnTo>
                  <a:lnTo>
                    <a:pt x="363667" y="603685"/>
                  </a:lnTo>
                  <a:lnTo>
                    <a:pt x="367353" y="603685"/>
                  </a:lnTo>
                  <a:lnTo>
                    <a:pt x="371039" y="607372"/>
                  </a:lnTo>
                  <a:lnTo>
                    <a:pt x="374725" y="611067"/>
                  </a:lnTo>
                  <a:lnTo>
                    <a:pt x="374725" y="614753"/>
                  </a:lnTo>
                  <a:lnTo>
                    <a:pt x="378421" y="618449"/>
                  </a:lnTo>
                  <a:lnTo>
                    <a:pt x="382107" y="618449"/>
                  </a:lnTo>
                  <a:lnTo>
                    <a:pt x="385793" y="618449"/>
                  </a:lnTo>
                  <a:lnTo>
                    <a:pt x="393175" y="618449"/>
                  </a:lnTo>
                  <a:lnTo>
                    <a:pt x="396861" y="618449"/>
                  </a:lnTo>
                  <a:lnTo>
                    <a:pt x="407929" y="614753"/>
                  </a:lnTo>
                  <a:lnTo>
                    <a:pt x="411625" y="614753"/>
                  </a:lnTo>
                  <a:lnTo>
                    <a:pt x="422693" y="614753"/>
                  </a:lnTo>
                  <a:lnTo>
                    <a:pt x="430065" y="614753"/>
                  </a:lnTo>
                  <a:lnTo>
                    <a:pt x="433761" y="614753"/>
                  </a:lnTo>
                  <a:lnTo>
                    <a:pt x="437447" y="614753"/>
                  </a:lnTo>
                  <a:lnTo>
                    <a:pt x="437447" y="611067"/>
                  </a:lnTo>
                  <a:lnTo>
                    <a:pt x="437447" y="607372"/>
                  </a:lnTo>
                  <a:lnTo>
                    <a:pt x="433761" y="603685"/>
                  </a:lnTo>
                  <a:lnTo>
                    <a:pt x="437447" y="599990"/>
                  </a:lnTo>
                  <a:lnTo>
                    <a:pt x="444820" y="599990"/>
                  </a:lnTo>
                  <a:lnTo>
                    <a:pt x="448516" y="599990"/>
                  </a:lnTo>
                  <a:lnTo>
                    <a:pt x="452202" y="603685"/>
                  </a:lnTo>
                  <a:lnTo>
                    <a:pt x="455888" y="607372"/>
                  </a:lnTo>
                  <a:lnTo>
                    <a:pt x="455888" y="611067"/>
                  </a:lnTo>
                  <a:lnTo>
                    <a:pt x="459583" y="614753"/>
                  </a:lnTo>
                  <a:lnTo>
                    <a:pt x="459583" y="618449"/>
                  </a:lnTo>
                  <a:lnTo>
                    <a:pt x="463270" y="622135"/>
                  </a:lnTo>
                  <a:lnTo>
                    <a:pt x="466956" y="622135"/>
                  </a:lnTo>
                  <a:lnTo>
                    <a:pt x="466956" y="625831"/>
                  </a:lnTo>
                  <a:lnTo>
                    <a:pt x="470652" y="629517"/>
                  </a:lnTo>
                  <a:lnTo>
                    <a:pt x="474338" y="629517"/>
                  </a:lnTo>
                  <a:lnTo>
                    <a:pt x="478024" y="625831"/>
                  </a:lnTo>
                  <a:lnTo>
                    <a:pt x="478024" y="622135"/>
                  </a:lnTo>
                  <a:lnTo>
                    <a:pt x="481720" y="618449"/>
                  </a:lnTo>
                  <a:lnTo>
                    <a:pt x="489092" y="614753"/>
                  </a:lnTo>
                  <a:lnTo>
                    <a:pt x="492788" y="614753"/>
                  </a:lnTo>
                  <a:lnTo>
                    <a:pt x="496474" y="607372"/>
                  </a:lnTo>
                  <a:lnTo>
                    <a:pt x="496474" y="603685"/>
                  </a:lnTo>
                  <a:lnTo>
                    <a:pt x="492788" y="603685"/>
                  </a:lnTo>
                  <a:lnTo>
                    <a:pt x="492788" y="596303"/>
                  </a:lnTo>
                  <a:lnTo>
                    <a:pt x="496474" y="596303"/>
                  </a:lnTo>
                  <a:lnTo>
                    <a:pt x="492788" y="592608"/>
                  </a:lnTo>
                  <a:lnTo>
                    <a:pt x="489092" y="592608"/>
                  </a:lnTo>
                  <a:lnTo>
                    <a:pt x="489092" y="588922"/>
                  </a:lnTo>
                  <a:lnTo>
                    <a:pt x="489092" y="585226"/>
                  </a:lnTo>
                  <a:lnTo>
                    <a:pt x="489092" y="581540"/>
                  </a:lnTo>
                  <a:lnTo>
                    <a:pt x="481720" y="574158"/>
                  </a:lnTo>
                  <a:lnTo>
                    <a:pt x="478024" y="574158"/>
                  </a:lnTo>
                  <a:lnTo>
                    <a:pt x="474338" y="574158"/>
                  </a:lnTo>
                  <a:lnTo>
                    <a:pt x="474338" y="570472"/>
                  </a:lnTo>
                  <a:lnTo>
                    <a:pt x="478024" y="566776"/>
                  </a:lnTo>
                  <a:lnTo>
                    <a:pt x="481720" y="566776"/>
                  </a:lnTo>
                  <a:lnTo>
                    <a:pt x="474338" y="563090"/>
                  </a:lnTo>
                  <a:lnTo>
                    <a:pt x="481720" y="552012"/>
                  </a:lnTo>
                  <a:lnTo>
                    <a:pt x="485406" y="552012"/>
                  </a:lnTo>
                  <a:lnTo>
                    <a:pt x="485406" y="555708"/>
                  </a:lnTo>
                  <a:lnTo>
                    <a:pt x="492788" y="555708"/>
                  </a:lnTo>
                  <a:lnTo>
                    <a:pt x="496474" y="555708"/>
                  </a:lnTo>
                  <a:lnTo>
                    <a:pt x="503856" y="552012"/>
                  </a:lnTo>
                  <a:lnTo>
                    <a:pt x="507542" y="552012"/>
                  </a:lnTo>
                  <a:lnTo>
                    <a:pt x="511228" y="548326"/>
                  </a:lnTo>
                  <a:lnTo>
                    <a:pt x="514924" y="544630"/>
                  </a:lnTo>
                  <a:lnTo>
                    <a:pt x="518610" y="548326"/>
                  </a:lnTo>
                  <a:lnTo>
                    <a:pt x="522296" y="544630"/>
                  </a:lnTo>
                  <a:lnTo>
                    <a:pt x="525982" y="540944"/>
                  </a:lnTo>
                  <a:lnTo>
                    <a:pt x="529678" y="540944"/>
                  </a:lnTo>
                  <a:lnTo>
                    <a:pt x="525982" y="537248"/>
                  </a:lnTo>
                  <a:lnTo>
                    <a:pt x="529678" y="533562"/>
                  </a:lnTo>
                  <a:lnTo>
                    <a:pt x="533364" y="529876"/>
                  </a:lnTo>
                  <a:lnTo>
                    <a:pt x="537050" y="533562"/>
                  </a:lnTo>
                  <a:lnTo>
                    <a:pt x="544432" y="540944"/>
                  </a:lnTo>
                  <a:lnTo>
                    <a:pt x="548118" y="540944"/>
                  </a:lnTo>
                  <a:lnTo>
                    <a:pt x="551814" y="540944"/>
                  </a:lnTo>
                  <a:lnTo>
                    <a:pt x="566568" y="544630"/>
                  </a:lnTo>
                  <a:lnTo>
                    <a:pt x="577636" y="544630"/>
                  </a:lnTo>
                  <a:lnTo>
                    <a:pt x="581323" y="548326"/>
                  </a:lnTo>
                  <a:lnTo>
                    <a:pt x="581323" y="540944"/>
                  </a:lnTo>
                  <a:lnTo>
                    <a:pt x="581323" y="537248"/>
                  </a:lnTo>
                  <a:lnTo>
                    <a:pt x="581323" y="533562"/>
                  </a:lnTo>
                  <a:lnTo>
                    <a:pt x="581323" y="529876"/>
                  </a:lnTo>
                  <a:lnTo>
                    <a:pt x="573950" y="526180"/>
                  </a:lnTo>
                  <a:lnTo>
                    <a:pt x="570254" y="526180"/>
                  </a:lnTo>
                  <a:lnTo>
                    <a:pt x="570254" y="522494"/>
                  </a:lnTo>
                  <a:lnTo>
                    <a:pt x="570254" y="518799"/>
                  </a:lnTo>
                  <a:lnTo>
                    <a:pt x="566568" y="511417"/>
                  </a:lnTo>
                  <a:lnTo>
                    <a:pt x="562882" y="507730"/>
                  </a:lnTo>
                  <a:lnTo>
                    <a:pt x="555500" y="507730"/>
                  </a:lnTo>
                  <a:lnTo>
                    <a:pt x="551814" y="507730"/>
                  </a:lnTo>
                  <a:lnTo>
                    <a:pt x="555500" y="504035"/>
                  </a:lnTo>
                  <a:lnTo>
                    <a:pt x="555500" y="500349"/>
                  </a:lnTo>
                  <a:lnTo>
                    <a:pt x="559186" y="500349"/>
                  </a:lnTo>
                  <a:lnTo>
                    <a:pt x="562882" y="504035"/>
                  </a:lnTo>
                  <a:lnTo>
                    <a:pt x="577636" y="496653"/>
                  </a:lnTo>
                  <a:lnTo>
                    <a:pt x="581323" y="500349"/>
                  </a:lnTo>
                  <a:lnTo>
                    <a:pt x="585009" y="500349"/>
                  </a:lnTo>
                  <a:lnTo>
                    <a:pt x="588704" y="504035"/>
                  </a:lnTo>
                  <a:lnTo>
                    <a:pt x="596077" y="507730"/>
                  </a:lnTo>
                  <a:lnTo>
                    <a:pt x="596077" y="511417"/>
                  </a:lnTo>
                  <a:lnTo>
                    <a:pt x="588704" y="511417"/>
                  </a:lnTo>
                  <a:lnTo>
                    <a:pt x="592391" y="515112"/>
                  </a:lnTo>
                  <a:lnTo>
                    <a:pt x="596077" y="518799"/>
                  </a:lnTo>
                  <a:lnTo>
                    <a:pt x="599772" y="522494"/>
                  </a:lnTo>
                  <a:lnTo>
                    <a:pt x="607145" y="526180"/>
                  </a:lnTo>
                  <a:lnTo>
                    <a:pt x="614527" y="526180"/>
                  </a:lnTo>
                  <a:lnTo>
                    <a:pt x="614527" y="522494"/>
                  </a:lnTo>
                  <a:lnTo>
                    <a:pt x="621909" y="522494"/>
                  </a:lnTo>
                  <a:lnTo>
                    <a:pt x="625595" y="526180"/>
                  </a:lnTo>
                  <a:lnTo>
                    <a:pt x="629281" y="526180"/>
                  </a:lnTo>
                  <a:lnTo>
                    <a:pt x="629281" y="522494"/>
                  </a:lnTo>
                  <a:lnTo>
                    <a:pt x="632977" y="522494"/>
                  </a:lnTo>
                  <a:lnTo>
                    <a:pt x="632977" y="518799"/>
                  </a:lnTo>
                  <a:lnTo>
                    <a:pt x="636663" y="522494"/>
                  </a:lnTo>
                  <a:lnTo>
                    <a:pt x="647731" y="526180"/>
                  </a:lnTo>
                  <a:lnTo>
                    <a:pt x="647731" y="529876"/>
                  </a:lnTo>
                  <a:lnTo>
                    <a:pt x="651417" y="537248"/>
                  </a:lnTo>
                  <a:lnTo>
                    <a:pt x="651417" y="540944"/>
                  </a:lnTo>
                  <a:lnTo>
                    <a:pt x="658799" y="537248"/>
                  </a:lnTo>
                  <a:lnTo>
                    <a:pt x="666171" y="537248"/>
                  </a:lnTo>
                  <a:lnTo>
                    <a:pt x="669867" y="537248"/>
                  </a:lnTo>
                  <a:lnTo>
                    <a:pt x="673553" y="540944"/>
                  </a:lnTo>
                  <a:lnTo>
                    <a:pt x="677239" y="540944"/>
                  </a:lnTo>
                  <a:lnTo>
                    <a:pt x="680935" y="544630"/>
                  </a:lnTo>
                  <a:lnTo>
                    <a:pt x="680935" y="548326"/>
                  </a:lnTo>
                  <a:lnTo>
                    <a:pt x="680935" y="552012"/>
                  </a:lnTo>
                  <a:lnTo>
                    <a:pt x="684621" y="552012"/>
                  </a:lnTo>
                  <a:lnTo>
                    <a:pt x="688307" y="552012"/>
                  </a:lnTo>
                  <a:lnTo>
                    <a:pt x="692003" y="552012"/>
                  </a:lnTo>
                  <a:lnTo>
                    <a:pt x="699375" y="555708"/>
                  </a:lnTo>
                  <a:lnTo>
                    <a:pt x="703071" y="555708"/>
                  </a:lnTo>
                  <a:lnTo>
                    <a:pt x="699375" y="548326"/>
                  </a:lnTo>
                  <a:lnTo>
                    <a:pt x="703071" y="552012"/>
                  </a:lnTo>
                  <a:lnTo>
                    <a:pt x="699375" y="544630"/>
                  </a:lnTo>
                  <a:lnTo>
                    <a:pt x="699375" y="540944"/>
                  </a:lnTo>
                  <a:lnTo>
                    <a:pt x="703071" y="537248"/>
                  </a:lnTo>
                  <a:lnTo>
                    <a:pt x="699375" y="537248"/>
                  </a:lnTo>
                  <a:lnTo>
                    <a:pt x="699375" y="533562"/>
                  </a:lnTo>
                  <a:lnTo>
                    <a:pt x="695689" y="533562"/>
                  </a:lnTo>
                  <a:lnTo>
                    <a:pt x="692003" y="529876"/>
                  </a:lnTo>
                  <a:lnTo>
                    <a:pt x="692003" y="526180"/>
                  </a:lnTo>
                  <a:lnTo>
                    <a:pt x="692003" y="518799"/>
                  </a:lnTo>
                  <a:lnTo>
                    <a:pt x="699375" y="522494"/>
                  </a:lnTo>
                  <a:lnTo>
                    <a:pt x="703071" y="522494"/>
                  </a:lnTo>
                  <a:lnTo>
                    <a:pt x="706757" y="526180"/>
                  </a:lnTo>
                  <a:lnTo>
                    <a:pt x="710443" y="526180"/>
                  </a:lnTo>
                  <a:lnTo>
                    <a:pt x="710443" y="529876"/>
                  </a:lnTo>
                  <a:lnTo>
                    <a:pt x="714139" y="529876"/>
                  </a:lnTo>
                  <a:lnTo>
                    <a:pt x="717825" y="529876"/>
                  </a:lnTo>
                  <a:lnTo>
                    <a:pt x="721512" y="526180"/>
                  </a:lnTo>
                  <a:lnTo>
                    <a:pt x="725207" y="533562"/>
                  </a:lnTo>
                  <a:lnTo>
                    <a:pt x="728893" y="533562"/>
                  </a:lnTo>
                  <a:lnTo>
                    <a:pt x="732580" y="537248"/>
                  </a:lnTo>
                  <a:lnTo>
                    <a:pt x="736266" y="533562"/>
                  </a:lnTo>
                  <a:lnTo>
                    <a:pt x="747334" y="529876"/>
                  </a:lnTo>
                  <a:lnTo>
                    <a:pt x="747334" y="526180"/>
                  </a:lnTo>
                  <a:lnTo>
                    <a:pt x="747334" y="522494"/>
                  </a:lnTo>
                  <a:lnTo>
                    <a:pt x="751029" y="522494"/>
                  </a:lnTo>
                  <a:lnTo>
                    <a:pt x="754716" y="518799"/>
                  </a:lnTo>
                  <a:lnTo>
                    <a:pt x="758402" y="518799"/>
                  </a:lnTo>
                  <a:lnTo>
                    <a:pt x="762098" y="518799"/>
                  </a:lnTo>
                  <a:lnTo>
                    <a:pt x="765784" y="515112"/>
                  </a:lnTo>
                  <a:lnTo>
                    <a:pt x="765784" y="511417"/>
                  </a:lnTo>
                  <a:lnTo>
                    <a:pt x="769470" y="511417"/>
                  </a:lnTo>
                  <a:lnTo>
                    <a:pt x="773166" y="507730"/>
                  </a:lnTo>
                  <a:lnTo>
                    <a:pt x="773166" y="511417"/>
                  </a:lnTo>
                  <a:lnTo>
                    <a:pt x="776852" y="511417"/>
                  </a:lnTo>
                  <a:lnTo>
                    <a:pt x="780538" y="507730"/>
                  </a:lnTo>
                  <a:lnTo>
                    <a:pt x="787920" y="504035"/>
                  </a:lnTo>
                  <a:lnTo>
                    <a:pt x="806360" y="496653"/>
                  </a:lnTo>
                  <a:lnTo>
                    <a:pt x="810056" y="496653"/>
                  </a:lnTo>
                  <a:lnTo>
                    <a:pt x="813742" y="496653"/>
                  </a:lnTo>
                  <a:lnTo>
                    <a:pt x="813742" y="492967"/>
                  </a:lnTo>
                  <a:lnTo>
                    <a:pt x="821124" y="489271"/>
                  </a:lnTo>
                  <a:lnTo>
                    <a:pt x="828496" y="485585"/>
                  </a:lnTo>
                  <a:lnTo>
                    <a:pt x="832192" y="485585"/>
                  </a:lnTo>
                  <a:lnTo>
                    <a:pt x="835878" y="481899"/>
                  </a:lnTo>
                  <a:lnTo>
                    <a:pt x="835878" y="485585"/>
                  </a:lnTo>
                  <a:lnTo>
                    <a:pt x="839564" y="485585"/>
                  </a:lnTo>
                  <a:lnTo>
                    <a:pt x="843260" y="485585"/>
                  </a:lnTo>
                  <a:lnTo>
                    <a:pt x="843260" y="489271"/>
                  </a:lnTo>
                  <a:lnTo>
                    <a:pt x="846946" y="492967"/>
                  </a:lnTo>
                  <a:lnTo>
                    <a:pt x="854328" y="500349"/>
                  </a:lnTo>
                  <a:lnTo>
                    <a:pt x="861700" y="496653"/>
                  </a:lnTo>
                  <a:lnTo>
                    <a:pt x="861700" y="492967"/>
                  </a:lnTo>
                  <a:lnTo>
                    <a:pt x="865396" y="492967"/>
                  </a:lnTo>
                  <a:lnTo>
                    <a:pt x="869082" y="489271"/>
                  </a:lnTo>
                  <a:lnTo>
                    <a:pt x="872769" y="489271"/>
                  </a:lnTo>
                  <a:lnTo>
                    <a:pt x="872769" y="485585"/>
                  </a:lnTo>
                  <a:lnTo>
                    <a:pt x="876455" y="481899"/>
                  </a:lnTo>
                  <a:lnTo>
                    <a:pt x="880150" y="481899"/>
                  </a:lnTo>
                  <a:lnTo>
                    <a:pt x="887523" y="470821"/>
                  </a:lnTo>
                  <a:lnTo>
                    <a:pt x="891218" y="467135"/>
                  </a:lnTo>
                  <a:lnTo>
                    <a:pt x="891218" y="463439"/>
                  </a:lnTo>
                  <a:lnTo>
                    <a:pt x="891218" y="459753"/>
                  </a:lnTo>
                  <a:lnTo>
                    <a:pt x="891218" y="448676"/>
                  </a:lnTo>
                  <a:lnTo>
                    <a:pt x="898591" y="444989"/>
                  </a:lnTo>
                  <a:lnTo>
                    <a:pt x="905973" y="444989"/>
                  </a:lnTo>
                  <a:lnTo>
                    <a:pt x="909659" y="437607"/>
                  </a:lnTo>
                  <a:lnTo>
                    <a:pt x="905973" y="433921"/>
                  </a:lnTo>
                  <a:lnTo>
                    <a:pt x="905973" y="426539"/>
                  </a:lnTo>
                  <a:lnTo>
                    <a:pt x="905973" y="422844"/>
                  </a:lnTo>
                  <a:lnTo>
                    <a:pt x="894905" y="419158"/>
                  </a:lnTo>
                  <a:lnTo>
                    <a:pt x="898591" y="419158"/>
                  </a:lnTo>
                  <a:lnTo>
                    <a:pt x="876455" y="404394"/>
                  </a:lnTo>
                  <a:lnTo>
                    <a:pt x="872769" y="400698"/>
                  </a:lnTo>
                  <a:lnTo>
                    <a:pt x="869082" y="393316"/>
                  </a:lnTo>
                  <a:lnTo>
                    <a:pt x="850632" y="385944"/>
                  </a:lnTo>
                  <a:lnTo>
                    <a:pt x="835878" y="385944"/>
                  </a:lnTo>
                  <a:lnTo>
                    <a:pt x="835878" y="382248"/>
                  </a:lnTo>
                  <a:lnTo>
                    <a:pt x="835878" y="374866"/>
                  </a:lnTo>
                  <a:lnTo>
                    <a:pt x="835878" y="371180"/>
                  </a:lnTo>
                  <a:lnTo>
                    <a:pt x="839564" y="367484"/>
                  </a:lnTo>
                  <a:lnTo>
                    <a:pt x="839564" y="363798"/>
                  </a:lnTo>
                  <a:lnTo>
                    <a:pt x="839564" y="360103"/>
                  </a:lnTo>
                  <a:lnTo>
                    <a:pt x="850632" y="360103"/>
                  </a:lnTo>
                  <a:lnTo>
                    <a:pt x="858014" y="356416"/>
                  </a:lnTo>
                  <a:lnTo>
                    <a:pt x="865396" y="352721"/>
                  </a:lnTo>
                  <a:lnTo>
                    <a:pt x="865396" y="349035"/>
                  </a:lnTo>
                  <a:lnTo>
                    <a:pt x="865396" y="345339"/>
                  </a:lnTo>
                  <a:lnTo>
                    <a:pt x="865396" y="341653"/>
                  </a:lnTo>
                  <a:lnTo>
                    <a:pt x="869082" y="341653"/>
                  </a:lnTo>
                  <a:lnTo>
                    <a:pt x="869082" y="337966"/>
                  </a:lnTo>
                  <a:lnTo>
                    <a:pt x="872769" y="323203"/>
                  </a:lnTo>
                  <a:lnTo>
                    <a:pt x="850632" y="323203"/>
                  </a:lnTo>
                  <a:lnTo>
                    <a:pt x="846946" y="323203"/>
                  </a:lnTo>
                  <a:lnTo>
                    <a:pt x="839564" y="319507"/>
                  </a:lnTo>
                  <a:lnTo>
                    <a:pt x="832192" y="315821"/>
                  </a:lnTo>
                  <a:lnTo>
                    <a:pt x="828496" y="315821"/>
                  </a:lnTo>
                  <a:lnTo>
                    <a:pt x="821124" y="315821"/>
                  </a:lnTo>
                  <a:lnTo>
                    <a:pt x="828496" y="304743"/>
                  </a:lnTo>
                  <a:lnTo>
                    <a:pt x="828496" y="293675"/>
                  </a:lnTo>
                  <a:lnTo>
                    <a:pt x="828496" y="289989"/>
                  </a:lnTo>
                  <a:lnTo>
                    <a:pt x="828496" y="286293"/>
                  </a:lnTo>
                  <a:lnTo>
                    <a:pt x="817428" y="278911"/>
                  </a:lnTo>
                  <a:lnTo>
                    <a:pt x="813742" y="278911"/>
                  </a:lnTo>
                  <a:lnTo>
                    <a:pt x="810056" y="286293"/>
                  </a:lnTo>
                  <a:lnTo>
                    <a:pt x="810056" y="282607"/>
                  </a:lnTo>
                  <a:lnTo>
                    <a:pt x="806360" y="278911"/>
                  </a:lnTo>
                  <a:lnTo>
                    <a:pt x="802674" y="282607"/>
                  </a:lnTo>
                  <a:lnTo>
                    <a:pt x="798988" y="286293"/>
                  </a:lnTo>
                  <a:lnTo>
                    <a:pt x="798988" y="289989"/>
                  </a:lnTo>
                  <a:lnTo>
                    <a:pt x="795302" y="286293"/>
                  </a:lnTo>
                  <a:lnTo>
                    <a:pt x="791606" y="282607"/>
                  </a:lnTo>
                  <a:lnTo>
                    <a:pt x="795302" y="278911"/>
                  </a:lnTo>
                  <a:lnTo>
                    <a:pt x="787920" y="275225"/>
                  </a:lnTo>
                  <a:lnTo>
                    <a:pt x="784234" y="275225"/>
                  </a:lnTo>
                  <a:lnTo>
                    <a:pt x="769470" y="278911"/>
                  </a:lnTo>
                  <a:lnTo>
                    <a:pt x="751029" y="275225"/>
                  </a:lnTo>
                  <a:lnTo>
                    <a:pt x="747334" y="275225"/>
                  </a:lnTo>
                  <a:lnTo>
                    <a:pt x="739961" y="278911"/>
                  </a:lnTo>
                  <a:lnTo>
                    <a:pt x="736266" y="275225"/>
                  </a:lnTo>
                  <a:lnTo>
                    <a:pt x="732580" y="275225"/>
                  </a:lnTo>
                  <a:lnTo>
                    <a:pt x="732580" y="271530"/>
                  </a:lnTo>
                  <a:lnTo>
                    <a:pt x="728893" y="267843"/>
                  </a:lnTo>
                  <a:lnTo>
                    <a:pt x="728893" y="260461"/>
                  </a:lnTo>
                  <a:lnTo>
                    <a:pt x="721512" y="260461"/>
                  </a:lnTo>
                  <a:lnTo>
                    <a:pt x="721512" y="256766"/>
                  </a:lnTo>
                  <a:lnTo>
                    <a:pt x="717825" y="256766"/>
                  </a:lnTo>
                  <a:lnTo>
                    <a:pt x="717825" y="249384"/>
                  </a:lnTo>
                  <a:lnTo>
                    <a:pt x="706757" y="242012"/>
                  </a:lnTo>
                  <a:lnTo>
                    <a:pt x="703071" y="234630"/>
                  </a:lnTo>
                  <a:lnTo>
                    <a:pt x="703071" y="230934"/>
                  </a:lnTo>
                  <a:lnTo>
                    <a:pt x="703071" y="227248"/>
                  </a:lnTo>
                  <a:lnTo>
                    <a:pt x="699375" y="227248"/>
                  </a:lnTo>
                  <a:lnTo>
                    <a:pt x="692003" y="227248"/>
                  </a:lnTo>
                  <a:lnTo>
                    <a:pt x="688307" y="227248"/>
                  </a:lnTo>
                  <a:lnTo>
                    <a:pt x="684621" y="227248"/>
                  </a:lnTo>
                  <a:lnTo>
                    <a:pt x="684621" y="223552"/>
                  </a:lnTo>
                  <a:lnTo>
                    <a:pt x="680935" y="227248"/>
                  </a:lnTo>
                  <a:lnTo>
                    <a:pt x="677239" y="227248"/>
                  </a:lnTo>
                  <a:lnTo>
                    <a:pt x="669867" y="227248"/>
                  </a:lnTo>
                  <a:lnTo>
                    <a:pt x="666171" y="230934"/>
                  </a:lnTo>
                  <a:lnTo>
                    <a:pt x="662485" y="230934"/>
                  </a:lnTo>
                  <a:lnTo>
                    <a:pt x="662485" y="238316"/>
                  </a:lnTo>
                  <a:lnTo>
                    <a:pt x="655113" y="238316"/>
                  </a:lnTo>
                  <a:lnTo>
                    <a:pt x="655113" y="242012"/>
                  </a:lnTo>
                  <a:lnTo>
                    <a:pt x="644045" y="242012"/>
                  </a:lnTo>
                  <a:lnTo>
                    <a:pt x="644045" y="238316"/>
                  </a:lnTo>
                  <a:lnTo>
                    <a:pt x="640349" y="238316"/>
                  </a:lnTo>
                  <a:lnTo>
                    <a:pt x="636663" y="238316"/>
                  </a:lnTo>
                  <a:lnTo>
                    <a:pt x="632977" y="238316"/>
                  </a:lnTo>
                  <a:lnTo>
                    <a:pt x="629281" y="242012"/>
                  </a:lnTo>
                  <a:lnTo>
                    <a:pt x="625595" y="238316"/>
                  </a:lnTo>
                  <a:lnTo>
                    <a:pt x="621909" y="238316"/>
                  </a:lnTo>
                  <a:lnTo>
                    <a:pt x="614527" y="238316"/>
                  </a:lnTo>
                  <a:lnTo>
                    <a:pt x="610840" y="238316"/>
                  </a:lnTo>
                  <a:lnTo>
                    <a:pt x="607145" y="238316"/>
                  </a:lnTo>
                  <a:lnTo>
                    <a:pt x="603459" y="238316"/>
                  </a:lnTo>
                  <a:lnTo>
                    <a:pt x="603459" y="242012"/>
                  </a:lnTo>
                  <a:lnTo>
                    <a:pt x="599772" y="238316"/>
                  </a:lnTo>
                  <a:lnTo>
                    <a:pt x="596077" y="238316"/>
                  </a:lnTo>
                  <a:lnTo>
                    <a:pt x="588704" y="238316"/>
                  </a:lnTo>
                  <a:lnTo>
                    <a:pt x="588704" y="234630"/>
                  </a:lnTo>
                  <a:lnTo>
                    <a:pt x="585009" y="234630"/>
                  </a:lnTo>
                  <a:lnTo>
                    <a:pt x="577636" y="238316"/>
                  </a:lnTo>
                  <a:lnTo>
                    <a:pt x="577636" y="242012"/>
                  </a:lnTo>
                  <a:lnTo>
                    <a:pt x="581323" y="245698"/>
                  </a:lnTo>
                  <a:lnTo>
                    <a:pt x="577636" y="249384"/>
                  </a:lnTo>
                  <a:lnTo>
                    <a:pt x="577636" y="245698"/>
                  </a:lnTo>
                  <a:lnTo>
                    <a:pt x="577636" y="242012"/>
                  </a:lnTo>
                  <a:lnTo>
                    <a:pt x="573950" y="242012"/>
                  </a:lnTo>
                  <a:lnTo>
                    <a:pt x="570254" y="242012"/>
                  </a:lnTo>
                  <a:lnTo>
                    <a:pt x="566568" y="234630"/>
                  </a:lnTo>
                  <a:lnTo>
                    <a:pt x="566568" y="230934"/>
                  </a:lnTo>
                  <a:lnTo>
                    <a:pt x="570254" y="227248"/>
                  </a:lnTo>
                  <a:lnTo>
                    <a:pt x="573950" y="227248"/>
                  </a:lnTo>
                  <a:lnTo>
                    <a:pt x="573950" y="223552"/>
                  </a:lnTo>
                  <a:lnTo>
                    <a:pt x="570254" y="223552"/>
                  </a:lnTo>
                  <a:lnTo>
                    <a:pt x="566568" y="223552"/>
                  </a:lnTo>
                  <a:lnTo>
                    <a:pt x="562882" y="223552"/>
                  </a:lnTo>
                  <a:lnTo>
                    <a:pt x="559186" y="219866"/>
                  </a:lnTo>
                  <a:lnTo>
                    <a:pt x="559186" y="216170"/>
                  </a:lnTo>
                  <a:lnTo>
                    <a:pt x="559186" y="212484"/>
                  </a:lnTo>
                  <a:lnTo>
                    <a:pt x="559186" y="208788"/>
                  </a:lnTo>
                  <a:lnTo>
                    <a:pt x="555500" y="205102"/>
                  </a:lnTo>
                  <a:lnTo>
                    <a:pt x="551814" y="201407"/>
                  </a:lnTo>
                  <a:lnTo>
                    <a:pt x="551814" y="190338"/>
                  </a:lnTo>
                  <a:lnTo>
                    <a:pt x="548118" y="190338"/>
                  </a:lnTo>
                  <a:lnTo>
                    <a:pt x="548118" y="186652"/>
                  </a:lnTo>
                  <a:lnTo>
                    <a:pt x="548118" y="182957"/>
                  </a:lnTo>
                  <a:lnTo>
                    <a:pt x="544432" y="182957"/>
                  </a:lnTo>
                  <a:lnTo>
                    <a:pt x="540746" y="182957"/>
                  </a:lnTo>
                  <a:lnTo>
                    <a:pt x="537050" y="182957"/>
                  </a:lnTo>
                  <a:lnTo>
                    <a:pt x="537050" y="171889"/>
                  </a:lnTo>
                  <a:lnTo>
                    <a:pt x="537050" y="168193"/>
                  </a:lnTo>
                  <a:lnTo>
                    <a:pt x="533364" y="168193"/>
                  </a:lnTo>
                  <a:lnTo>
                    <a:pt x="529678" y="168193"/>
                  </a:lnTo>
                  <a:lnTo>
                    <a:pt x="529678" y="164507"/>
                  </a:lnTo>
                  <a:lnTo>
                    <a:pt x="533364" y="164507"/>
                  </a:lnTo>
                  <a:lnTo>
                    <a:pt x="533364" y="157125"/>
                  </a:lnTo>
                  <a:lnTo>
                    <a:pt x="533364" y="149743"/>
                  </a:lnTo>
                  <a:lnTo>
                    <a:pt x="533364" y="142361"/>
                  </a:lnTo>
                  <a:lnTo>
                    <a:pt x="537050" y="142361"/>
                  </a:lnTo>
                  <a:lnTo>
                    <a:pt x="540746" y="138675"/>
                  </a:lnTo>
                  <a:lnTo>
                    <a:pt x="544432" y="138675"/>
                  </a:lnTo>
                  <a:lnTo>
                    <a:pt x="540746" y="134979"/>
                  </a:lnTo>
                  <a:lnTo>
                    <a:pt x="537050" y="134979"/>
                  </a:lnTo>
                  <a:lnTo>
                    <a:pt x="533364" y="131293"/>
                  </a:lnTo>
                  <a:lnTo>
                    <a:pt x="533364" y="127597"/>
                  </a:lnTo>
                  <a:lnTo>
                    <a:pt x="537050" y="127597"/>
                  </a:lnTo>
                  <a:lnTo>
                    <a:pt x="537050" y="123909"/>
                  </a:lnTo>
                  <a:lnTo>
                    <a:pt x="544432" y="123909"/>
                  </a:lnTo>
                  <a:lnTo>
                    <a:pt x="551814" y="120218"/>
                  </a:lnTo>
                  <a:lnTo>
                    <a:pt x="555500" y="120218"/>
                  </a:lnTo>
                  <a:lnTo>
                    <a:pt x="555500" y="116528"/>
                  </a:lnTo>
                  <a:lnTo>
                    <a:pt x="559186" y="116528"/>
                  </a:lnTo>
                  <a:lnTo>
                    <a:pt x="559186" y="109147"/>
                  </a:lnTo>
                  <a:lnTo>
                    <a:pt x="559186" y="105456"/>
                  </a:lnTo>
                  <a:lnTo>
                    <a:pt x="559186" y="101766"/>
                  </a:lnTo>
                  <a:lnTo>
                    <a:pt x="555500" y="101766"/>
                  </a:lnTo>
                  <a:lnTo>
                    <a:pt x="551814" y="98075"/>
                  </a:lnTo>
                  <a:lnTo>
                    <a:pt x="551814" y="90695"/>
                  </a:lnTo>
                  <a:lnTo>
                    <a:pt x="551814" y="87004"/>
                  </a:lnTo>
                  <a:lnTo>
                    <a:pt x="555500" y="83313"/>
                  </a:lnTo>
                  <a:lnTo>
                    <a:pt x="555500" y="75932"/>
                  </a:lnTo>
                  <a:lnTo>
                    <a:pt x="551814" y="72242"/>
                  </a:lnTo>
                  <a:lnTo>
                    <a:pt x="548118" y="68551"/>
                  </a:lnTo>
                  <a:lnTo>
                    <a:pt x="548118" y="61170"/>
                  </a:lnTo>
                  <a:lnTo>
                    <a:pt x="544432" y="50098"/>
                  </a:lnTo>
                  <a:lnTo>
                    <a:pt x="544432" y="46407"/>
                  </a:lnTo>
                  <a:lnTo>
                    <a:pt x="540746" y="42717"/>
                  </a:lnTo>
                  <a:lnTo>
                    <a:pt x="529678" y="39026"/>
                  </a:lnTo>
                  <a:lnTo>
                    <a:pt x="525982" y="35335"/>
                  </a:lnTo>
                  <a:lnTo>
                    <a:pt x="525982" y="31645"/>
                  </a:lnTo>
                  <a:lnTo>
                    <a:pt x="525982" y="27954"/>
                  </a:lnTo>
                  <a:lnTo>
                    <a:pt x="522296" y="24264"/>
                  </a:lnTo>
                  <a:lnTo>
                    <a:pt x="518610" y="20573"/>
                  </a:lnTo>
                  <a:lnTo>
                    <a:pt x="514924" y="20573"/>
                  </a:lnTo>
                  <a:lnTo>
                    <a:pt x="511228" y="16882"/>
                  </a:lnTo>
                  <a:lnTo>
                    <a:pt x="507542" y="20573"/>
                  </a:lnTo>
                  <a:lnTo>
                    <a:pt x="503856" y="20573"/>
                  </a:lnTo>
                  <a:lnTo>
                    <a:pt x="500160" y="20573"/>
                  </a:lnTo>
                  <a:lnTo>
                    <a:pt x="496474" y="24264"/>
                  </a:lnTo>
                  <a:lnTo>
                    <a:pt x="489092" y="31645"/>
                  </a:lnTo>
                  <a:lnTo>
                    <a:pt x="481720" y="39026"/>
                  </a:lnTo>
                  <a:lnTo>
                    <a:pt x="478024" y="42717"/>
                  </a:lnTo>
                  <a:lnTo>
                    <a:pt x="474338" y="39026"/>
                  </a:lnTo>
                  <a:lnTo>
                    <a:pt x="474338" y="35335"/>
                  </a:lnTo>
                  <a:lnTo>
                    <a:pt x="470652" y="39026"/>
                  </a:lnTo>
                  <a:lnTo>
                    <a:pt x="466956" y="42717"/>
                  </a:lnTo>
                  <a:lnTo>
                    <a:pt x="459583" y="46407"/>
                  </a:lnTo>
                  <a:lnTo>
                    <a:pt x="459583" y="39026"/>
                  </a:lnTo>
                  <a:lnTo>
                    <a:pt x="452202" y="27954"/>
                  </a:lnTo>
                  <a:lnTo>
                    <a:pt x="448516" y="20573"/>
                  </a:lnTo>
                  <a:lnTo>
                    <a:pt x="441134" y="9502"/>
                  </a:lnTo>
                  <a:lnTo>
                    <a:pt x="437447" y="5812"/>
                  </a:lnTo>
                  <a:close/>
                  <a:moveTo>
                    <a:pt x="315699" y="138675"/>
                  </a:moveTo>
                  <a:lnTo>
                    <a:pt x="308326" y="134979"/>
                  </a:lnTo>
                  <a:lnTo>
                    <a:pt x="312013" y="138675"/>
                  </a:lnTo>
                  <a:lnTo>
                    <a:pt x="315699" y="138675"/>
                  </a:lnTo>
                  <a:close/>
                </a:path>
              </a:pathLst>
            </a:custGeom>
            <a:solidFill>
              <a:srgbClr val="BF211E"/>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35</a:t>
              </a:r>
            </a:p>
          </p:txBody>
        </p:sp>
        <p:sp>
          <p:nvSpPr>
            <p:cNvPr id="238" name="Freeform: Shape 237">
              <a:extLst>
                <a:ext uri="{FF2B5EF4-FFF2-40B4-BE49-F238E27FC236}">
                  <a16:creationId xmlns:a16="http://schemas.microsoft.com/office/drawing/2014/main" id="{9C9492CD-B2D9-45D1-AA19-69AB99972B32}"/>
                </a:ext>
              </a:extLst>
            </p:cNvPr>
            <p:cNvSpPr/>
            <p:nvPr/>
          </p:nvSpPr>
          <p:spPr>
            <a:xfrm>
              <a:off x="5406583" y="4027472"/>
              <a:ext cx="676397" cy="476554"/>
            </a:xfrm>
            <a:custGeom>
              <a:avLst/>
              <a:gdLst>
                <a:gd name="connsiteX0" fmla="*/ 112797 w 419100"/>
                <a:gd name="connsiteY0" fmla="*/ 5812 h 295275"/>
                <a:gd name="connsiteX1" fmla="*/ 112797 w 419100"/>
                <a:gd name="connsiteY1" fmla="*/ 9507 h 295275"/>
                <a:gd name="connsiteX2" fmla="*/ 109108 w 419100"/>
                <a:gd name="connsiteY2" fmla="*/ 9507 h 295275"/>
                <a:gd name="connsiteX3" fmla="*/ 109108 w 419100"/>
                <a:gd name="connsiteY3" fmla="*/ 13193 h 295275"/>
                <a:gd name="connsiteX4" fmla="*/ 109108 w 419100"/>
                <a:gd name="connsiteY4" fmla="*/ 16889 h 295275"/>
                <a:gd name="connsiteX5" fmla="*/ 101730 w 419100"/>
                <a:gd name="connsiteY5" fmla="*/ 13193 h 295275"/>
                <a:gd name="connsiteX6" fmla="*/ 101730 w 419100"/>
                <a:gd name="connsiteY6" fmla="*/ 16889 h 295275"/>
                <a:gd name="connsiteX7" fmla="*/ 94351 w 419100"/>
                <a:gd name="connsiteY7" fmla="*/ 20575 h 295275"/>
                <a:gd name="connsiteX8" fmla="*/ 94351 w 419100"/>
                <a:gd name="connsiteY8" fmla="*/ 24262 h 295275"/>
                <a:gd name="connsiteX9" fmla="*/ 90662 w 419100"/>
                <a:gd name="connsiteY9" fmla="*/ 24262 h 295275"/>
                <a:gd name="connsiteX10" fmla="*/ 86973 w 419100"/>
                <a:gd name="connsiteY10" fmla="*/ 24262 h 295275"/>
                <a:gd name="connsiteX11" fmla="*/ 83284 w 419100"/>
                <a:gd name="connsiteY11" fmla="*/ 24262 h 295275"/>
                <a:gd name="connsiteX12" fmla="*/ 75906 w 419100"/>
                <a:gd name="connsiteY12" fmla="*/ 20575 h 295275"/>
                <a:gd name="connsiteX13" fmla="*/ 72217 w 419100"/>
                <a:gd name="connsiteY13" fmla="*/ 24262 h 295275"/>
                <a:gd name="connsiteX14" fmla="*/ 72217 w 419100"/>
                <a:gd name="connsiteY14" fmla="*/ 27957 h 295275"/>
                <a:gd name="connsiteX15" fmla="*/ 75906 w 419100"/>
                <a:gd name="connsiteY15" fmla="*/ 31643 h 295275"/>
                <a:gd name="connsiteX16" fmla="*/ 72217 w 419100"/>
                <a:gd name="connsiteY16" fmla="*/ 35339 h 295275"/>
                <a:gd name="connsiteX17" fmla="*/ 68527 w 419100"/>
                <a:gd name="connsiteY17" fmla="*/ 39025 h 295275"/>
                <a:gd name="connsiteX18" fmla="*/ 68527 w 419100"/>
                <a:gd name="connsiteY18" fmla="*/ 42721 h 295275"/>
                <a:gd name="connsiteX19" fmla="*/ 64838 w 419100"/>
                <a:gd name="connsiteY19" fmla="*/ 42721 h 295275"/>
                <a:gd name="connsiteX20" fmla="*/ 61149 w 419100"/>
                <a:gd name="connsiteY20" fmla="*/ 42721 h 295275"/>
                <a:gd name="connsiteX21" fmla="*/ 61149 w 419100"/>
                <a:gd name="connsiteY21" fmla="*/ 46407 h 295275"/>
                <a:gd name="connsiteX22" fmla="*/ 57460 w 419100"/>
                <a:gd name="connsiteY22" fmla="*/ 42721 h 295275"/>
                <a:gd name="connsiteX23" fmla="*/ 53771 w 419100"/>
                <a:gd name="connsiteY23" fmla="*/ 42721 h 295275"/>
                <a:gd name="connsiteX24" fmla="*/ 50082 w 419100"/>
                <a:gd name="connsiteY24" fmla="*/ 42721 h 295275"/>
                <a:gd name="connsiteX25" fmla="*/ 46393 w 419100"/>
                <a:gd name="connsiteY25" fmla="*/ 46407 h 295275"/>
                <a:gd name="connsiteX26" fmla="*/ 39014 w 419100"/>
                <a:gd name="connsiteY26" fmla="*/ 50103 h 295275"/>
                <a:gd name="connsiteX27" fmla="*/ 39014 w 419100"/>
                <a:gd name="connsiteY27" fmla="*/ 53789 h 295275"/>
                <a:gd name="connsiteX28" fmla="*/ 35325 w 419100"/>
                <a:gd name="connsiteY28" fmla="*/ 53789 h 295275"/>
                <a:gd name="connsiteX29" fmla="*/ 31636 w 419100"/>
                <a:gd name="connsiteY29" fmla="*/ 57485 h 295275"/>
                <a:gd name="connsiteX30" fmla="*/ 27947 w 419100"/>
                <a:gd name="connsiteY30" fmla="*/ 57485 h 295275"/>
                <a:gd name="connsiteX31" fmla="*/ 27947 w 419100"/>
                <a:gd name="connsiteY31" fmla="*/ 61171 h 295275"/>
                <a:gd name="connsiteX32" fmla="*/ 24257 w 419100"/>
                <a:gd name="connsiteY32" fmla="*/ 61171 h 295275"/>
                <a:gd name="connsiteX33" fmla="*/ 20568 w 419100"/>
                <a:gd name="connsiteY33" fmla="*/ 64867 h 295275"/>
                <a:gd name="connsiteX34" fmla="*/ 16879 w 419100"/>
                <a:gd name="connsiteY34" fmla="*/ 64867 h 295275"/>
                <a:gd name="connsiteX35" fmla="*/ 13190 w 419100"/>
                <a:gd name="connsiteY35" fmla="*/ 64867 h 295275"/>
                <a:gd name="connsiteX36" fmla="*/ 9501 w 419100"/>
                <a:gd name="connsiteY36" fmla="*/ 64867 h 295275"/>
                <a:gd name="connsiteX37" fmla="*/ 9501 w 419100"/>
                <a:gd name="connsiteY37" fmla="*/ 68553 h 295275"/>
                <a:gd name="connsiteX38" fmla="*/ 13190 w 419100"/>
                <a:gd name="connsiteY38" fmla="*/ 72239 h 295275"/>
                <a:gd name="connsiteX39" fmla="*/ 13190 w 419100"/>
                <a:gd name="connsiteY39" fmla="*/ 79621 h 295275"/>
                <a:gd name="connsiteX40" fmla="*/ 13190 w 419100"/>
                <a:gd name="connsiteY40" fmla="*/ 83316 h 295275"/>
                <a:gd name="connsiteX41" fmla="*/ 16879 w 419100"/>
                <a:gd name="connsiteY41" fmla="*/ 83316 h 295275"/>
                <a:gd name="connsiteX42" fmla="*/ 16879 w 419100"/>
                <a:gd name="connsiteY42" fmla="*/ 87003 h 295275"/>
                <a:gd name="connsiteX43" fmla="*/ 20568 w 419100"/>
                <a:gd name="connsiteY43" fmla="*/ 90698 h 295275"/>
                <a:gd name="connsiteX44" fmla="*/ 24257 w 419100"/>
                <a:gd name="connsiteY44" fmla="*/ 90698 h 295275"/>
                <a:gd name="connsiteX45" fmla="*/ 24257 w 419100"/>
                <a:gd name="connsiteY45" fmla="*/ 94385 h 295275"/>
                <a:gd name="connsiteX46" fmla="*/ 27947 w 419100"/>
                <a:gd name="connsiteY46" fmla="*/ 98080 h 295275"/>
                <a:gd name="connsiteX47" fmla="*/ 31636 w 419100"/>
                <a:gd name="connsiteY47" fmla="*/ 101766 h 295275"/>
                <a:gd name="connsiteX48" fmla="*/ 39014 w 419100"/>
                <a:gd name="connsiteY48" fmla="*/ 101766 h 295275"/>
                <a:gd name="connsiteX49" fmla="*/ 42703 w 419100"/>
                <a:gd name="connsiteY49" fmla="*/ 105462 h 295275"/>
                <a:gd name="connsiteX50" fmla="*/ 57460 w 419100"/>
                <a:gd name="connsiteY50" fmla="*/ 116530 h 295275"/>
                <a:gd name="connsiteX51" fmla="*/ 46393 w 419100"/>
                <a:gd name="connsiteY51" fmla="*/ 120216 h 295275"/>
                <a:gd name="connsiteX52" fmla="*/ 46393 w 419100"/>
                <a:gd name="connsiteY52" fmla="*/ 134980 h 295275"/>
                <a:gd name="connsiteX53" fmla="*/ 42703 w 419100"/>
                <a:gd name="connsiteY53" fmla="*/ 134980 h 295275"/>
                <a:gd name="connsiteX54" fmla="*/ 39014 w 419100"/>
                <a:gd name="connsiteY54" fmla="*/ 134980 h 295275"/>
                <a:gd name="connsiteX55" fmla="*/ 31636 w 419100"/>
                <a:gd name="connsiteY55" fmla="*/ 134980 h 295275"/>
                <a:gd name="connsiteX56" fmla="*/ 27947 w 419100"/>
                <a:gd name="connsiteY56" fmla="*/ 134980 h 295275"/>
                <a:gd name="connsiteX57" fmla="*/ 27947 w 419100"/>
                <a:gd name="connsiteY57" fmla="*/ 131294 h 295275"/>
                <a:gd name="connsiteX58" fmla="*/ 20568 w 419100"/>
                <a:gd name="connsiteY58" fmla="*/ 131294 h 295275"/>
                <a:gd name="connsiteX59" fmla="*/ 16879 w 419100"/>
                <a:gd name="connsiteY59" fmla="*/ 134980 h 295275"/>
                <a:gd name="connsiteX60" fmla="*/ 13190 w 419100"/>
                <a:gd name="connsiteY60" fmla="*/ 138676 h 295275"/>
                <a:gd name="connsiteX61" fmla="*/ 16879 w 419100"/>
                <a:gd name="connsiteY61" fmla="*/ 138676 h 295275"/>
                <a:gd name="connsiteX62" fmla="*/ 13190 w 419100"/>
                <a:gd name="connsiteY62" fmla="*/ 142362 h 295275"/>
                <a:gd name="connsiteX63" fmla="*/ 13190 w 419100"/>
                <a:gd name="connsiteY63" fmla="*/ 146058 h 295275"/>
                <a:gd name="connsiteX64" fmla="*/ 9501 w 419100"/>
                <a:gd name="connsiteY64" fmla="*/ 146058 h 295275"/>
                <a:gd name="connsiteX65" fmla="*/ 5812 w 419100"/>
                <a:gd name="connsiteY65" fmla="*/ 146058 h 295275"/>
                <a:gd name="connsiteX66" fmla="*/ 5812 w 419100"/>
                <a:gd name="connsiteY66" fmla="*/ 149744 h 295275"/>
                <a:gd name="connsiteX67" fmla="*/ 20568 w 419100"/>
                <a:gd name="connsiteY67" fmla="*/ 157126 h 295275"/>
                <a:gd name="connsiteX68" fmla="*/ 24257 w 419100"/>
                <a:gd name="connsiteY68" fmla="*/ 160821 h 295275"/>
                <a:gd name="connsiteX69" fmla="*/ 20568 w 419100"/>
                <a:gd name="connsiteY69" fmla="*/ 160821 h 295275"/>
                <a:gd name="connsiteX70" fmla="*/ 20568 w 419100"/>
                <a:gd name="connsiteY70" fmla="*/ 171890 h 295275"/>
                <a:gd name="connsiteX71" fmla="*/ 24257 w 419100"/>
                <a:gd name="connsiteY71" fmla="*/ 182958 h 295275"/>
                <a:gd name="connsiteX72" fmla="*/ 24257 w 419100"/>
                <a:gd name="connsiteY72" fmla="*/ 186653 h 295275"/>
                <a:gd name="connsiteX73" fmla="*/ 27947 w 419100"/>
                <a:gd name="connsiteY73" fmla="*/ 186653 h 295275"/>
                <a:gd name="connsiteX74" fmla="*/ 24257 w 419100"/>
                <a:gd name="connsiteY74" fmla="*/ 190339 h 295275"/>
                <a:gd name="connsiteX75" fmla="*/ 31636 w 419100"/>
                <a:gd name="connsiteY75" fmla="*/ 190339 h 295275"/>
                <a:gd name="connsiteX76" fmla="*/ 46393 w 419100"/>
                <a:gd name="connsiteY76" fmla="*/ 190339 h 295275"/>
                <a:gd name="connsiteX77" fmla="*/ 42703 w 419100"/>
                <a:gd name="connsiteY77" fmla="*/ 194035 h 295275"/>
                <a:gd name="connsiteX78" fmla="*/ 39014 w 419100"/>
                <a:gd name="connsiteY78" fmla="*/ 197721 h 295275"/>
                <a:gd name="connsiteX79" fmla="*/ 35325 w 419100"/>
                <a:gd name="connsiteY79" fmla="*/ 197721 h 295275"/>
                <a:gd name="connsiteX80" fmla="*/ 24257 w 419100"/>
                <a:gd name="connsiteY80" fmla="*/ 205103 h 295275"/>
                <a:gd name="connsiteX81" fmla="*/ 20568 w 419100"/>
                <a:gd name="connsiteY81" fmla="*/ 216171 h 295275"/>
                <a:gd name="connsiteX82" fmla="*/ 16879 w 419100"/>
                <a:gd name="connsiteY82" fmla="*/ 219867 h 295275"/>
                <a:gd name="connsiteX83" fmla="*/ 13190 w 419100"/>
                <a:gd name="connsiteY83" fmla="*/ 219867 h 295275"/>
                <a:gd name="connsiteX84" fmla="*/ 13190 w 419100"/>
                <a:gd name="connsiteY84" fmla="*/ 223553 h 295275"/>
                <a:gd name="connsiteX85" fmla="*/ 9501 w 419100"/>
                <a:gd name="connsiteY85" fmla="*/ 227249 h 295275"/>
                <a:gd name="connsiteX86" fmla="*/ 13190 w 419100"/>
                <a:gd name="connsiteY86" fmla="*/ 234631 h 295275"/>
                <a:gd name="connsiteX87" fmla="*/ 16879 w 419100"/>
                <a:gd name="connsiteY87" fmla="*/ 234631 h 295275"/>
                <a:gd name="connsiteX88" fmla="*/ 20568 w 419100"/>
                <a:gd name="connsiteY88" fmla="*/ 230935 h 295275"/>
                <a:gd name="connsiteX89" fmla="*/ 24257 w 419100"/>
                <a:gd name="connsiteY89" fmla="*/ 230935 h 295275"/>
                <a:gd name="connsiteX90" fmla="*/ 27947 w 419100"/>
                <a:gd name="connsiteY90" fmla="*/ 230935 h 295275"/>
                <a:gd name="connsiteX91" fmla="*/ 31636 w 419100"/>
                <a:gd name="connsiteY91" fmla="*/ 230935 h 295275"/>
                <a:gd name="connsiteX92" fmla="*/ 35325 w 419100"/>
                <a:gd name="connsiteY92" fmla="*/ 230935 h 295275"/>
                <a:gd name="connsiteX93" fmla="*/ 39014 w 419100"/>
                <a:gd name="connsiteY93" fmla="*/ 242013 h 295275"/>
                <a:gd name="connsiteX94" fmla="*/ 35325 w 419100"/>
                <a:gd name="connsiteY94" fmla="*/ 242013 h 295275"/>
                <a:gd name="connsiteX95" fmla="*/ 20568 w 419100"/>
                <a:gd name="connsiteY95" fmla="*/ 245699 h 295275"/>
                <a:gd name="connsiteX96" fmla="*/ 24257 w 419100"/>
                <a:gd name="connsiteY96" fmla="*/ 249394 h 295275"/>
                <a:gd name="connsiteX97" fmla="*/ 27947 w 419100"/>
                <a:gd name="connsiteY97" fmla="*/ 256776 h 295275"/>
                <a:gd name="connsiteX98" fmla="*/ 31636 w 419100"/>
                <a:gd name="connsiteY98" fmla="*/ 264149 h 295275"/>
                <a:gd name="connsiteX99" fmla="*/ 35325 w 419100"/>
                <a:gd name="connsiteY99" fmla="*/ 267844 h 295275"/>
                <a:gd name="connsiteX100" fmla="*/ 39014 w 419100"/>
                <a:gd name="connsiteY100" fmla="*/ 271531 h 295275"/>
                <a:gd name="connsiteX101" fmla="*/ 42703 w 419100"/>
                <a:gd name="connsiteY101" fmla="*/ 275226 h 295275"/>
                <a:gd name="connsiteX102" fmla="*/ 42703 w 419100"/>
                <a:gd name="connsiteY102" fmla="*/ 278912 h 295275"/>
                <a:gd name="connsiteX103" fmla="*/ 46393 w 419100"/>
                <a:gd name="connsiteY103" fmla="*/ 282608 h 295275"/>
                <a:gd name="connsiteX104" fmla="*/ 46393 w 419100"/>
                <a:gd name="connsiteY104" fmla="*/ 289990 h 295275"/>
                <a:gd name="connsiteX105" fmla="*/ 46393 w 419100"/>
                <a:gd name="connsiteY105" fmla="*/ 293676 h 295275"/>
                <a:gd name="connsiteX106" fmla="*/ 50082 w 419100"/>
                <a:gd name="connsiteY106" fmla="*/ 293676 h 295275"/>
                <a:gd name="connsiteX107" fmla="*/ 57460 w 419100"/>
                <a:gd name="connsiteY107" fmla="*/ 293676 h 295275"/>
                <a:gd name="connsiteX108" fmla="*/ 61149 w 419100"/>
                <a:gd name="connsiteY108" fmla="*/ 293676 h 295275"/>
                <a:gd name="connsiteX109" fmla="*/ 64838 w 419100"/>
                <a:gd name="connsiteY109" fmla="*/ 289990 h 295275"/>
                <a:gd name="connsiteX110" fmla="*/ 68527 w 419100"/>
                <a:gd name="connsiteY110" fmla="*/ 289990 h 295275"/>
                <a:gd name="connsiteX111" fmla="*/ 68527 w 419100"/>
                <a:gd name="connsiteY111" fmla="*/ 286294 h 295275"/>
                <a:gd name="connsiteX112" fmla="*/ 72217 w 419100"/>
                <a:gd name="connsiteY112" fmla="*/ 286294 h 295275"/>
                <a:gd name="connsiteX113" fmla="*/ 75906 w 419100"/>
                <a:gd name="connsiteY113" fmla="*/ 278912 h 295275"/>
                <a:gd name="connsiteX114" fmla="*/ 79595 w 419100"/>
                <a:gd name="connsiteY114" fmla="*/ 275226 h 295275"/>
                <a:gd name="connsiteX115" fmla="*/ 83284 w 419100"/>
                <a:gd name="connsiteY115" fmla="*/ 275226 h 295275"/>
                <a:gd name="connsiteX116" fmla="*/ 86973 w 419100"/>
                <a:gd name="connsiteY116" fmla="*/ 275226 h 295275"/>
                <a:gd name="connsiteX117" fmla="*/ 90662 w 419100"/>
                <a:gd name="connsiteY117" fmla="*/ 278912 h 295275"/>
                <a:gd name="connsiteX118" fmla="*/ 94351 w 419100"/>
                <a:gd name="connsiteY118" fmla="*/ 278912 h 295275"/>
                <a:gd name="connsiteX119" fmla="*/ 98041 w 419100"/>
                <a:gd name="connsiteY119" fmla="*/ 275226 h 295275"/>
                <a:gd name="connsiteX120" fmla="*/ 98041 w 419100"/>
                <a:gd name="connsiteY120" fmla="*/ 271531 h 295275"/>
                <a:gd name="connsiteX121" fmla="*/ 101730 w 419100"/>
                <a:gd name="connsiteY121" fmla="*/ 267844 h 295275"/>
                <a:gd name="connsiteX122" fmla="*/ 105419 w 419100"/>
                <a:gd name="connsiteY122" fmla="*/ 264149 h 295275"/>
                <a:gd name="connsiteX123" fmla="*/ 109108 w 419100"/>
                <a:gd name="connsiteY123" fmla="*/ 264149 h 295275"/>
                <a:gd name="connsiteX124" fmla="*/ 112797 w 419100"/>
                <a:gd name="connsiteY124" fmla="*/ 264149 h 295275"/>
                <a:gd name="connsiteX125" fmla="*/ 120176 w 419100"/>
                <a:gd name="connsiteY125" fmla="*/ 271531 h 295275"/>
                <a:gd name="connsiteX126" fmla="*/ 123865 w 419100"/>
                <a:gd name="connsiteY126" fmla="*/ 271531 h 295275"/>
                <a:gd name="connsiteX127" fmla="*/ 127554 w 419100"/>
                <a:gd name="connsiteY127" fmla="*/ 267844 h 295275"/>
                <a:gd name="connsiteX128" fmla="*/ 127554 w 419100"/>
                <a:gd name="connsiteY128" fmla="*/ 264149 h 295275"/>
                <a:gd name="connsiteX129" fmla="*/ 131243 w 419100"/>
                <a:gd name="connsiteY129" fmla="*/ 264149 h 295275"/>
                <a:gd name="connsiteX130" fmla="*/ 134932 w 419100"/>
                <a:gd name="connsiteY130" fmla="*/ 264149 h 295275"/>
                <a:gd name="connsiteX131" fmla="*/ 138621 w 419100"/>
                <a:gd name="connsiteY131" fmla="*/ 275226 h 295275"/>
                <a:gd name="connsiteX132" fmla="*/ 134932 w 419100"/>
                <a:gd name="connsiteY132" fmla="*/ 282608 h 295275"/>
                <a:gd name="connsiteX133" fmla="*/ 149690 w 419100"/>
                <a:gd name="connsiteY133" fmla="*/ 286294 h 295275"/>
                <a:gd name="connsiteX134" fmla="*/ 157068 w 419100"/>
                <a:gd name="connsiteY134" fmla="*/ 289990 h 295275"/>
                <a:gd name="connsiteX135" fmla="*/ 171825 w 419100"/>
                <a:gd name="connsiteY135" fmla="*/ 297372 h 295275"/>
                <a:gd name="connsiteX136" fmla="*/ 175514 w 419100"/>
                <a:gd name="connsiteY136" fmla="*/ 297372 h 295275"/>
                <a:gd name="connsiteX137" fmla="*/ 179203 w 419100"/>
                <a:gd name="connsiteY137" fmla="*/ 297372 h 295275"/>
                <a:gd name="connsiteX138" fmla="*/ 182892 w 419100"/>
                <a:gd name="connsiteY138" fmla="*/ 297372 h 295275"/>
                <a:gd name="connsiteX139" fmla="*/ 190271 w 419100"/>
                <a:gd name="connsiteY139" fmla="*/ 289990 h 295275"/>
                <a:gd name="connsiteX140" fmla="*/ 193960 w 419100"/>
                <a:gd name="connsiteY140" fmla="*/ 278912 h 295275"/>
                <a:gd name="connsiteX141" fmla="*/ 197649 w 419100"/>
                <a:gd name="connsiteY141" fmla="*/ 271531 h 295275"/>
                <a:gd name="connsiteX142" fmla="*/ 201338 w 419100"/>
                <a:gd name="connsiteY142" fmla="*/ 275226 h 295275"/>
                <a:gd name="connsiteX143" fmla="*/ 205027 w 419100"/>
                <a:gd name="connsiteY143" fmla="*/ 278912 h 295275"/>
                <a:gd name="connsiteX144" fmla="*/ 208716 w 419100"/>
                <a:gd name="connsiteY144" fmla="*/ 278912 h 295275"/>
                <a:gd name="connsiteX145" fmla="*/ 212406 w 419100"/>
                <a:gd name="connsiteY145" fmla="*/ 278912 h 295275"/>
                <a:gd name="connsiteX146" fmla="*/ 216095 w 419100"/>
                <a:gd name="connsiteY146" fmla="*/ 275226 h 295275"/>
                <a:gd name="connsiteX147" fmla="*/ 219784 w 419100"/>
                <a:gd name="connsiteY147" fmla="*/ 271531 h 295275"/>
                <a:gd name="connsiteX148" fmla="*/ 219784 w 419100"/>
                <a:gd name="connsiteY148" fmla="*/ 264149 h 295275"/>
                <a:gd name="connsiteX149" fmla="*/ 223473 w 419100"/>
                <a:gd name="connsiteY149" fmla="*/ 264149 h 295275"/>
                <a:gd name="connsiteX150" fmla="*/ 227162 w 419100"/>
                <a:gd name="connsiteY150" fmla="*/ 264149 h 295275"/>
                <a:gd name="connsiteX151" fmla="*/ 234541 w 419100"/>
                <a:gd name="connsiteY151" fmla="*/ 267844 h 295275"/>
                <a:gd name="connsiteX152" fmla="*/ 241923 w 419100"/>
                <a:gd name="connsiteY152" fmla="*/ 275226 h 295275"/>
                <a:gd name="connsiteX153" fmla="*/ 245609 w 419100"/>
                <a:gd name="connsiteY153" fmla="*/ 275226 h 295275"/>
                <a:gd name="connsiteX154" fmla="*/ 256677 w 419100"/>
                <a:gd name="connsiteY154" fmla="*/ 275226 h 295275"/>
                <a:gd name="connsiteX155" fmla="*/ 260363 w 419100"/>
                <a:gd name="connsiteY155" fmla="*/ 278912 h 295275"/>
                <a:gd name="connsiteX156" fmla="*/ 264050 w 419100"/>
                <a:gd name="connsiteY156" fmla="*/ 282608 h 295275"/>
                <a:gd name="connsiteX157" fmla="*/ 267745 w 419100"/>
                <a:gd name="connsiteY157" fmla="*/ 282608 h 295275"/>
                <a:gd name="connsiteX158" fmla="*/ 271431 w 419100"/>
                <a:gd name="connsiteY158" fmla="*/ 278912 h 295275"/>
                <a:gd name="connsiteX159" fmla="*/ 275118 w 419100"/>
                <a:gd name="connsiteY159" fmla="*/ 278912 h 295275"/>
                <a:gd name="connsiteX160" fmla="*/ 275118 w 419100"/>
                <a:gd name="connsiteY160" fmla="*/ 275226 h 295275"/>
                <a:gd name="connsiteX161" fmla="*/ 278813 w 419100"/>
                <a:gd name="connsiteY161" fmla="*/ 271531 h 295275"/>
                <a:gd name="connsiteX162" fmla="*/ 282499 w 419100"/>
                <a:gd name="connsiteY162" fmla="*/ 271531 h 295275"/>
                <a:gd name="connsiteX163" fmla="*/ 286186 w 419100"/>
                <a:gd name="connsiteY163" fmla="*/ 267844 h 295275"/>
                <a:gd name="connsiteX164" fmla="*/ 293568 w 419100"/>
                <a:gd name="connsiteY164" fmla="*/ 271531 h 295275"/>
                <a:gd name="connsiteX165" fmla="*/ 297254 w 419100"/>
                <a:gd name="connsiteY165" fmla="*/ 271531 h 295275"/>
                <a:gd name="connsiteX166" fmla="*/ 300949 w 419100"/>
                <a:gd name="connsiteY166" fmla="*/ 267844 h 295275"/>
                <a:gd name="connsiteX167" fmla="*/ 304636 w 419100"/>
                <a:gd name="connsiteY167" fmla="*/ 267844 h 295275"/>
                <a:gd name="connsiteX168" fmla="*/ 312017 w 419100"/>
                <a:gd name="connsiteY168" fmla="*/ 264149 h 295275"/>
                <a:gd name="connsiteX169" fmla="*/ 315704 w 419100"/>
                <a:gd name="connsiteY169" fmla="*/ 264149 h 295275"/>
                <a:gd name="connsiteX170" fmla="*/ 319390 w 419100"/>
                <a:gd name="connsiteY170" fmla="*/ 260462 h 295275"/>
                <a:gd name="connsiteX171" fmla="*/ 323086 w 419100"/>
                <a:gd name="connsiteY171" fmla="*/ 256776 h 295275"/>
                <a:gd name="connsiteX172" fmla="*/ 326772 w 419100"/>
                <a:gd name="connsiteY172" fmla="*/ 256776 h 295275"/>
                <a:gd name="connsiteX173" fmla="*/ 330458 w 419100"/>
                <a:gd name="connsiteY173" fmla="*/ 260462 h 295275"/>
                <a:gd name="connsiteX174" fmla="*/ 341526 w 419100"/>
                <a:gd name="connsiteY174" fmla="*/ 260462 h 295275"/>
                <a:gd name="connsiteX175" fmla="*/ 345212 w 419100"/>
                <a:gd name="connsiteY175" fmla="*/ 260462 h 295275"/>
                <a:gd name="connsiteX176" fmla="*/ 348908 w 419100"/>
                <a:gd name="connsiteY176" fmla="*/ 260462 h 295275"/>
                <a:gd name="connsiteX177" fmla="*/ 352594 w 419100"/>
                <a:gd name="connsiteY177" fmla="*/ 264149 h 295275"/>
                <a:gd name="connsiteX178" fmla="*/ 359976 w 419100"/>
                <a:gd name="connsiteY178" fmla="*/ 267844 h 295275"/>
                <a:gd name="connsiteX179" fmla="*/ 363662 w 419100"/>
                <a:gd name="connsiteY179" fmla="*/ 267844 h 295275"/>
                <a:gd name="connsiteX180" fmla="*/ 367348 w 419100"/>
                <a:gd name="connsiteY180" fmla="*/ 271531 h 295275"/>
                <a:gd name="connsiteX181" fmla="*/ 371044 w 419100"/>
                <a:gd name="connsiteY181" fmla="*/ 271531 h 295275"/>
                <a:gd name="connsiteX182" fmla="*/ 374730 w 419100"/>
                <a:gd name="connsiteY182" fmla="*/ 271531 h 295275"/>
                <a:gd name="connsiteX183" fmla="*/ 378416 w 419100"/>
                <a:gd name="connsiteY183" fmla="*/ 278912 h 295275"/>
                <a:gd name="connsiteX184" fmla="*/ 385798 w 419100"/>
                <a:gd name="connsiteY184" fmla="*/ 282608 h 295275"/>
                <a:gd name="connsiteX185" fmla="*/ 396866 w 419100"/>
                <a:gd name="connsiteY185" fmla="*/ 286294 h 295275"/>
                <a:gd name="connsiteX186" fmla="*/ 404239 w 419100"/>
                <a:gd name="connsiteY186" fmla="*/ 289990 h 295275"/>
                <a:gd name="connsiteX187" fmla="*/ 411620 w 419100"/>
                <a:gd name="connsiteY187" fmla="*/ 286294 h 295275"/>
                <a:gd name="connsiteX188" fmla="*/ 415307 w 419100"/>
                <a:gd name="connsiteY188" fmla="*/ 282608 h 295275"/>
                <a:gd name="connsiteX189" fmla="*/ 415307 w 419100"/>
                <a:gd name="connsiteY189" fmla="*/ 278912 h 295275"/>
                <a:gd name="connsiteX190" fmla="*/ 415307 w 419100"/>
                <a:gd name="connsiteY190" fmla="*/ 275226 h 295275"/>
                <a:gd name="connsiteX191" fmla="*/ 411620 w 419100"/>
                <a:gd name="connsiteY191" fmla="*/ 271531 h 295275"/>
                <a:gd name="connsiteX192" fmla="*/ 415307 w 419100"/>
                <a:gd name="connsiteY192" fmla="*/ 267844 h 295275"/>
                <a:gd name="connsiteX193" fmla="*/ 411620 w 419100"/>
                <a:gd name="connsiteY193" fmla="*/ 264149 h 295275"/>
                <a:gd name="connsiteX194" fmla="*/ 411620 w 419100"/>
                <a:gd name="connsiteY194" fmla="*/ 260462 h 295275"/>
                <a:gd name="connsiteX195" fmla="*/ 407934 w 419100"/>
                <a:gd name="connsiteY195" fmla="*/ 253081 h 295275"/>
                <a:gd name="connsiteX196" fmla="*/ 407934 w 419100"/>
                <a:gd name="connsiteY196" fmla="*/ 249394 h 295275"/>
                <a:gd name="connsiteX197" fmla="*/ 404239 w 419100"/>
                <a:gd name="connsiteY197" fmla="*/ 249394 h 295275"/>
                <a:gd name="connsiteX198" fmla="*/ 400552 w 419100"/>
                <a:gd name="connsiteY198" fmla="*/ 245699 h 295275"/>
                <a:gd name="connsiteX199" fmla="*/ 396866 w 419100"/>
                <a:gd name="connsiteY199" fmla="*/ 242013 h 295275"/>
                <a:gd name="connsiteX200" fmla="*/ 396866 w 419100"/>
                <a:gd name="connsiteY200" fmla="*/ 238317 h 295275"/>
                <a:gd name="connsiteX201" fmla="*/ 396866 w 419100"/>
                <a:gd name="connsiteY201" fmla="*/ 234631 h 295275"/>
                <a:gd name="connsiteX202" fmla="*/ 396866 w 419100"/>
                <a:gd name="connsiteY202" fmla="*/ 230935 h 295275"/>
                <a:gd name="connsiteX203" fmla="*/ 396866 w 419100"/>
                <a:gd name="connsiteY203" fmla="*/ 219867 h 295275"/>
                <a:gd name="connsiteX204" fmla="*/ 385798 w 419100"/>
                <a:gd name="connsiteY204" fmla="*/ 212485 h 295275"/>
                <a:gd name="connsiteX205" fmla="*/ 389484 w 419100"/>
                <a:gd name="connsiteY205" fmla="*/ 212485 h 295275"/>
                <a:gd name="connsiteX206" fmla="*/ 389484 w 419100"/>
                <a:gd name="connsiteY206" fmla="*/ 208799 h 295275"/>
                <a:gd name="connsiteX207" fmla="*/ 382112 w 419100"/>
                <a:gd name="connsiteY207" fmla="*/ 208799 h 295275"/>
                <a:gd name="connsiteX208" fmla="*/ 382112 w 419100"/>
                <a:gd name="connsiteY208" fmla="*/ 190339 h 295275"/>
                <a:gd name="connsiteX209" fmla="*/ 382112 w 419100"/>
                <a:gd name="connsiteY209" fmla="*/ 186653 h 295275"/>
                <a:gd name="connsiteX210" fmla="*/ 385798 w 419100"/>
                <a:gd name="connsiteY210" fmla="*/ 182958 h 295275"/>
                <a:gd name="connsiteX211" fmla="*/ 382112 w 419100"/>
                <a:gd name="connsiteY211" fmla="*/ 179271 h 295275"/>
                <a:gd name="connsiteX212" fmla="*/ 382112 w 419100"/>
                <a:gd name="connsiteY212" fmla="*/ 175576 h 295275"/>
                <a:gd name="connsiteX213" fmla="*/ 382112 w 419100"/>
                <a:gd name="connsiteY213" fmla="*/ 171890 h 295275"/>
                <a:gd name="connsiteX214" fmla="*/ 382112 w 419100"/>
                <a:gd name="connsiteY214" fmla="*/ 168194 h 295275"/>
                <a:gd name="connsiteX215" fmla="*/ 378416 w 419100"/>
                <a:gd name="connsiteY215" fmla="*/ 160821 h 295275"/>
                <a:gd name="connsiteX216" fmla="*/ 367348 w 419100"/>
                <a:gd name="connsiteY216" fmla="*/ 164508 h 295275"/>
                <a:gd name="connsiteX217" fmla="*/ 371044 w 419100"/>
                <a:gd name="connsiteY217" fmla="*/ 168194 h 295275"/>
                <a:gd name="connsiteX218" fmla="*/ 371044 w 419100"/>
                <a:gd name="connsiteY218" fmla="*/ 171890 h 295275"/>
                <a:gd name="connsiteX219" fmla="*/ 371044 w 419100"/>
                <a:gd name="connsiteY219" fmla="*/ 175576 h 295275"/>
                <a:gd name="connsiteX220" fmla="*/ 367348 w 419100"/>
                <a:gd name="connsiteY220" fmla="*/ 175576 h 295275"/>
                <a:gd name="connsiteX221" fmla="*/ 367348 w 419100"/>
                <a:gd name="connsiteY221" fmla="*/ 179271 h 295275"/>
                <a:gd name="connsiteX222" fmla="*/ 363662 w 419100"/>
                <a:gd name="connsiteY222" fmla="*/ 182958 h 295275"/>
                <a:gd name="connsiteX223" fmla="*/ 359976 w 419100"/>
                <a:gd name="connsiteY223" fmla="*/ 182958 h 295275"/>
                <a:gd name="connsiteX224" fmla="*/ 356280 w 419100"/>
                <a:gd name="connsiteY224" fmla="*/ 186653 h 295275"/>
                <a:gd name="connsiteX225" fmla="*/ 352594 w 419100"/>
                <a:gd name="connsiteY225" fmla="*/ 190339 h 295275"/>
                <a:gd name="connsiteX226" fmla="*/ 348908 w 419100"/>
                <a:gd name="connsiteY226" fmla="*/ 190339 h 295275"/>
                <a:gd name="connsiteX227" fmla="*/ 345212 w 419100"/>
                <a:gd name="connsiteY227" fmla="*/ 190339 h 295275"/>
                <a:gd name="connsiteX228" fmla="*/ 337840 w 419100"/>
                <a:gd name="connsiteY228" fmla="*/ 186653 h 295275"/>
                <a:gd name="connsiteX229" fmla="*/ 334144 w 419100"/>
                <a:gd name="connsiteY229" fmla="*/ 182958 h 295275"/>
                <a:gd name="connsiteX230" fmla="*/ 334144 w 419100"/>
                <a:gd name="connsiteY230" fmla="*/ 179271 h 295275"/>
                <a:gd name="connsiteX231" fmla="*/ 337840 w 419100"/>
                <a:gd name="connsiteY231" fmla="*/ 179271 h 295275"/>
                <a:gd name="connsiteX232" fmla="*/ 341526 w 419100"/>
                <a:gd name="connsiteY232" fmla="*/ 175576 h 295275"/>
                <a:gd name="connsiteX233" fmla="*/ 345212 w 419100"/>
                <a:gd name="connsiteY233" fmla="*/ 171890 h 295275"/>
                <a:gd name="connsiteX234" fmla="*/ 345212 w 419100"/>
                <a:gd name="connsiteY234" fmla="*/ 168194 h 295275"/>
                <a:gd name="connsiteX235" fmla="*/ 345212 w 419100"/>
                <a:gd name="connsiteY235" fmla="*/ 160821 h 295275"/>
                <a:gd name="connsiteX236" fmla="*/ 348908 w 419100"/>
                <a:gd name="connsiteY236" fmla="*/ 157126 h 295275"/>
                <a:gd name="connsiteX237" fmla="*/ 348908 w 419100"/>
                <a:gd name="connsiteY237" fmla="*/ 153440 h 295275"/>
                <a:gd name="connsiteX238" fmla="*/ 352594 w 419100"/>
                <a:gd name="connsiteY238" fmla="*/ 153440 h 295275"/>
                <a:gd name="connsiteX239" fmla="*/ 356280 w 419100"/>
                <a:gd name="connsiteY239" fmla="*/ 153440 h 295275"/>
                <a:gd name="connsiteX240" fmla="*/ 356280 w 419100"/>
                <a:gd name="connsiteY240" fmla="*/ 149744 h 295275"/>
                <a:gd name="connsiteX241" fmla="*/ 352594 w 419100"/>
                <a:gd name="connsiteY241" fmla="*/ 149744 h 295275"/>
                <a:gd name="connsiteX242" fmla="*/ 352594 w 419100"/>
                <a:gd name="connsiteY242" fmla="*/ 146058 h 295275"/>
                <a:gd name="connsiteX243" fmla="*/ 352594 w 419100"/>
                <a:gd name="connsiteY243" fmla="*/ 142362 h 295275"/>
                <a:gd name="connsiteX244" fmla="*/ 359976 w 419100"/>
                <a:gd name="connsiteY244" fmla="*/ 142362 h 295275"/>
                <a:gd name="connsiteX245" fmla="*/ 359976 w 419100"/>
                <a:gd name="connsiteY245" fmla="*/ 138676 h 295275"/>
                <a:gd name="connsiteX246" fmla="*/ 359976 w 419100"/>
                <a:gd name="connsiteY246" fmla="*/ 134980 h 295275"/>
                <a:gd name="connsiteX247" fmla="*/ 352594 w 419100"/>
                <a:gd name="connsiteY247" fmla="*/ 134980 h 295275"/>
                <a:gd name="connsiteX248" fmla="*/ 352594 w 419100"/>
                <a:gd name="connsiteY248" fmla="*/ 127598 h 295275"/>
                <a:gd name="connsiteX249" fmla="*/ 348908 w 419100"/>
                <a:gd name="connsiteY249" fmla="*/ 127598 h 295275"/>
                <a:gd name="connsiteX250" fmla="*/ 345212 w 419100"/>
                <a:gd name="connsiteY250" fmla="*/ 127598 h 295275"/>
                <a:gd name="connsiteX251" fmla="*/ 345212 w 419100"/>
                <a:gd name="connsiteY251" fmla="*/ 123912 h 295275"/>
                <a:gd name="connsiteX252" fmla="*/ 345212 w 419100"/>
                <a:gd name="connsiteY252" fmla="*/ 120216 h 295275"/>
                <a:gd name="connsiteX253" fmla="*/ 341526 w 419100"/>
                <a:gd name="connsiteY253" fmla="*/ 116530 h 295275"/>
                <a:gd name="connsiteX254" fmla="*/ 345212 w 419100"/>
                <a:gd name="connsiteY254" fmla="*/ 116530 h 295275"/>
                <a:gd name="connsiteX255" fmla="*/ 345212 w 419100"/>
                <a:gd name="connsiteY255" fmla="*/ 112844 h 295275"/>
                <a:gd name="connsiteX256" fmla="*/ 326772 w 419100"/>
                <a:gd name="connsiteY256" fmla="*/ 112844 h 295275"/>
                <a:gd name="connsiteX257" fmla="*/ 323086 w 419100"/>
                <a:gd name="connsiteY257" fmla="*/ 109148 h 295275"/>
                <a:gd name="connsiteX258" fmla="*/ 323086 w 419100"/>
                <a:gd name="connsiteY258" fmla="*/ 98080 h 295275"/>
                <a:gd name="connsiteX259" fmla="*/ 323086 w 419100"/>
                <a:gd name="connsiteY259" fmla="*/ 94385 h 295275"/>
                <a:gd name="connsiteX260" fmla="*/ 323086 w 419100"/>
                <a:gd name="connsiteY260" fmla="*/ 90698 h 295275"/>
                <a:gd name="connsiteX261" fmla="*/ 323086 w 419100"/>
                <a:gd name="connsiteY261" fmla="*/ 87003 h 295275"/>
                <a:gd name="connsiteX262" fmla="*/ 323086 w 419100"/>
                <a:gd name="connsiteY262" fmla="*/ 83316 h 295275"/>
                <a:gd name="connsiteX263" fmla="*/ 308322 w 419100"/>
                <a:gd name="connsiteY263" fmla="*/ 72239 h 295275"/>
                <a:gd name="connsiteX264" fmla="*/ 308322 w 419100"/>
                <a:gd name="connsiteY264" fmla="*/ 75935 h 295275"/>
                <a:gd name="connsiteX265" fmla="*/ 300949 w 419100"/>
                <a:gd name="connsiteY265" fmla="*/ 72239 h 295275"/>
                <a:gd name="connsiteX266" fmla="*/ 300949 w 419100"/>
                <a:gd name="connsiteY266" fmla="*/ 68553 h 295275"/>
                <a:gd name="connsiteX267" fmla="*/ 304636 w 419100"/>
                <a:gd name="connsiteY267" fmla="*/ 50103 h 295275"/>
                <a:gd name="connsiteX268" fmla="*/ 300949 w 419100"/>
                <a:gd name="connsiteY268" fmla="*/ 46407 h 295275"/>
                <a:gd name="connsiteX269" fmla="*/ 297254 w 419100"/>
                <a:gd name="connsiteY269" fmla="*/ 42721 h 295275"/>
                <a:gd name="connsiteX270" fmla="*/ 293568 w 419100"/>
                <a:gd name="connsiteY270" fmla="*/ 39025 h 295275"/>
                <a:gd name="connsiteX271" fmla="*/ 289881 w 419100"/>
                <a:gd name="connsiteY271" fmla="*/ 39025 h 295275"/>
                <a:gd name="connsiteX272" fmla="*/ 289881 w 419100"/>
                <a:gd name="connsiteY272" fmla="*/ 35339 h 295275"/>
                <a:gd name="connsiteX273" fmla="*/ 286186 w 419100"/>
                <a:gd name="connsiteY273" fmla="*/ 31643 h 295275"/>
                <a:gd name="connsiteX274" fmla="*/ 282499 w 419100"/>
                <a:gd name="connsiteY274" fmla="*/ 31643 h 295275"/>
                <a:gd name="connsiteX275" fmla="*/ 278813 w 419100"/>
                <a:gd name="connsiteY275" fmla="*/ 31643 h 295275"/>
                <a:gd name="connsiteX276" fmla="*/ 275118 w 419100"/>
                <a:gd name="connsiteY276" fmla="*/ 31643 h 295275"/>
                <a:gd name="connsiteX277" fmla="*/ 271431 w 419100"/>
                <a:gd name="connsiteY277" fmla="*/ 27957 h 295275"/>
                <a:gd name="connsiteX278" fmla="*/ 264050 w 419100"/>
                <a:gd name="connsiteY278" fmla="*/ 27957 h 295275"/>
                <a:gd name="connsiteX279" fmla="*/ 260363 w 419100"/>
                <a:gd name="connsiteY279" fmla="*/ 24262 h 295275"/>
                <a:gd name="connsiteX280" fmla="*/ 245609 w 419100"/>
                <a:gd name="connsiteY280" fmla="*/ 24262 h 295275"/>
                <a:gd name="connsiteX281" fmla="*/ 238227 w 419100"/>
                <a:gd name="connsiteY281" fmla="*/ 20575 h 295275"/>
                <a:gd name="connsiteX282" fmla="*/ 227162 w 419100"/>
                <a:gd name="connsiteY282" fmla="*/ 42721 h 295275"/>
                <a:gd name="connsiteX283" fmla="*/ 227162 w 419100"/>
                <a:gd name="connsiteY283" fmla="*/ 46407 h 295275"/>
                <a:gd name="connsiteX284" fmla="*/ 227162 w 419100"/>
                <a:gd name="connsiteY284" fmla="*/ 50103 h 295275"/>
                <a:gd name="connsiteX285" fmla="*/ 223473 w 419100"/>
                <a:gd name="connsiteY285" fmla="*/ 57485 h 295275"/>
                <a:gd name="connsiteX286" fmla="*/ 219784 w 419100"/>
                <a:gd name="connsiteY286" fmla="*/ 68553 h 295275"/>
                <a:gd name="connsiteX287" fmla="*/ 216095 w 419100"/>
                <a:gd name="connsiteY287" fmla="*/ 75935 h 295275"/>
                <a:gd name="connsiteX288" fmla="*/ 216095 w 419100"/>
                <a:gd name="connsiteY288" fmla="*/ 83316 h 295275"/>
                <a:gd name="connsiteX289" fmla="*/ 212406 w 419100"/>
                <a:gd name="connsiteY289" fmla="*/ 87003 h 295275"/>
                <a:gd name="connsiteX290" fmla="*/ 212406 w 419100"/>
                <a:gd name="connsiteY290" fmla="*/ 90698 h 295275"/>
                <a:gd name="connsiteX291" fmla="*/ 205027 w 419100"/>
                <a:gd name="connsiteY291" fmla="*/ 105462 h 295275"/>
                <a:gd name="connsiteX292" fmla="*/ 197649 w 419100"/>
                <a:gd name="connsiteY292" fmla="*/ 105462 h 295275"/>
                <a:gd name="connsiteX293" fmla="*/ 193960 w 419100"/>
                <a:gd name="connsiteY293" fmla="*/ 105462 h 295275"/>
                <a:gd name="connsiteX294" fmla="*/ 190271 w 419100"/>
                <a:gd name="connsiteY294" fmla="*/ 105462 h 295275"/>
                <a:gd name="connsiteX295" fmla="*/ 168136 w 419100"/>
                <a:gd name="connsiteY295" fmla="*/ 101766 h 295275"/>
                <a:gd name="connsiteX296" fmla="*/ 164447 w 419100"/>
                <a:gd name="connsiteY296" fmla="*/ 101766 h 295275"/>
                <a:gd name="connsiteX297" fmla="*/ 146001 w 419100"/>
                <a:gd name="connsiteY297" fmla="*/ 109148 h 295275"/>
                <a:gd name="connsiteX298" fmla="*/ 131243 w 419100"/>
                <a:gd name="connsiteY298" fmla="*/ 112844 h 295275"/>
                <a:gd name="connsiteX299" fmla="*/ 131243 w 419100"/>
                <a:gd name="connsiteY299" fmla="*/ 98080 h 295275"/>
                <a:gd name="connsiteX300" fmla="*/ 127554 w 419100"/>
                <a:gd name="connsiteY300" fmla="*/ 98080 h 295275"/>
                <a:gd name="connsiteX301" fmla="*/ 127554 w 419100"/>
                <a:gd name="connsiteY301" fmla="*/ 90698 h 295275"/>
                <a:gd name="connsiteX302" fmla="*/ 127554 w 419100"/>
                <a:gd name="connsiteY302" fmla="*/ 87003 h 295275"/>
                <a:gd name="connsiteX303" fmla="*/ 123865 w 419100"/>
                <a:gd name="connsiteY303" fmla="*/ 87003 h 295275"/>
                <a:gd name="connsiteX304" fmla="*/ 120176 w 419100"/>
                <a:gd name="connsiteY304" fmla="*/ 83316 h 295275"/>
                <a:gd name="connsiteX305" fmla="*/ 127554 w 419100"/>
                <a:gd name="connsiteY305" fmla="*/ 83316 h 295275"/>
                <a:gd name="connsiteX306" fmla="*/ 127554 w 419100"/>
                <a:gd name="connsiteY306" fmla="*/ 79621 h 295275"/>
                <a:gd name="connsiteX307" fmla="*/ 127554 w 419100"/>
                <a:gd name="connsiteY307" fmla="*/ 75935 h 295275"/>
                <a:gd name="connsiteX308" fmla="*/ 127554 w 419100"/>
                <a:gd name="connsiteY308" fmla="*/ 68553 h 295275"/>
                <a:gd name="connsiteX309" fmla="*/ 127554 w 419100"/>
                <a:gd name="connsiteY309" fmla="*/ 61171 h 295275"/>
                <a:gd name="connsiteX310" fmla="*/ 131243 w 419100"/>
                <a:gd name="connsiteY310" fmla="*/ 61171 h 295275"/>
                <a:gd name="connsiteX311" fmla="*/ 138621 w 419100"/>
                <a:gd name="connsiteY311" fmla="*/ 57485 h 295275"/>
                <a:gd name="connsiteX312" fmla="*/ 131243 w 419100"/>
                <a:gd name="connsiteY312" fmla="*/ 53789 h 295275"/>
                <a:gd name="connsiteX313" fmla="*/ 131243 w 419100"/>
                <a:gd name="connsiteY313" fmla="*/ 46407 h 295275"/>
                <a:gd name="connsiteX314" fmla="*/ 131243 w 419100"/>
                <a:gd name="connsiteY314" fmla="*/ 42721 h 295275"/>
                <a:gd name="connsiteX315" fmla="*/ 127554 w 419100"/>
                <a:gd name="connsiteY315" fmla="*/ 42721 h 295275"/>
                <a:gd name="connsiteX316" fmla="*/ 127554 w 419100"/>
                <a:gd name="connsiteY316" fmla="*/ 46407 h 295275"/>
                <a:gd name="connsiteX317" fmla="*/ 123865 w 419100"/>
                <a:gd name="connsiteY317" fmla="*/ 42721 h 295275"/>
                <a:gd name="connsiteX318" fmla="*/ 120176 w 419100"/>
                <a:gd name="connsiteY318" fmla="*/ 31643 h 295275"/>
                <a:gd name="connsiteX319" fmla="*/ 120176 w 419100"/>
                <a:gd name="connsiteY319" fmla="*/ 27957 h 295275"/>
                <a:gd name="connsiteX320" fmla="*/ 123865 w 419100"/>
                <a:gd name="connsiteY320" fmla="*/ 27957 h 295275"/>
                <a:gd name="connsiteX321" fmla="*/ 127554 w 419100"/>
                <a:gd name="connsiteY321" fmla="*/ 27957 h 295275"/>
                <a:gd name="connsiteX322" fmla="*/ 127554 w 419100"/>
                <a:gd name="connsiteY322" fmla="*/ 24262 h 295275"/>
                <a:gd name="connsiteX323" fmla="*/ 131243 w 419100"/>
                <a:gd name="connsiteY323" fmla="*/ 24262 h 295275"/>
                <a:gd name="connsiteX324" fmla="*/ 134932 w 419100"/>
                <a:gd name="connsiteY324" fmla="*/ 24262 h 295275"/>
                <a:gd name="connsiteX325" fmla="*/ 134932 w 419100"/>
                <a:gd name="connsiteY325" fmla="*/ 20575 h 295275"/>
                <a:gd name="connsiteX326" fmla="*/ 138621 w 419100"/>
                <a:gd name="connsiteY326" fmla="*/ 20575 h 295275"/>
                <a:gd name="connsiteX327" fmla="*/ 142312 w 419100"/>
                <a:gd name="connsiteY327" fmla="*/ 20575 h 295275"/>
                <a:gd name="connsiteX328" fmla="*/ 138621 w 419100"/>
                <a:gd name="connsiteY328" fmla="*/ 16889 h 295275"/>
                <a:gd name="connsiteX329" fmla="*/ 134932 w 419100"/>
                <a:gd name="connsiteY329" fmla="*/ 16889 h 295275"/>
                <a:gd name="connsiteX330" fmla="*/ 131243 w 419100"/>
                <a:gd name="connsiteY330" fmla="*/ 20575 h 295275"/>
                <a:gd name="connsiteX331" fmla="*/ 127554 w 419100"/>
                <a:gd name="connsiteY331" fmla="*/ 20575 h 295275"/>
                <a:gd name="connsiteX332" fmla="*/ 123865 w 419100"/>
                <a:gd name="connsiteY332" fmla="*/ 16889 h 295275"/>
                <a:gd name="connsiteX333" fmla="*/ 120176 w 419100"/>
                <a:gd name="connsiteY333" fmla="*/ 20575 h 295275"/>
                <a:gd name="connsiteX334" fmla="*/ 120176 w 419100"/>
                <a:gd name="connsiteY334" fmla="*/ 5812 h 295275"/>
                <a:gd name="connsiteX335" fmla="*/ 116486 w 419100"/>
                <a:gd name="connsiteY335" fmla="*/ 5812 h 295275"/>
                <a:gd name="connsiteX336" fmla="*/ 112797 w 419100"/>
                <a:gd name="connsiteY336" fmla="*/ 5812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419100" h="295275">
                  <a:moveTo>
                    <a:pt x="112797" y="5812"/>
                  </a:moveTo>
                  <a:lnTo>
                    <a:pt x="112797" y="9507"/>
                  </a:lnTo>
                  <a:lnTo>
                    <a:pt x="109108" y="9507"/>
                  </a:lnTo>
                  <a:lnTo>
                    <a:pt x="109108" y="13193"/>
                  </a:lnTo>
                  <a:lnTo>
                    <a:pt x="109108" y="16889"/>
                  </a:lnTo>
                  <a:lnTo>
                    <a:pt x="101730" y="13193"/>
                  </a:lnTo>
                  <a:lnTo>
                    <a:pt x="101730" y="16889"/>
                  </a:lnTo>
                  <a:lnTo>
                    <a:pt x="94351" y="20575"/>
                  </a:lnTo>
                  <a:lnTo>
                    <a:pt x="94351" y="24262"/>
                  </a:lnTo>
                  <a:lnTo>
                    <a:pt x="90662" y="24262"/>
                  </a:lnTo>
                  <a:lnTo>
                    <a:pt x="86973" y="24262"/>
                  </a:lnTo>
                  <a:lnTo>
                    <a:pt x="83284" y="24262"/>
                  </a:lnTo>
                  <a:lnTo>
                    <a:pt x="75906" y="20575"/>
                  </a:lnTo>
                  <a:lnTo>
                    <a:pt x="72217" y="24262"/>
                  </a:lnTo>
                  <a:lnTo>
                    <a:pt x="72217" y="27957"/>
                  </a:lnTo>
                  <a:lnTo>
                    <a:pt x="75906" y="31643"/>
                  </a:lnTo>
                  <a:lnTo>
                    <a:pt x="72217" y="35339"/>
                  </a:lnTo>
                  <a:lnTo>
                    <a:pt x="68527" y="39025"/>
                  </a:lnTo>
                  <a:lnTo>
                    <a:pt x="68527" y="42721"/>
                  </a:lnTo>
                  <a:lnTo>
                    <a:pt x="64838" y="42721"/>
                  </a:lnTo>
                  <a:lnTo>
                    <a:pt x="61149" y="42721"/>
                  </a:lnTo>
                  <a:lnTo>
                    <a:pt x="61149" y="46407"/>
                  </a:lnTo>
                  <a:lnTo>
                    <a:pt x="57460" y="42721"/>
                  </a:lnTo>
                  <a:lnTo>
                    <a:pt x="53771" y="42721"/>
                  </a:lnTo>
                  <a:lnTo>
                    <a:pt x="50082" y="42721"/>
                  </a:lnTo>
                  <a:lnTo>
                    <a:pt x="46393" y="46407"/>
                  </a:lnTo>
                  <a:lnTo>
                    <a:pt x="39014" y="50103"/>
                  </a:lnTo>
                  <a:lnTo>
                    <a:pt x="39014" y="53789"/>
                  </a:lnTo>
                  <a:lnTo>
                    <a:pt x="35325" y="53789"/>
                  </a:lnTo>
                  <a:lnTo>
                    <a:pt x="31636" y="57485"/>
                  </a:lnTo>
                  <a:lnTo>
                    <a:pt x="27947" y="57485"/>
                  </a:lnTo>
                  <a:lnTo>
                    <a:pt x="27947" y="61171"/>
                  </a:lnTo>
                  <a:lnTo>
                    <a:pt x="24257" y="61171"/>
                  </a:lnTo>
                  <a:lnTo>
                    <a:pt x="20568" y="64867"/>
                  </a:lnTo>
                  <a:lnTo>
                    <a:pt x="16879" y="64867"/>
                  </a:lnTo>
                  <a:lnTo>
                    <a:pt x="13190" y="64867"/>
                  </a:lnTo>
                  <a:lnTo>
                    <a:pt x="9501" y="64867"/>
                  </a:lnTo>
                  <a:lnTo>
                    <a:pt x="9501" y="68553"/>
                  </a:lnTo>
                  <a:lnTo>
                    <a:pt x="13190" y="72239"/>
                  </a:lnTo>
                  <a:lnTo>
                    <a:pt x="13190" y="79621"/>
                  </a:lnTo>
                  <a:lnTo>
                    <a:pt x="13190" y="83316"/>
                  </a:lnTo>
                  <a:lnTo>
                    <a:pt x="16879" y="83316"/>
                  </a:lnTo>
                  <a:lnTo>
                    <a:pt x="16879" y="87003"/>
                  </a:lnTo>
                  <a:lnTo>
                    <a:pt x="20568" y="90698"/>
                  </a:lnTo>
                  <a:lnTo>
                    <a:pt x="24257" y="90698"/>
                  </a:lnTo>
                  <a:lnTo>
                    <a:pt x="24257" y="94385"/>
                  </a:lnTo>
                  <a:lnTo>
                    <a:pt x="27947" y="98080"/>
                  </a:lnTo>
                  <a:lnTo>
                    <a:pt x="31636" y="101766"/>
                  </a:lnTo>
                  <a:lnTo>
                    <a:pt x="39014" y="101766"/>
                  </a:lnTo>
                  <a:lnTo>
                    <a:pt x="42703" y="105462"/>
                  </a:lnTo>
                  <a:lnTo>
                    <a:pt x="57460" y="116530"/>
                  </a:lnTo>
                  <a:lnTo>
                    <a:pt x="46393" y="120216"/>
                  </a:lnTo>
                  <a:lnTo>
                    <a:pt x="46393" y="134980"/>
                  </a:lnTo>
                  <a:lnTo>
                    <a:pt x="42703" y="134980"/>
                  </a:lnTo>
                  <a:lnTo>
                    <a:pt x="39014" y="134980"/>
                  </a:lnTo>
                  <a:lnTo>
                    <a:pt x="31636" y="134980"/>
                  </a:lnTo>
                  <a:lnTo>
                    <a:pt x="27947" y="134980"/>
                  </a:lnTo>
                  <a:lnTo>
                    <a:pt x="27947" y="131294"/>
                  </a:lnTo>
                  <a:lnTo>
                    <a:pt x="20568" y="131294"/>
                  </a:lnTo>
                  <a:lnTo>
                    <a:pt x="16879" y="134980"/>
                  </a:lnTo>
                  <a:lnTo>
                    <a:pt x="13190" y="138676"/>
                  </a:lnTo>
                  <a:lnTo>
                    <a:pt x="16879" y="138676"/>
                  </a:lnTo>
                  <a:lnTo>
                    <a:pt x="13190" y="142362"/>
                  </a:lnTo>
                  <a:lnTo>
                    <a:pt x="13190" y="146058"/>
                  </a:lnTo>
                  <a:lnTo>
                    <a:pt x="9501" y="146058"/>
                  </a:lnTo>
                  <a:lnTo>
                    <a:pt x="5812" y="146058"/>
                  </a:lnTo>
                  <a:lnTo>
                    <a:pt x="5812" y="149744"/>
                  </a:lnTo>
                  <a:lnTo>
                    <a:pt x="20568" y="157126"/>
                  </a:lnTo>
                  <a:lnTo>
                    <a:pt x="24257" y="160821"/>
                  </a:lnTo>
                  <a:lnTo>
                    <a:pt x="20568" y="160821"/>
                  </a:lnTo>
                  <a:lnTo>
                    <a:pt x="20568" y="171890"/>
                  </a:lnTo>
                  <a:lnTo>
                    <a:pt x="24257" y="182958"/>
                  </a:lnTo>
                  <a:lnTo>
                    <a:pt x="24257" y="186653"/>
                  </a:lnTo>
                  <a:lnTo>
                    <a:pt x="27947" y="186653"/>
                  </a:lnTo>
                  <a:lnTo>
                    <a:pt x="24257" y="190339"/>
                  </a:lnTo>
                  <a:lnTo>
                    <a:pt x="31636" y="190339"/>
                  </a:lnTo>
                  <a:lnTo>
                    <a:pt x="46393" y="190339"/>
                  </a:lnTo>
                  <a:lnTo>
                    <a:pt x="42703" y="194035"/>
                  </a:lnTo>
                  <a:lnTo>
                    <a:pt x="39014" y="197721"/>
                  </a:lnTo>
                  <a:lnTo>
                    <a:pt x="35325" y="197721"/>
                  </a:lnTo>
                  <a:lnTo>
                    <a:pt x="24257" y="205103"/>
                  </a:lnTo>
                  <a:lnTo>
                    <a:pt x="20568" y="216171"/>
                  </a:lnTo>
                  <a:lnTo>
                    <a:pt x="16879" y="219867"/>
                  </a:lnTo>
                  <a:lnTo>
                    <a:pt x="13190" y="219867"/>
                  </a:lnTo>
                  <a:lnTo>
                    <a:pt x="13190" y="223553"/>
                  </a:lnTo>
                  <a:lnTo>
                    <a:pt x="9501" y="227249"/>
                  </a:lnTo>
                  <a:lnTo>
                    <a:pt x="13190" y="234631"/>
                  </a:lnTo>
                  <a:lnTo>
                    <a:pt x="16879" y="234631"/>
                  </a:lnTo>
                  <a:lnTo>
                    <a:pt x="20568" y="230935"/>
                  </a:lnTo>
                  <a:lnTo>
                    <a:pt x="24257" y="230935"/>
                  </a:lnTo>
                  <a:lnTo>
                    <a:pt x="27947" y="230935"/>
                  </a:lnTo>
                  <a:lnTo>
                    <a:pt x="31636" y="230935"/>
                  </a:lnTo>
                  <a:lnTo>
                    <a:pt x="35325" y="230935"/>
                  </a:lnTo>
                  <a:lnTo>
                    <a:pt x="39014" y="242013"/>
                  </a:lnTo>
                  <a:lnTo>
                    <a:pt x="35325" y="242013"/>
                  </a:lnTo>
                  <a:lnTo>
                    <a:pt x="20568" y="245699"/>
                  </a:lnTo>
                  <a:lnTo>
                    <a:pt x="24257" y="249394"/>
                  </a:lnTo>
                  <a:lnTo>
                    <a:pt x="27947" y="256776"/>
                  </a:lnTo>
                  <a:lnTo>
                    <a:pt x="31636" y="264149"/>
                  </a:lnTo>
                  <a:lnTo>
                    <a:pt x="35325" y="267844"/>
                  </a:lnTo>
                  <a:lnTo>
                    <a:pt x="39014" y="271531"/>
                  </a:lnTo>
                  <a:lnTo>
                    <a:pt x="42703" y="275226"/>
                  </a:lnTo>
                  <a:lnTo>
                    <a:pt x="42703" y="278912"/>
                  </a:lnTo>
                  <a:lnTo>
                    <a:pt x="46393" y="282608"/>
                  </a:lnTo>
                  <a:lnTo>
                    <a:pt x="46393" y="289990"/>
                  </a:lnTo>
                  <a:lnTo>
                    <a:pt x="46393" y="293676"/>
                  </a:lnTo>
                  <a:lnTo>
                    <a:pt x="50082" y="293676"/>
                  </a:lnTo>
                  <a:lnTo>
                    <a:pt x="57460" y="293676"/>
                  </a:lnTo>
                  <a:lnTo>
                    <a:pt x="61149" y="293676"/>
                  </a:lnTo>
                  <a:lnTo>
                    <a:pt x="64838" y="289990"/>
                  </a:lnTo>
                  <a:lnTo>
                    <a:pt x="68527" y="289990"/>
                  </a:lnTo>
                  <a:lnTo>
                    <a:pt x="68527" y="286294"/>
                  </a:lnTo>
                  <a:lnTo>
                    <a:pt x="72217" y="286294"/>
                  </a:lnTo>
                  <a:lnTo>
                    <a:pt x="75906" y="278912"/>
                  </a:lnTo>
                  <a:lnTo>
                    <a:pt x="79595" y="275226"/>
                  </a:lnTo>
                  <a:lnTo>
                    <a:pt x="83284" y="275226"/>
                  </a:lnTo>
                  <a:lnTo>
                    <a:pt x="86973" y="275226"/>
                  </a:lnTo>
                  <a:lnTo>
                    <a:pt x="90662" y="278912"/>
                  </a:lnTo>
                  <a:lnTo>
                    <a:pt x="94351" y="278912"/>
                  </a:lnTo>
                  <a:lnTo>
                    <a:pt x="98041" y="275226"/>
                  </a:lnTo>
                  <a:lnTo>
                    <a:pt x="98041" y="271531"/>
                  </a:lnTo>
                  <a:lnTo>
                    <a:pt x="101730" y="267844"/>
                  </a:lnTo>
                  <a:lnTo>
                    <a:pt x="105419" y="264149"/>
                  </a:lnTo>
                  <a:lnTo>
                    <a:pt x="109108" y="264149"/>
                  </a:lnTo>
                  <a:lnTo>
                    <a:pt x="112797" y="264149"/>
                  </a:lnTo>
                  <a:lnTo>
                    <a:pt x="120176" y="271531"/>
                  </a:lnTo>
                  <a:lnTo>
                    <a:pt x="123865" y="271531"/>
                  </a:lnTo>
                  <a:lnTo>
                    <a:pt x="127554" y="267844"/>
                  </a:lnTo>
                  <a:lnTo>
                    <a:pt x="127554" y="264149"/>
                  </a:lnTo>
                  <a:lnTo>
                    <a:pt x="131243" y="264149"/>
                  </a:lnTo>
                  <a:lnTo>
                    <a:pt x="134932" y="264149"/>
                  </a:lnTo>
                  <a:lnTo>
                    <a:pt x="138621" y="275226"/>
                  </a:lnTo>
                  <a:lnTo>
                    <a:pt x="134932" y="282608"/>
                  </a:lnTo>
                  <a:lnTo>
                    <a:pt x="149690" y="286294"/>
                  </a:lnTo>
                  <a:lnTo>
                    <a:pt x="157068" y="289990"/>
                  </a:lnTo>
                  <a:lnTo>
                    <a:pt x="171825" y="297372"/>
                  </a:lnTo>
                  <a:lnTo>
                    <a:pt x="175514" y="297372"/>
                  </a:lnTo>
                  <a:lnTo>
                    <a:pt x="179203" y="297372"/>
                  </a:lnTo>
                  <a:lnTo>
                    <a:pt x="182892" y="297372"/>
                  </a:lnTo>
                  <a:lnTo>
                    <a:pt x="190271" y="289990"/>
                  </a:lnTo>
                  <a:lnTo>
                    <a:pt x="193960" y="278912"/>
                  </a:lnTo>
                  <a:lnTo>
                    <a:pt x="197649" y="271531"/>
                  </a:lnTo>
                  <a:lnTo>
                    <a:pt x="201338" y="275226"/>
                  </a:lnTo>
                  <a:lnTo>
                    <a:pt x="205027" y="278912"/>
                  </a:lnTo>
                  <a:lnTo>
                    <a:pt x="208716" y="278912"/>
                  </a:lnTo>
                  <a:lnTo>
                    <a:pt x="212406" y="278912"/>
                  </a:lnTo>
                  <a:lnTo>
                    <a:pt x="216095" y="275226"/>
                  </a:lnTo>
                  <a:lnTo>
                    <a:pt x="219784" y="271531"/>
                  </a:lnTo>
                  <a:lnTo>
                    <a:pt x="219784" y="264149"/>
                  </a:lnTo>
                  <a:lnTo>
                    <a:pt x="223473" y="264149"/>
                  </a:lnTo>
                  <a:lnTo>
                    <a:pt x="227162" y="264149"/>
                  </a:lnTo>
                  <a:lnTo>
                    <a:pt x="234541" y="267844"/>
                  </a:lnTo>
                  <a:lnTo>
                    <a:pt x="241923" y="275226"/>
                  </a:lnTo>
                  <a:lnTo>
                    <a:pt x="245609" y="275226"/>
                  </a:lnTo>
                  <a:lnTo>
                    <a:pt x="256677" y="275226"/>
                  </a:lnTo>
                  <a:lnTo>
                    <a:pt x="260363" y="278912"/>
                  </a:lnTo>
                  <a:lnTo>
                    <a:pt x="264050" y="282608"/>
                  </a:lnTo>
                  <a:lnTo>
                    <a:pt x="267745" y="282608"/>
                  </a:lnTo>
                  <a:lnTo>
                    <a:pt x="271431" y="278912"/>
                  </a:lnTo>
                  <a:lnTo>
                    <a:pt x="275118" y="278912"/>
                  </a:lnTo>
                  <a:lnTo>
                    <a:pt x="275118" y="275226"/>
                  </a:lnTo>
                  <a:lnTo>
                    <a:pt x="278813" y="271531"/>
                  </a:lnTo>
                  <a:lnTo>
                    <a:pt x="282499" y="271531"/>
                  </a:lnTo>
                  <a:lnTo>
                    <a:pt x="286186" y="267844"/>
                  </a:lnTo>
                  <a:lnTo>
                    <a:pt x="293568" y="271531"/>
                  </a:lnTo>
                  <a:lnTo>
                    <a:pt x="297254" y="271531"/>
                  </a:lnTo>
                  <a:lnTo>
                    <a:pt x="300949" y="267844"/>
                  </a:lnTo>
                  <a:lnTo>
                    <a:pt x="304636" y="267844"/>
                  </a:lnTo>
                  <a:lnTo>
                    <a:pt x="312017" y="264149"/>
                  </a:lnTo>
                  <a:lnTo>
                    <a:pt x="315704" y="264149"/>
                  </a:lnTo>
                  <a:lnTo>
                    <a:pt x="319390" y="260462"/>
                  </a:lnTo>
                  <a:lnTo>
                    <a:pt x="323086" y="256776"/>
                  </a:lnTo>
                  <a:lnTo>
                    <a:pt x="326772" y="256776"/>
                  </a:lnTo>
                  <a:lnTo>
                    <a:pt x="330458" y="260462"/>
                  </a:lnTo>
                  <a:lnTo>
                    <a:pt x="341526" y="260462"/>
                  </a:lnTo>
                  <a:lnTo>
                    <a:pt x="345212" y="260462"/>
                  </a:lnTo>
                  <a:lnTo>
                    <a:pt x="348908" y="260462"/>
                  </a:lnTo>
                  <a:lnTo>
                    <a:pt x="352594" y="264149"/>
                  </a:lnTo>
                  <a:lnTo>
                    <a:pt x="359976" y="267844"/>
                  </a:lnTo>
                  <a:lnTo>
                    <a:pt x="363662" y="267844"/>
                  </a:lnTo>
                  <a:lnTo>
                    <a:pt x="367348" y="271531"/>
                  </a:lnTo>
                  <a:lnTo>
                    <a:pt x="371044" y="271531"/>
                  </a:lnTo>
                  <a:lnTo>
                    <a:pt x="374730" y="271531"/>
                  </a:lnTo>
                  <a:lnTo>
                    <a:pt x="378416" y="278912"/>
                  </a:lnTo>
                  <a:lnTo>
                    <a:pt x="385798" y="282608"/>
                  </a:lnTo>
                  <a:lnTo>
                    <a:pt x="396866" y="286294"/>
                  </a:lnTo>
                  <a:lnTo>
                    <a:pt x="404239" y="289990"/>
                  </a:lnTo>
                  <a:lnTo>
                    <a:pt x="411620" y="286294"/>
                  </a:lnTo>
                  <a:lnTo>
                    <a:pt x="415307" y="282608"/>
                  </a:lnTo>
                  <a:lnTo>
                    <a:pt x="415307" y="278912"/>
                  </a:lnTo>
                  <a:lnTo>
                    <a:pt x="415307" y="275226"/>
                  </a:lnTo>
                  <a:lnTo>
                    <a:pt x="411620" y="271531"/>
                  </a:lnTo>
                  <a:lnTo>
                    <a:pt x="415307" y="267844"/>
                  </a:lnTo>
                  <a:lnTo>
                    <a:pt x="411620" y="264149"/>
                  </a:lnTo>
                  <a:lnTo>
                    <a:pt x="411620" y="260462"/>
                  </a:lnTo>
                  <a:lnTo>
                    <a:pt x="407934" y="253081"/>
                  </a:lnTo>
                  <a:lnTo>
                    <a:pt x="407934" y="249394"/>
                  </a:lnTo>
                  <a:lnTo>
                    <a:pt x="404239" y="249394"/>
                  </a:lnTo>
                  <a:lnTo>
                    <a:pt x="400552" y="245699"/>
                  </a:lnTo>
                  <a:lnTo>
                    <a:pt x="396866" y="242013"/>
                  </a:lnTo>
                  <a:lnTo>
                    <a:pt x="396866" y="238317"/>
                  </a:lnTo>
                  <a:lnTo>
                    <a:pt x="396866" y="234631"/>
                  </a:lnTo>
                  <a:lnTo>
                    <a:pt x="396866" y="230935"/>
                  </a:lnTo>
                  <a:lnTo>
                    <a:pt x="396866" y="219867"/>
                  </a:lnTo>
                  <a:lnTo>
                    <a:pt x="385798" y="212485"/>
                  </a:lnTo>
                  <a:lnTo>
                    <a:pt x="389484" y="212485"/>
                  </a:lnTo>
                  <a:lnTo>
                    <a:pt x="389484" y="208799"/>
                  </a:lnTo>
                  <a:lnTo>
                    <a:pt x="382112" y="208799"/>
                  </a:lnTo>
                  <a:lnTo>
                    <a:pt x="382112" y="190339"/>
                  </a:lnTo>
                  <a:lnTo>
                    <a:pt x="382112" y="186653"/>
                  </a:lnTo>
                  <a:lnTo>
                    <a:pt x="385798" y="182958"/>
                  </a:lnTo>
                  <a:lnTo>
                    <a:pt x="382112" y="179271"/>
                  </a:lnTo>
                  <a:lnTo>
                    <a:pt x="382112" y="175576"/>
                  </a:lnTo>
                  <a:lnTo>
                    <a:pt x="382112" y="171890"/>
                  </a:lnTo>
                  <a:lnTo>
                    <a:pt x="382112" y="168194"/>
                  </a:lnTo>
                  <a:lnTo>
                    <a:pt x="378416" y="160821"/>
                  </a:lnTo>
                  <a:lnTo>
                    <a:pt x="367348" y="164508"/>
                  </a:lnTo>
                  <a:lnTo>
                    <a:pt x="371044" y="168194"/>
                  </a:lnTo>
                  <a:lnTo>
                    <a:pt x="371044" y="171890"/>
                  </a:lnTo>
                  <a:lnTo>
                    <a:pt x="371044" y="175576"/>
                  </a:lnTo>
                  <a:lnTo>
                    <a:pt x="367348" y="175576"/>
                  </a:lnTo>
                  <a:lnTo>
                    <a:pt x="367348" y="179271"/>
                  </a:lnTo>
                  <a:lnTo>
                    <a:pt x="363662" y="182958"/>
                  </a:lnTo>
                  <a:lnTo>
                    <a:pt x="359976" y="182958"/>
                  </a:lnTo>
                  <a:lnTo>
                    <a:pt x="356280" y="186653"/>
                  </a:lnTo>
                  <a:lnTo>
                    <a:pt x="352594" y="190339"/>
                  </a:lnTo>
                  <a:lnTo>
                    <a:pt x="348908" y="190339"/>
                  </a:lnTo>
                  <a:lnTo>
                    <a:pt x="345212" y="190339"/>
                  </a:lnTo>
                  <a:lnTo>
                    <a:pt x="337840" y="186653"/>
                  </a:lnTo>
                  <a:lnTo>
                    <a:pt x="334144" y="182958"/>
                  </a:lnTo>
                  <a:lnTo>
                    <a:pt x="334144" y="179271"/>
                  </a:lnTo>
                  <a:lnTo>
                    <a:pt x="337840" y="179271"/>
                  </a:lnTo>
                  <a:lnTo>
                    <a:pt x="341526" y="175576"/>
                  </a:lnTo>
                  <a:lnTo>
                    <a:pt x="345212" y="171890"/>
                  </a:lnTo>
                  <a:lnTo>
                    <a:pt x="345212" y="168194"/>
                  </a:lnTo>
                  <a:lnTo>
                    <a:pt x="345212" y="160821"/>
                  </a:lnTo>
                  <a:lnTo>
                    <a:pt x="348908" y="157126"/>
                  </a:lnTo>
                  <a:lnTo>
                    <a:pt x="348908" y="153440"/>
                  </a:lnTo>
                  <a:lnTo>
                    <a:pt x="352594" y="153440"/>
                  </a:lnTo>
                  <a:lnTo>
                    <a:pt x="356280" y="153440"/>
                  </a:lnTo>
                  <a:lnTo>
                    <a:pt x="356280" y="149744"/>
                  </a:lnTo>
                  <a:lnTo>
                    <a:pt x="352594" y="149744"/>
                  </a:lnTo>
                  <a:lnTo>
                    <a:pt x="352594" y="146058"/>
                  </a:lnTo>
                  <a:lnTo>
                    <a:pt x="352594" y="142362"/>
                  </a:lnTo>
                  <a:lnTo>
                    <a:pt x="359976" y="142362"/>
                  </a:lnTo>
                  <a:lnTo>
                    <a:pt x="359976" y="138676"/>
                  </a:lnTo>
                  <a:lnTo>
                    <a:pt x="359976" y="134980"/>
                  </a:lnTo>
                  <a:lnTo>
                    <a:pt x="352594" y="134980"/>
                  </a:lnTo>
                  <a:lnTo>
                    <a:pt x="352594" y="127598"/>
                  </a:lnTo>
                  <a:lnTo>
                    <a:pt x="348908" y="127598"/>
                  </a:lnTo>
                  <a:lnTo>
                    <a:pt x="345212" y="127598"/>
                  </a:lnTo>
                  <a:lnTo>
                    <a:pt x="345212" y="123912"/>
                  </a:lnTo>
                  <a:lnTo>
                    <a:pt x="345212" y="120216"/>
                  </a:lnTo>
                  <a:lnTo>
                    <a:pt x="341526" y="116530"/>
                  </a:lnTo>
                  <a:lnTo>
                    <a:pt x="345212" y="116530"/>
                  </a:lnTo>
                  <a:lnTo>
                    <a:pt x="345212" y="112844"/>
                  </a:lnTo>
                  <a:lnTo>
                    <a:pt x="326772" y="112844"/>
                  </a:lnTo>
                  <a:lnTo>
                    <a:pt x="323086" y="109148"/>
                  </a:lnTo>
                  <a:lnTo>
                    <a:pt x="323086" y="98080"/>
                  </a:lnTo>
                  <a:lnTo>
                    <a:pt x="323086" y="94385"/>
                  </a:lnTo>
                  <a:lnTo>
                    <a:pt x="323086" y="90698"/>
                  </a:lnTo>
                  <a:lnTo>
                    <a:pt x="323086" y="87003"/>
                  </a:lnTo>
                  <a:lnTo>
                    <a:pt x="323086" y="83316"/>
                  </a:lnTo>
                  <a:lnTo>
                    <a:pt x="308322" y="72239"/>
                  </a:lnTo>
                  <a:lnTo>
                    <a:pt x="308322" y="75935"/>
                  </a:lnTo>
                  <a:lnTo>
                    <a:pt x="300949" y="72239"/>
                  </a:lnTo>
                  <a:lnTo>
                    <a:pt x="300949" y="68553"/>
                  </a:lnTo>
                  <a:lnTo>
                    <a:pt x="304636" y="50103"/>
                  </a:lnTo>
                  <a:lnTo>
                    <a:pt x="300949" y="46407"/>
                  </a:lnTo>
                  <a:lnTo>
                    <a:pt x="297254" y="42721"/>
                  </a:lnTo>
                  <a:lnTo>
                    <a:pt x="293568" y="39025"/>
                  </a:lnTo>
                  <a:lnTo>
                    <a:pt x="289881" y="39025"/>
                  </a:lnTo>
                  <a:lnTo>
                    <a:pt x="289881" y="35339"/>
                  </a:lnTo>
                  <a:lnTo>
                    <a:pt x="286186" y="31643"/>
                  </a:lnTo>
                  <a:lnTo>
                    <a:pt x="282499" y="31643"/>
                  </a:lnTo>
                  <a:lnTo>
                    <a:pt x="278813" y="31643"/>
                  </a:lnTo>
                  <a:lnTo>
                    <a:pt x="275118" y="31643"/>
                  </a:lnTo>
                  <a:lnTo>
                    <a:pt x="271431" y="27957"/>
                  </a:lnTo>
                  <a:lnTo>
                    <a:pt x="264050" y="27957"/>
                  </a:lnTo>
                  <a:lnTo>
                    <a:pt x="260363" y="24262"/>
                  </a:lnTo>
                  <a:lnTo>
                    <a:pt x="245609" y="24262"/>
                  </a:lnTo>
                  <a:lnTo>
                    <a:pt x="238227" y="20575"/>
                  </a:lnTo>
                  <a:lnTo>
                    <a:pt x="227162" y="42721"/>
                  </a:lnTo>
                  <a:lnTo>
                    <a:pt x="227162" y="46407"/>
                  </a:lnTo>
                  <a:lnTo>
                    <a:pt x="227162" y="50103"/>
                  </a:lnTo>
                  <a:lnTo>
                    <a:pt x="223473" y="57485"/>
                  </a:lnTo>
                  <a:lnTo>
                    <a:pt x="219784" y="68553"/>
                  </a:lnTo>
                  <a:lnTo>
                    <a:pt x="216095" y="75935"/>
                  </a:lnTo>
                  <a:lnTo>
                    <a:pt x="216095" y="83316"/>
                  </a:lnTo>
                  <a:lnTo>
                    <a:pt x="212406" y="87003"/>
                  </a:lnTo>
                  <a:lnTo>
                    <a:pt x="212406" y="90698"/>
                  </a:lnTo>
                  <a:lnTo>
                    <a:pt x="205027" y="105462"/>
                  </a:lnTo>
                  <a:lnTo>
                    <a:pt x="197649" y="105462"/>
                  </a:lnTo>
                  <a:lnTo>
                    <a:pt x="193960" y="105462"/>
                  </a:lnTo>
                  <a:lnTo>
                    <a:pt x="190271" y="105462"/>
                  </a:lnTo>
                  <a:lnTo>
                    <a:pt x="168136" y="101766"/>
                  </a:lnTo>
                  <a:lnTo>
                    <a:pt x="164447" y="101766"/>
                  </a:lnTo>
                  <a:lnTo>
                    <a:pt x="146001" y="109148"/>
                  </a:lnTo>
                  <a:lnTo>
                    <a:pt x="131243" y="112844"/>
                  </a:lnTo>
                  <a:lnTo>
                    <a:pt x="131243" y="98080"/>
                  </a:lnTo>
                  <a:lnTo>
                    <a:pt x="127554" y="98080"/>
                  </a:lnTo>
                  <a:lnTo>
                    <a:pt x="127554" y="90698"/>
                  </a:lnTo>
                  <a:lnTo>
                    <a:pt x="127554" y="87003"/>
                  </a:lnTo>
                  <a:lnTo>
                    <a:pt x="123865" y="87003"/>
                  </a:lnTo>
                  <a:lnTo>
                    <a:pt x="120176" y="83316"/>
                  </a:lnTo>
                  <a:lnTo>
                    <a:pt x="127554" y="83316"/>
                  </a:lnTo>
                  <a:lnTo>
                    <a:pt x="127554" y="79621"/>
                  </a:lnTo>
                  <a:lnTo>
                    <a:pt x="127554" y="75935"/>
                  </a:lnTo>
                  <a:lnTo>
                    <a:pt x="127554" y="68553"/>
                  </a:lnTo>
                  <a:lnTo>
                    <a:pt x="127554" y="61171"/>
                  </a:lnTo>
                  <a:lnTo>
                    <a:pt x="131243" y="61171"/>
                  </a:lnTo>
                  <a:lnTo>
                    <a:pt x="138621" y="57485"/>
                  </a:lnTo>
                  <a:lnTo>
                    <a:pt x="131243" y="53789"/>
                  </a:lnTo>
                  <a:lnTo>
                    <a:pt x="131243" y="46407"/>
                  </a:lnTo>
                  <a:lnTo>
                    <a:pt x="131243" y="42721"/>
                  </a:lnTo>
                  <a:lnTo>
                    <a:pt x="127554" y="42721"/>
                  </a:lnTo>
                  <a:lnTo>
                    <a:pt x="127554" y="46407"/>
                  </a:lnTo>
                  <a:lnTo>
                    <a:pt x="123865" y="42721"/>
                  </a:lnTo>
                  <a:lnTo>
                    <a:pt x="120176" y="31643"/>
                  </a:lnTo>
                  <a:lnTo>
                    <a:pt x="120176" y="27957"/>
                  </a:lnTo>
                  <a:lnTo>
                    <a:pt x="123865" y="27957"/>
                  </a:lnTo>
                  <a:lnTo>
                    <a:pt x="127554" y="27957"/>
                  </a:lnTo>
                  <a:lnTo>
                    <a:pt x="127554" y="24262"/>
                  </a:lnTo>
                  <a:lnTo>
                    <a:pt x="131243" y="24262"/>
                  </a:lnTo>
                  <a:lnTo>
                    <a:pt x="134932" y="24262"/>
                  </a:lnTo>
                  <a:lnTo>
                    <a:pt x="134932" y="20575"/>
                  </a:lnTo>
                  <a:lnTo>
                    <a:pt x="138621" y="20575"/>
                  </a:lnTo>
                  <a:lnTo>
                    <a:pt x="142312" y="20575"/>
                  </a:lnTo>
                  <a:lnTo>
                    <a:pt x="138621" y="16889"/>
                  </a:lnTo>
                  <a:lnTo>
                    <a:pt x="134932" y="16889"/>
                  </a:lnTo>
                  <a:lnTo>
                    <a:pt x="131243" y="20575"/>
                  </a:lnTo>
                  <a:lnTo>
                    <a:pt x="127554" y="20575"/>
                  </a:lnTo>
                  <a:lnTo>
                    <a:pt x="123865" y="16889"/>
                  </a:lnTo>
                  <a:lnTo>
                    <a:pt x="120176" y="20575"/>
                  </a:lnTo>
                  <a:lnTo>
                    <a:pt x="120176" y="5812"/>
                  </a:lnTo>
                  <a:lnTo>
                    <a:pt x="116486" y="5812"/>
                  </a:lnTo>
                  <a:lnTo>
                    <a:pt x="112797" y="5812"/>
                  </a:lnTo>
                  <a:close/>
                </a:path>
              </a:pathLst>
            </a:custGeom>
            <a:solidFill>
              <a:srgbClr val="FFBD42"/>
            </a:solidFill>
            <a:ln w="12821" cap="flat">
              <a:solidFill>
                <a:schemeClr val="bg1"/>
              </a:solidFill>
              <a:prstDash val="solid"/>
              <a:round/>
            </a:ln>
          </p:spPr>
          <p:txBody>
            <a:bodyPr rot="0" spcFirstLastPara="0" vertOverflow="overflow" horzOverflow="overflow" vert="horz" wrap="square" lIns="91440" tIns="144000" rIns="91440" bIns="4572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66</a:t>
              </a:r>
            </a:p>
          </p:txBody>
        </p:sp>
        <p:sp>
          <p:nvSpPr>
            <p:cNvPr id="239" name="Freeform: Shape 238">
              <a:extLst>
                <a:ext uri="{FF2B5EF4-FFF2-40B4-BE49-F238E27FC236}">
                  <a16:creationId xmlns:a16="http://schemas.microsoft.com/office/drawing/2014/main" id="{7CDBFE79-8837-479B-8803-56454D51690D}"/>
                </a:ext>
              </a:extLst>
            </p:cNvPr>
            <p:cNvSpPr/>
            <p:nvPr/>
          </p:nvSpPr>
          <p:spPr>
            <a:xfrm>
              <a:off x="5305362" y="3151897"/>
              <a:ext cx="61491" cy="46118"/>
            </a:xfrm>
            <a:custGeom>
              <a:avLst/>
              <a:gdLst>
                <a:gd name="connsiteX0" fmla="*/ 27947 w 38100"/>
                <a:gd name="connsiteY0" fmla="*/ 13192 h 28575"/>
                <a:gd name="connsiteX1" fmla="*/ 20569 w 38100"/>
                <a:gd name="connsiteY1" fmla="*/ 16883 h 28575"/>
                <a:gd name="connsiteX2" fmla="*/ 20569 w 38100"/>
                <a:gd name="connsiteY2" fmla="*/ 16883 h 28575"/>
                <a:gd name="connsiteX3" fmla="*/ 20569 w 38100"/>
                <a:gd name="connsiteY3" fmla="*/ 16883 h 28575"/>
                <a:gd name="connsiteX4" fmla="*/ 20569 w 38100"/>
                <a:gd name="connsiteY4" fmla="*/ 16883 h 28575"/>
                <a:gd name="connsiteX5" fmla="*/ 16879 w 38100"/>
                <a:gd name="connsiteY5" fmla="*/ 20573 h 28575"/>
                <a:gd name="connsiteX6" fmla="*/ 13190 w 38100"/>
                <a:gd name="connsiteY6" fmla="*/ 20573 h 28575"/>
                <a:gd name="connsiteX7" fmla="*/ 13190 w 38100"/>
                <a:gd name="connsiteY7" fmla="*/ 24264 h 28575"/>
                <a:gd name="connsiteX8" fmla="*/ 13190 w 38100"/>
                <a:gd name="connsiteY8" fmla="*/ 24264 h 28575"/>
                <a:gd name="connsiteX9" fmla="*/ 9501 w 38100"/>
                <a:gd name="connsiteY9" fmla="*/ 24264 h 28575"/>
                <a:gd name="connsiteX10" fmla="*/ 9501 w 38100"/>
                <a:gd name="connsiteY10" fmla="*/ 24264 h 28575"/>
                <a:gd name="connsiteX11" fmla="*/ 5812 w 38100"/>
                <a:gd name="connsiteY11" fmla="*/ 20573 h 28575"/>
                <a:gd name="connsiteX12" fmla="*/ 5812 w 38100"/>
                <a:gd name="connsiteY12" fmla="*/ 20573 h 28575"/>
                <a:gd name="connsiteX13" fmla="*/ 5812 w 38100"/>
                <a:gd name="connsiteY13" fmla="*/ 16883 h 28575"/>
                <a:gd name="connsiteX14" fmla="*/ 5812 w 38100"/>
                <a:gd name="connsiteY14" fmla="*/ 13192 h 28575"/>
                <a:gd name="connsiteX15" fmla="*/ 5812 w 38100"/>
                <a:gd name="connsiteY15" fmla="*/ 9503 h 28575"/>
                <a:gd name="connsiteX16" fmla="*/ 9501 w 38100"/>
                <a:gd name="connsiteY16" fmla="*/ 9503 h 28575"/>
                <a:gd name="connsiteX17" fmla="*/ 9501 w 38100"/>
                <a:gd name="connsiteY17" fmla="*/ 9503 h 28575"/>
                <a:gd name="connsiteX18" fmla="*/ 9501 w 38100"/>
                <a:gd name="connsiteY18" fmla="*/ 9503 h 28575"/>
                <a:gd name="connsiteX19" fmla="*/ 9501 w 38100"/>
                <a:gd name="connsiteY19" fmla="*/ 9503 h 28575"/>
                <a:gd name="connsiteX20" fmla="*/ 13190 w 38100"/>
                <a:gd name="connsiteY20" fmla="*/ 9503 h 28575"/>
                <a:gd name="connsiteX21" fmla="*/ 16879 w 38100"/>
                <a:gd name="connsiteY21" fmla="*/ 9503 h 28575"/>
                <a:gd name="connsiteX22" fmla="*/ 27947 w 38100"/>
                <a:gd name="connsiteY22" fmla="*/ 5812 h 28575"/>
                <a:gd name="connsiteX23" fmla="*/ 27947 w 38100"/>
                <a:gd name="connsiteY23" fmla="*/ 5812 h 28575"/>
                <a:gd name="connsiteX24" fmla="*/ 35325 w 38100"/>
                <a:gd name="connsiteY24" fmla="*/ 5812 h 28575"/>
                <a:gd name="connsiteX25" fmla="*/ 35325 w 38100"/>
                <a:gd name="connsiteY25" fmla="*/ 9503 h 28575"/>
                <a:gd name="connsiteX26" fmla="*/ 35325 w 38100"/>
                <a:gd name="connsiteY26" fmla="*/ 9503 h 28575"/>
                <a:gd name="connsiteX27" fmla="*/ 27947 w 38100"/>
                <a:gd name="connsiteY27" fmla="*/ 13192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8100" h="28575">
                  <a:moveTo>
                    <a:pt x="27947" y="13192"/>
                  </a:moveTo>
                  <a:lnTo>
                    <a:pt x="20569" y="16883"/>
                  </a:lnTo>
                  <a:lnTo>
                    <a:pt x="20569" y="16883"/>
                  </a:lnTo>
                  <a:lnTo>
                    <a:pt x="20569" y="16883"/>
                  </a:lnTo>
                  <a:lnTo>
                    <a:pt x="20569" y="16883"/>
                  </a:lnTo>
                  <a:lnTo>
                    <a:pt x="16879" y="20573"/>
                  </a:lnTo>
                  <a:lnTo>
                    <a:pt x="13190" y="20573"/>
                  </a:lnTo>
                  <a:lnTo>
                    <a:pt x="13190" y="24264"/>
                  </a:lnTo>
                  <a:lnTo>
                    <a:pt x="13190" y="24264"/>
                  </a:lnTo>
                  <a:lnTo>
                    <a:pt x="9501" y="24264"/>
                  </a:lnTo>
                  <a:lnTo>
                    <a:pt x="9501" y="24264"/>
                  </a:lnTo>
                  <a:lnTo>
                    <a:pt x="5812" y="20573"/>
                  </a:lnTo>
                  <a:lnTo>
                    <a:pt x="5812" y="20573"/>
                  </a:lnTo>
                  <a:lnTo>
                    <a:pt x="5812" y="16883"/>
                  </a:lnTo>
                  <a:lnTo>
                    <a:pt x="5812" y="13192"/>
                  </a:lnTo>
                  <a:lnTo>
                    <a:pt x="5812" y="9503"/>
                  </a:lnTo>
                  <a:lnTo>
                    <a:pt x="9501" y="9503"/>
                  </a:lnTo>
                  <a:lnTo>
                    <a:pt x="9501" y="9503"/>
                  </a:lnTo>
                  <a:lnTo>
                    <a:pt x="9501" y="9503"/>
                  </a:lnTo>
                  <a:lnTo>
                    <a:pt x="9501" y="9503"/>
                  </a:lnTo>
                  <a:lnTo>
                    <a:pt x="13190" y="9503"/>
                  </a:lnTo>
                  <a:lnTo>
                    <a:pt x="16879" y="9503"/>
                  </a:lnTo>
                  <a:lnTo>
                    <a:pt x="27947" y="5812"/>
                  </a:lnTo>
                  <a:lnTo>
                    <a:pt x="27947" y="5812"/>
                  </a:lnTo>
                  <a:lnTo>
                    <a:pt x="35325" y="5812"/>
                  </a:lnTo>
                  <a:lnTo>
                    <a:pt x="35325" y="9503"/>
                  </a:lnTo>
                  <a:lnTo>
                    <a:pt x="35325" y="9503"/>
                  </a:lnTo>
                  <a:lnTo>
                    <a:pt x="27947" y="13192"/>
                  </a:lnTo>
                  <a:close/>
                </a:path>
              </a:pathLst>
            </a:custGeom>
            <a:solidFill>
              <a:schemeClr val="accent3">
                <a:lumMod val="20000"/>
                <a:lumOff val="80000"/>
              </a:schemeClr>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40" name="Freeform: Shape 239">
              <a:extLst>
                <a:ext uri="{FF2B5EF4-FFF2-40B4-BE49-F238E27FC236}">
                  <a16:creationId xmlns:a16="http://schemas.microsoft.com/office/drawing/2014/main" id="{5259C350-D316-448A-90B6-EA6D6F3FF49E}"/>
                </a:ext>
              </a:extLst>
            </p:cNvPr>
            <p:cNvSpPr/>
            <p:nvPr/>
          </p:nvSpPr>
          <p:spPr>
            <a:xfrm>
              <a:off x="5174371" y="3175722"/>
              <a:ext cx="661025" cy="1029969"/>
            </a:xfrm>
            <a:custGeom>
              <a:avLst/>
              <a:gdLst>
                <a:gd name="connsiteX0" fmla="*/ 127555 w 409575"/>
                <a:gd name="connsiteY0" fmla="*/ 5812 h 638175"/>
                <a:gd name="connsiteX1" fmla="*/ 120176 w 409575"/>
                <a:gd name="connsiteY1" fmla="*/ 16883 h 638175"/>
                <a:gd name="connsiteX2" fmla="*/ 120176 w 409575"/>
                <a:gd name="connsiteY2" fmla="*/ 20574 h 638175"/>
                <a:gd name="connsiteX3" fmla="*/ 120176 w 409575"/>
                <a:gd name="connsiteY3" fmla="*/ 24264 h 638175"/>
                <a:gd name="connsiteX4" fmla="*/ 120176 w 409575"/>
                <a:gd name="connsiteY4" fmla="*/ 31646 h 638175"/>
                <a:gd name="connsiteX5" fmla="*/ 116487 w 409575"/>
                <a:gd name="connsiteY5" fmla="*/ 42718 h 638175"/>
                <a:gd name="connsiteX6" fmla="*/ 116487 w 409575"/>
                <a:gd name="connsiteY6" fmla="*/ 53789 h 638175"/>
                <a:gd name="connsiteX7" fmla="*/ 116487 w 409575"/>
                <a:gd name="connsiteY7" fmla="*/ 68552 h 638175"/>
                <a:gd name="connsiteX8" fmla="*/ 109109 w 409575"/>
                <a:gd name="connsiteY8" fmla="*/ 90695 h 638175"/>
                <a:gd name="connsiteX9" fmla="*/ 105420 w 409575"/>
                <a:gd name="connsiteY9" fmla="*/ 112838 h 638175"/>
                <a:gd name="connsiteX10" fmla="*/ 98041 w 409575"/>
                <a:gd name="connsiteY10" fmla="*/ 134982 h 638175"/>
                <a:gd name="connsiteX11" fmla="*/ 98041 w 409575"/>
                <a:gd name="connsiteY11" fmla="*/ 142363 h 638175"/>
                <a:gd name="connsiteX12" fmla="*/ 94352 w 409575"/>
                <a:gd name="connsiteY12" fmla="*/ 142363 h 638175"/>
                <a:gd name="connsiteX13" fmla="*/ 94352 w 409575"/>
                <a:gd name="connsiteY13" fmla="*/ 149744 h 638175"/>
                <a:gd name="connsiteX14" fmla="*/ 86974 w 409575"/>
                <a:gd name="connsiteY14" fmla="*/ 164507 h 638175"/>
                <a:gd name="connsiteX15" fmla="*/ 86974 w 409575"/>
                <a:gd name="connsiteY15" fmla="*/ 171888 h 638175"/>
                <a:gd name="connsiteX16" fmla="*/ 79596 w 409575"/>
                <a:gd name="connsiteY16" fmla="*/ 194031 h 638175"/>
                <a:gd name="connsiteX17" fmla="*/ 79596 w 409575"/>
                <a:gd name="connsiteY17" fmla="*/ 197721 h 638175"/>
                <a:gd name="connsiteX18" fmla="*/ 79596 w 409575"/>
                <a:gd name="connsiteY18" fmla="*/ 201412 h 638175"/>
                <a:gd name="connsiteX19" fmla="*/ 79596 w 409575"/>
                <a:gd name="connsiteY19" fmla="*/ 205102 h 638175"/>
                <a:gd name="connsiteX20" fmla="*/ 79596 w 409575"/>
                <a:gd name="connsiteY20" fmla="*/ 208793 h 638175"/>
                <a:gd name="connsiteX21" fmla="*/ 79596 w 409575"/>
                <a:gd name="connsiteY21" fmla="*/ 219865 h 638175"/>
                <a:gd name="connsiteX22" fmla="*/ 75906 w 409575"/>
                <a:gd name="connsiteY22" fmla="*/ 234627 h 638175"/>
                <a:gd name="connsiteX23" fmla="*/ 75906 w 409575"/>
                <a:gd name="connsiteY23" fmla="*/ 242009 h 638175"/>
                <a:gd name="connsiteX24" fmla="*/ 75906 w 409575"/>
                <a:gd name="connsiteY24" fmla="*/ 249390 h 638175"/>
                <a:gd name="connsiteX25" fmla="*/ 72217 w 409575"/>
                <a:gd name="connsiteY25" fmla="*/ 264151 h 638175"/>
                <a:gd name="connsiteX26" fmla="*/ 72217 w 409575"/>
                <a:gd name="connsiteY26" fmla="*/ 271532 h 638175"/>
                <a:gd name="connsiteX27" fmla="*/ 72217 w 409575"/>
                <a:gd name="connsiteY27" fmla="*/ 275223 h 638175"/>
                <a:gd name="connsiteX28" fmla="*/ 72217 w 409575"/>
                <a:gd name="connsiteY28" fmla="*/ 282604 h 638175"/>
                <a:gd name="connsiteX29" fmla="*/ 68528 w 409575"/>
                <a:gd name="connsiteY29" fmla="*/ 286295 h 638175"/>
                <a:gd name="connsiteX30" fmla="*/ 68528 w 409575"/>
                <a:gd name="connsiteY30" fmla="*/ 289986 h 638175"/>
                <a:gd name="connsiteX31" fmla="*/ 64839 w 409575"/>
                <a:gd name="connsiteY31" fmla="*/ 315820 h 638175"/>
                <a:gd name="connsiteX32" fmla="*/ 61150 w 409575"/>
                <a:gd name="connsiteY32" fmla="*/ 349034 h 638175"/>
                <a:gd name="connsiteX33" fmla="*/ 57461 w 409575"/>
                <a:gd name="connsiteY33" fmla="*/ 367487 h 638175"/>
                <a:gd name="connsiteX34" fmla="*/ 53772 w 409575"/>
                <a:gd name="connsiteY34" fmla="*/ 374869 h 638175"/>
                <a:gd name="connsiteX35" fmla="*/ 50082 w 409575"/>
                <a:gd name="connsiteY35" fmla="*/ 382250 h 638175"/>
                <a:gd name="connsiteX36" fmla="*/ 46393 w 409575"/>
                <a:gd name="connsiteY36" fmla="*/ 389631 h 638175"/>
                <a:gd name="connsiteX37" fmla="*/ 42704 w 409575"/>
                <a:gd name="connsiteY37" fmla="*/ 400703 h 638175"/>
                <a:gd name="connsiteX38" fmla="*/ 50082 w 409575"/>
                <a:gd name="connsiteY38" fmla="*/ 397012 h 638175"/>
                <a:gd name="connsiteX39" fmla="*/ 53772 w 409575"/>
                <a:gd name="connsiteY39" fmla="*/ 397012 h 638175"/>
                <a:gd name="connsiteX40" fmla="*/ 61150 w 409575"/>
                <a:gd name="connsiteY40" fmla="*/ 393322 h 638175"/>
                <a:gd name="connsiteX41" fmla="*/ 64839 w 409575"/>
                <a:gd name="connsiteY41" fmla="*/ 397012 h 638175"/>
                <a:gd name="connsiteX42" fmla="*/ 61150 w 409575"/>
                <a:gd name="connsiteY42" fmla="*/ 397012 h 638175"/>
                <a:gd name="connsiteX43" fmla="*/ 61150 w 409575"/>
                <a:gd name="connsiteY43" fmla="*/ 400703 h 638175"/>
                <a:gd name="connsiteX44" fmla="*/ 53772 w 409575"/>
                <a:gd name="connsiteY44" fmla="*/ 400703 h 638175"/>
                <a:gd name="connsiteX45" fmla="*/ 50082 w 409575"/>
                <a:gd name="connsiteY45" fmla="*/ 404394 h 638175"/>
                <a:gd name="connsiteX46" fmla="*/ 57461 w 409575"/>
                <a:gd name="connsiteY46" fmla="*/ 404394 h 638175"/>
                <a:gd name="connsiteX47" fmla="*/ 57461 w 409575"/>
                <a:gd name="connsiteY47" fmla="*/ 408084 h 638175"/>
                <a:gd name="connsiteX48" fmla="*/ 50082 w 409575"/>
                <a:gd name="connsiteY48" fmla="*/ 404394 h 638175"/>
                <a:gd name="connsiteX49" fmla="*/ 46393 w 409575"/>
                <a:gd name="connsiteY49" fmla="*/ 404394 h 638175"/>
                <a:gd name="connsiteX50" fmla="*/ 46393 w 409575"/>
                <a:gd name="connsiteY50" fmla="*/ 408084 h 638175"/>
                <a:gd name="connsiteX51" fmla="*/ 39015 w 409575"/>
                <a:gd name="connsiteY51" fmla="*/ 404394 h 638175"/>
                <a:gd name="connsiteX52" fmla="*/ 39015 w 409575"/>
                <a:gd name="connsiteY52" fmla="*/ 411775 h 638175"/>
                <a:gd name="connsiteX53" fmla="*/ 42704 w 409575"/>
                <a:gd name="connsiteY53" fmla="*/ 419156 h 638175"/>
                <a:gd name="connsiteX54" fmla="*/ 39015 w 409575"/>
                <a:gd name="connsiteY54" fmla="*/ 422847 h 638175"/>
                <a:gd name="connsiteX55" fmla="*/ 39015 w 409575"/>
                <a:gd name="connsiteY55" fmla="*/ 430227 h 638175"/>
                <a:gd name="connsiteX56" fmla="*/ 35326 w 409575"/>
                <a:gd name="connsiteY56" fmla="*/ 437608 h 638175"/>
                <a:gd name="connsiteX57" fmla="*/ 31637 w 409575"/>
                <a:gd name="connsiteY57" fmla="*/ 452370 h 638175"/>
                <a:gd name="connsiteX58" fmla="*/ 27947 w 409575"/>
                <a:gd name="connsiteY58" fmla="*/ 463442 h 638175"/>
                <a:gd name="connsiteX59" fmla="*/ 20569 w 409575"/>
                <a:gd name="connsiteY59" fmla="*/ 481898 h 638175"/>
                <a:gd name="connsiteX60" fmla="*/ 5812 w 409575"/>
                <a:gd name="connsiteY60" fmla="*/ 511416 h 638175"/>
                <a:gd name="connsiteX61" fmla="*/ 31637 w 409575"/>
                <a:gd name="connsiteY61" fmla="*/ 522493 h 638175"/>
                <a:gd name="connsiteX62" fmla="*/ 42704 w 409575"/>
                <a:gd name="connsiteY62" fmla="*/ 526179 h 638175"/>
                <a:gd name="connsiteX63" fmla="*/ 42704 w 409575"/>
                <a:gd name="connsiteY63" fmla="*/ 518798 h 638175"/>
                <a:gd name="connsiteX64" fmla="*/ 46393 w 409575"/>
                <a:gd name="connsiteY64" fmla="*/ 522493 h 638175"/>
                <a:gd name="connsiteX65" fmla="*/ 50082 w 409575"/>
                <a:gd name="connsiteY65" fmla="*/ 518798 h 638175"/>
                <a:gd name="connsiteX66" fmla="*/ 53772 w 409575"/>
                <a:gd name="connsiteY66" fmla="*/ 518798 h 638175"/>
                <a:gd name="connsiteX67" fmla="*/ 57461 w 409575"/>
                <a:gd name="connsiteY67" fmla="*/ 518798 h 638175"/>
                <a:gd name="connsiteX68" fmla="*/ 64839 w 409575"/>
                <a:gd name="connsiteY68" fmla="*/ 522493 h 638175"/>
                <a:gd name="connsiteX69" fmla="*/ 61150 w 409575"/>
                <a:gd name="connsiteY69" fmla="*/ 529875 h 638175"/>
                <a:gd name="connsiteX70" fmla="*/ 57461 w 409575"/>
                <a:gd name="connsiteY70" fmla="*/ 533561 h 638175"/>
                <a:gd name="connsiteX71" fmla="*/ 57461 w 409575"/>
                <a:gd name="connsiteY71" fmla="*/ 540943 h 638175"/>
                <a:gd name="connsiteX72" fmla="*/ 53772 w 409575"/>
                <a:gd name="connsiteY72" fmla="*/ 540943 h 638175"/>
                <a:gd name="connsiteX73" fmla="*/ 53772 w 409575"/>
                <a:gd name="connsiteY73" fmla="*/ 544639 h 638175"/>
                <a:gd name="connsiteX74" fmla="*/ 53772 w 409575"/>
                <a:gd name="connsiteY74" fmla="*/ 548325 h 638175"/>
                <a:gd name="connsiteX75" fmla="*/ 50082 w 409575"/>
                <a:gd name="connsiteY75" fmla="*/ 552011 h 638175"/>
                <a:gd name="connsiteX76" fmla="*/ 46393 w 409575"/>
                <a:gd name="connsiteY76" fmla="*/ 555707 h 638175"/>
                <a:gd name="connsiteX77" fmla="*/ 42704 w 409575"/>
                <a:gd name="connsiteY77" fmla="*/ 559393 h 638175"/>
                <a:gd name="connsiteX78" fmla="*/ 42704 w 409575"/>
                <a:gd name="connsiteY78" fmla="*/ 563089 h 638175"/>
                <a:gd name="connsiteX79" fmla="*/ 42704 w 409575"/>
                <a:gd name="connsiteY79" fmla="*/ 566775 h 638175"/>
                <a:gd name="connsiteX80" fmla="*/ 42704 w 409575"/>
                <a:gd name="connsiteY80" fmla="*/ 570471 h 638175"/>
                <a:gd name="connsiteX81" fmla="*/ 42704 w 409575"/>
                <a:gd name="connsiteY81" fmla="*/ 577853 h 638175"/>
                <a:gd name="connsiteX82" fmla="*/ 39015 w 409575"/>
                <a:gd name="connsiteY82" fmla="*/ 581539 h 638175"/>
                <a:gd name="connsiteX83" fmla="*/ 39015 w 409575"/>
                <a:gd name="connsiteY83" fmla="*/ 585234 h 638175"/>
                <a:gd name="connsiteX84" fmla="*/ 35326 w 409575"/>
                <a:gd name="connsiteY84" fmla="*/ 585234 h 638175"/>
                <a:gd name="connsiteX85" fmla="*/ 35326 w 409575"/>
                <a:gd name="connsiteY85" fmla="*/ 588921 h 638175"/>
                <a:gd name="connsiteX86" fmla="*/ 35326 w 409575"/>
                <a:gd name="connsiteY86" fmla="*/ 592616 h 638175"/>
                <a:gd name="connsiteX87" fmla="*/ 35326 w 409575"/>
                <a:gd name="connsiteY87" fmla="*/ 596303 h 638175"/>
                <a:gd name="connsiteX88" fmla="*/ 39015 w 409575"/>
                <a:gd name="connsiteY88" fmla="*/ 596303 h 638175"/>
                <a:gd name="connsiteX89" fmla="*/ 42704 w 409575"/>
                <a:gd name="connsiteY89" fmla="*/ 599989 h 638175"/>
                <a:gd name="connsiteX90" fmla="*/ 46393 w 409575"/>
                <a:gd name="connsiteY90" fmla="*/ 599989 h 638175"/>
                <a:gd name="connsiteX91" fmla="*/ 50082 w 409575"/>
                <a:gd name="connsiteY91" fmla="*/ 596303 h 638175"/>
                <a:gd name="connsiteX92" fmla="*/ 57461 w 409575"/>
                <a:gd name="connsiteY92" fmla="*/ 599989 h 638175"/>
                <a:gd name="connsiteX93" fmla="*/ 68528 w 409575"/>
                <a:gd name="connsiteY93" fmla="*/ 599989 h 638175"/>
                <a:gd name="connsiteX94" fmla="*/ 72217 w 409575"/>
                <a:gd name="connsiteY94" fmla="*/ 599989 h 638175"/>
                <a:gd name="connsiteX95" fmla="*/ 75906 w 409575"/>
                <a:gd name="connsiteY95" fmla="*/ 599989 h 638175"/>
                <a:gd name="connsiteX96" fmla="*/ 79596 w 409575"/>
                <a:gd name="connsiteY96" fmla="*/ 596303 h 638175"/>
                <a:gd name="connsiteX97" fmla="*/ 86974 w 409575"/>
                <a:gd name="connsiteY97" fmla="*/ 592616 h 638175"/>
                <a:gd name="connsiteX98" fmla="*/ 90663 w 409575"/>
                <a:gd name="connsiteY98" fmla="*/ 592616 h 638175"/>
                <a:gd name="connsiteX99" fmla="*/ 90663 w 409575"/>
                <a:gd name="connsiteY99" fmla="*/ 588921 h 638175"/>
                <a:gd name="connsiteX100" fmla="*/ 94352 w 409575"/>
                <a:gd name="connsiteY100" fmla="*/ 592616 h 638175"/>
                <a:gd name="connsiteX101" fmla="*/ 98041 w 409575"/>
                <a:gd name="connsiteY101" fmla="*/ 592616 h 638175"/>
                <a:gd name="connsiteX102" fmla="*/ 101731 w 409575"/>
                <a:gd name="connsiteY102" fmla="*/ 592616 h 638175"/>
                <a:gd name="connsiteX103" fmla="*/ 105420 w 409575"/>
                <a:gd name="connsiteY103" fmla="*/ 588921 h 638175"/>
                <a:gd name="connsiteX104" fmla="*/ 109109 w 409575"/>
                <a:gd name="connsiteY104" fmla="*/ 585234 h 638175"/>
                <a:gd name="connsiteX105" fmla="*/ 120176 w 409575"/>
                <a:gd name="connsiteY105" fmla="*/ 588921 h 638175"/>
                <a:gd name="connsiteX106" fmla="*/ 116487 w 409575"/>
                <a:gd name="connsiteY106" fmla="*/ 599989 h 638175"/>
                <a:gd name="connsiteX107" fmla="*/ 120176 w 409575"/>
                <a:gd name="connsiteY107" fmla="*/ 603684 h 638175"/>
                <a:gd name="connsiteX108" fmla="*/ 123866 w 409575"/>
                <a:gd name="connsiteY108" fmla="*/ 607371 h 638175"/>
                <a:gd name="connsiteX109" fmla="*/ 127555 w 409575"/>
                <a:gd name="connsiteY109" fmla="*/ 599989 h 638175"/>
                <a:gd name="connsiteX110" fmla="*/ 131244 w 409575"/>
                <a:gd name="connsiteY110" fmla="*/ 599989 h 638175"/>
                <a:gd name="connsiteX111" fmla="*/ 138622 w 409575"/>
                <a:gd name="connsiteY111" fmla="*/ 599989 h 638175"/>
                <a:gd name="connsiteX112" fmla="*/ 142312 w 409575"/>
                <a:gd name="connsiteY112" fmla="*/ 596303 h 638175"/>
                <a:gd name="connsiteX113" fmla="*/ 142312 w 409575"/>
                <a:gd name="connsiteY113" fmla="*/ 592616 h 638175"/>
                <a:gd name="connsiteX114" fmla="*/ 146001 w 409575"/>
                <a:gd name="connsiteY114" fmla="*/ 592616 h 638175"/>
                <a:gd name="connsiteX115" fmla="*/ 149690 w 409575"/>
                <a:gd name="connsiteY115" fmla="*/ 592616 h 638175"/>
                <a:gd name="connsiteX116" fmla="*/ 153380 w 409575"/>
                <a:gd name="connsiteY116" fmla="*/ 592616 h 638175"/>
                <a:gd name="connsiteX117" fmla="*/ 157069 w 409575"/>
                <a:gd name="connsiteY117" fmla="*/ 592616 h 638175"/>
                <a:gd name="connsiteX118" fmla="*/ 160758 w 409575"/>
                <a:gd name="connsiteY118" fmla="*/ 592616 h 638175"/>
                <a:gd name="connsiteX119" fmla="*/ 164447 w 409575"/>
                <a:gd name="connsiteY119" fmla="*/ 592616 h 638175"/>
                <a:gd name="connsiteX120" fmla="*/ 168136 w 409575"/>
                <a:gd name="connsiteY120" fmla="*/ 588921 h 638175"/>
                <a:gd name="connsiteX121" fmla="*/ 171826 w 409575"/>
                <a:gd name="connsiteY121" fmla="*/ 588921 h 638175"/>
                <a:gd name="connsiteX122" fmla="*/ 171826 w 409575"/>
                <a:gd name="connsiteY122" fmla="*/ 585234 h 638175"/>
                <a:gd name="connsiteX123" fmla="*/ 175515 w 409575"/>
                <a:gd name="connsiteY123" fmla="*/ 585234 h 638175"/>
                <a:gd name="connsiteX124" fmla="*/ 179204 w 409575"/>
                <a:gd name="connsiteY124" fmla="*/ 581539 h 638175"/>
                <a:gd name="connsiteX125" fmla="*/ 182893 w 409575"/>
                <a:gd name="connsiteY125" fmla="*/ 581539 h 638175"/>
                <a:gd name="connsiteX126" fmla="*/ 182893 w 409575"/>
                <a:gd name="connsiteY126" fmla="*/ 577853 h 638175"/>
                <a:gd name="connsiteX127" fmla="*/ 190272 w 409575"/>
                <a:gd name="connsiteY127" fmla="*/ 574157 h 638175"/>
                <a:gd name="connsiteX128" fmla="*/ 193961 w 409575"/>
                <a:gd name="connsiteY128" fmla="*/ 570471 h 638175"/>
                <a:gd name="connsiteX129" fmla="*/ 197650 w 409575"/>
                <a:gd name="connsiteY129" fmla="*/ 570471 h 638175"/>
                <a:gd name="connsiteX130" fmla="*/ 201339 w 409575"/>
                <a:gd name="connsiteY130" fmla="*/ 570471 h 638175"/>
                <a:gd name="connsiteX131" fmla="*/ 205028 w 409575"/>
                <a:gd name="connsiteY131" fmla="*/ 574157 h 638175"/>
                <a:gd name="connsiteX132" fmla="*/ 205028 w 409575"/>
                <a:gd name="connsiteY132" fmla="*/ 570471 h 638175"/>
                <a:gd name="connsiteX133" fmla="*/ 208717 w 409575"/>
                <a:gd name="connsiteY133" fmla="*/ 570471 h 638175"/>
                <a:gd name="connsiteX134" fmla="*/ 212406 w 409575"/>
                <a:gd name="connsiteY134" fmla="*/ 570471 h 638175"/>
                <a:gd name="connsiteX135" fmla="*/ 212406 w 409575"/>
                <a:gd name="connsiteY135" fmla="*/ 566775 h 638175"/>
                <a:gd name="connsiteX136" fmla="*/ 216096 w 409575"/>
                <a:gd name="connsiteY136" fmla="*/ 563089 h 638175"/>
                <a:gd name="connsiteX137" fmla="*/ 219785 w 409575"/>
                <a:gd name="connsiteY137" fmla="*/ 559393 h 638175"/>
                <a:gd name="connsiteX138" fmla="*/ 216096 w 409575"/>
                <a:gd name="connsiteY138" fmla="*/ 555707 h 638175"/>
                <a:gd name="connsiteX139" fmla="*/ 216096 w 409575"/>
                <a:gd name="connsiteY139" fmla="*/ 552011 h 638175"/>
                <a:gd name="connsiteX140" fmla="*/ 219785 w 409575"/>
                <a:gd name="connsiteY140" fmla="*/ 548325 h 638175"/>
                <a:gd name="connsiteX141" fmla="*/ 227163 w 409575"/>
                <a:gd name="connsiteY141" fmla="*/ 552011 h 638175"/>
                <a:gd name="connsiteX142" fmla="*/ 230852 w 409575"/>
                <a:gd name="connsiteY142" fmla="*/ 552011 h 638175"/>
                <a:gd name="connsiteX143" fmla="*/ 234541 w 409575"/>
                <a:gd name="connsiteY143" fmla="*/ 552011 h 638175"/>
                <a:gd name="connsiteX144" fmla="*/ 238230 w 409575"/>
                <a:gd name="connsiteY144" fmla="*/ 552011 h 638175"/>
                <a:gd name="connsiteX145" fmla="*/ 238230 w 409575"/>
                <a:gd name="connsiteY145" fmla="*/ 548325 h 638175"/>
                <a:gd name="connsiteX146" fmla="*/ 245609 w 409575"/>
                <a:gd name="connsiteY146" fmla="*/ 544639 h 638175"/>
                <a:gd name="connsiteX147" fmla="*/ 245609 w 409575"/>
                <a:gd name="connsiteY147" fmla="*/ 540943 h 638175"/>
                <a:gd name="connsiteX148" fmla="*/ 252987 w 409575"/>
                <a:gd name="connsiteY148" fmla="*/ 544639 h 638175"/>
                <a:gd name="connsiteX149" fmla="*/ 252987 w 409575"/>
                <a:gd name="connsiteY149" fmla="*/ 540943 h 638175"/>
                <a:gd name="connsiteX150" fmla="*/ 252987 w 409575"/>
                <a:gd name="connsiteY150" fmla="*/ 537257 h 638175"/>
                <a:gd name="connsiteX151" fmla="*/ 256676 w 409575"/>
                <a:gd name="connsiteY151" fmla="*/ 537257 h 638175"/>
                <a:gd name="connsiteX152" fmla="*/ 256676 w 409575"/>
                <a:gd name="connsiteY152" fmla="*/ 533561 h 638175"/>
                <a:gd name="connsiteX153" fmla="*/ 260365 w 409575"/>
                <a:gd name="connsiteY153" fmla="*/ 533561 h 638175"/>
                <a:gd name="connsiteX154" fmla="*/ 264055 w 409575"/>
                <a:gd name="connsiteY154" fmla="*/ 533561 h 638175"/>
                <a:gd name="connsiteX155" fmla="*/ 264055 w 409575"/>
                <a:gd name="connsiteY155" fmla="*/ 548325 h 638175"/>
                <a:gd name="connsiteX156" fmla="*/ 267744 w 409575"/>
                <a:gd name="connsiteY156" fmla="*/ 544639 h 638175"/>
                <a:gd name="connsiteX157" fmla="*/ 271433 w 409575"/>
                <a:gd name="connsiteY157" fmla="*/ 548325 h 638175"/>
                <a:gd name="connsiteX158" fmla="*/ 275122 w 409575"/>
                <a:gd name="connsiteY158" fmla="*/ 548325 h 638175"/>
                <a:gd name="connsiteX159" fmla="*/ 278811 w 409575"/>
                <a:gd name="connsiteY159" fmla="*/ 544639 h 638175"/>
                <a:gd name="connsiteX160" fmla="*/ 282500 w 409575"/>
                <a:gd name="connsiteY160" fmla="*/ 544639 h 638175"/>
                <a:gd name="connsiteX161" fmla="*/ 286190 w 409575"/>
                <a:gd name="connsiteY161" fmla="*/ 548325 h 638175"/>
                <a:gd name="connsiteX162" fmla="*/ 282500 w 409575"/>
                <a:gd name="connsiteY162" fmla="*/ 548325 h 638175"/>
                <a:gd name="connsiteX163" fmla="*/ 278811 w 409575"/>
                <a:gd name="connsiteY163" fmla="*/ 548325 h 638175"/>
                <a:gd name="connsiteX164" fmla="*/ 278811 w 409575"/>
                <a:gd name="connsiteY164" fmla="*/ 552011 h 638175"/>
                <a:gd name="connsiteX165" fmla="*/ 275122 w 409575"/>
                <a:gd name="connsiteY165" fmla="*/ 552011 h 638175"/>
                <a:gd name="connsiteX166" fmla="*/ 271433 w 409575"/>
                <a:gd name="connsiteY166" fmla="*/ 552011 h 638175"/>
                <a:gd name="connsiteX167" fmla="*/ 271433 w 409575"/>
                <a:gd name="connsiteY167" fmla="*/ 555707 h 638175"/>
                <a:gd name="connsiteX168" fmla="*/ 267744 w 409575"/>
                <a:gd name="connsiteY168" fmla="*/ 555707 h 638175"/>
                <a:gd name="connsiteX169" fmla="*/ 264055 w 409575"/>
                <a:gd name="connsiteY169" fmla="*/ 555707 h 638175"/>
                <a:gd name="connsiteX170" fmla="*/ 264055 w 409575"/>
                <a:gd name="connsiteY170" fmla="*/ 559393 h 638175"/>
                <a:gd name="connsiteX171" fmla="*/ 267744 w 409575"/>
                <a:gd name="connsiteY171" fmla="*/ 570471 h 638175"/>
                <a:gd name="connsiteX172" fmla="*/ 271433 w 409575"/>
                <a:gd name="connsiteY172" fmla="*/ 574157 h 638175"/>
                <a:gd name="connsiteX173" fmla="*/ 271433 w 409575"/>
                <a:gd name="connsiteY173" fmla="*/ 570471 h 638175"/>
                <a:gd name="connsiteX174" fmla="*/ 275122 w 409575"/>
                <a:gd name="connsiteY174" fmla="*/ 570471 h 638175"/>
                <a:gd name="connsiteX175" fmla="*/ 275122 w 409575"/>
                <a:gd name="connsiteY175" fmla="*/ 574157 h 638175"/>
                <a:gd name="connsiteX176" fmla="*/ 275122 w 409575"/>
                <a:gd name="connsiteY176" fmla="*/ 581539 h 638175"/>
                <a:gd name="connsiteX177" fmla="*/ 282500 w 409575"/>
                <a:gd name="connsiteY177" fmla="*/ 585234 h 638175"/>
                <a:gd name="connsiteX178" fmla="*/ 275122 w 409575"/>
                <a:gd name="connsiteY178" fmla="*/ 588921 h 638175"/>
                <a:gd name="connsiteX179" fmla="*/ 271433 w 409575"/>
                <a:gd name="connsiteY179" fmla="*/ 588921 h 638175"/>
                <a:gd name="connsiteX180" fmla="*/ 271433 w 409575"/>
                <a:gd name="connsiteY180" fmla="*/ 596303 h 638175"/>
                <a:gd name="connsiteX181" fmla="*/ 271433 w 409575"/>
                <a:gd name="connsiteY181" fmla="*/ 603684 h 638175"/>
                <a:gd name="connsiteX182" fmla="*/ 271433 w 409575"/>
                <a:gd name="connsiteY182" fmla="*/ 607371 h 638175"/>
                <a:gd name="connsiteX183" fmla="*/ 271433 w 409575"/>
                <a:gd name="connsiteY183" fmla="*/ 611066 h 638175"/>
                <a:gd name="connsiteX184" fmla="*/ 264055 w 409575"/>
                <a:gd name="connsiteY184" fmla="*/ 611066 h 638175"/>
                <a:gd name="connsiteX185" fmla="*/ 267744 w 409575"/>
                <a:gd name="connsiteY185" fmla="*/ 614752 h 638175"/>
                <a:gd name="connsiteX186" fmla="*/ 271433 w 409575"/>
                <a:gd name="connsiteY186" fmla="*/ 614752 h 638175"/>
                <a:gd name="connsiteX187" fmla="*/ 271433 w 409575"/>
                <a:gd name="connsiteY187" fmla="*/ 618448 h 638175"/>
                <a:gd name="connsiteX188" fmla="*/ 271433 w 409575"/>
                <a:gd name="connsiteY188" fmla="*/ 625830 h 638175"/>
                <a:gd name="connsiteX189" fmla="*/ 275122 w 409575"/>
                <a:gd name="connsiteY189" fmla="*/ 625830 h 638175"/>
                <a:gd name="connsiteX190" fmla="*/ 275122 w 409575"/>
                <a:gd name="connsiteY190" fmla="*/ 640594 h 638175"/>
                <a:gd name="connsiteX191" fmla="*/ 289879 w 409575"/>
                <a:gd name="connsiteY191" fmla="*/ 636898 h 638175"/>
                <a:gd name="connsiteX192" fmla="*/ 308326 w 409575"/>
                <a:gd name="connsiteY192" fmla="*/ 629516 h 638175"/>
                <a:gd name="connsiteX193" fmla="*/ 312015 w 409575"/>
                <a:gd name="connsiteY193" fmla="*/ 629516 h 638175"/>
                <a:gd name="connsiteX194" fmla="*/ 334150 w 409575"/>
                <a:gd name="connsiteY194" fmla="*/ 633212 h 638175"/>
                <a:gd name="connsiteX195" fmla="*/ 337839 w 409575"/>
                <a:gd name="connsiteY195" fmla="*/ 633212 h 638175"/>
                <a:gd name="connsiteX196" fmla="*/ 341528 w 409575"/>
                <a:gd name="connsiteY196" fmla="*/ 633212 h 638175"/>
                <a:gd name="connsiteX197" fmla="*/ 348906 w 409575"/>
                <a:gd name="connsiteY197" fmla="*/ 633212 h 638175"/>
                <a:gd name="connsiteX198" fmla="*/ 359974 w 409575"/>
                <a:gd name="connsiteY198" fmla="*/ 611066 h 638175"/>
                <a:gd name="connsiteX199" fmla="*/ 359974 w 409575"/>
                <a:gd name="connsiteY199" fmla="*/ 603684 h 638175"/>
                <a:gd name="connsiteX200" fmla="*/ 363663 w 409575"/>
                <a:gd name="connsiteY200" fmla="*/ 596303 h 638175"/>
                <a:gd name="connsiteX201" fmla="*/ 367352 w 409575"/>
                <a:gd name="connsiteY201" fmla="*/ 585234 h 638175"/>
                <a:gd name="connsiteX202" fmla="*/ 371041 w 409575"/>
                <a:gd name="connsiteY202" fmla="*/ 577853 h 638175"/>
                <a:gd name="connsiteX203" fmla="*/ 371041 w 409575"/>
                <a:gd name="connsiteY203" fmla="*/ 574157 h 638175"/>
                <a:gd name="connsiteX204" fmla="*/ 371041 w 409575"/>
                <a:gd name="connsiteY204" fmla="*/ 570471 h 638175"/>
                <a:gd name="connsiteX205" fmla="*/ 382106 w 409575"/>
                <a:gd name="connsiteY205" fmla="*/ 548325 h 638175"/>
                <a:gd name="connsiteX206" fmla="*/ 389488 w 409575"/>
                <a:gd name="connsiteY206" fmla="*/ 552011 h 638175"/>
                <a:gd name="connsiteX207" fmla="*/ 404242 w 409575"/>
                <a:gd name="connsiteY207" fmla="*/ 552011 h 638175"/>
                <a:gd name="connsiteX208" fmla="*/ 396870 w 409575"/>
                <a:gd name="connsiteY208" fmla="*/ 544639 h 638175"/>
                <a:gd name="connsiteX209" fmla="*/ 396870 w 409575"/>
                <a:gd name="connsiteY209" fmla="*/ 540943 h 638175"/>
                <a:gd name="connsiteX210" fmla="*/ 400556 w 409575"/>
                <a:gd name="connsiteY210" fmla="*/ 537257 h 638175"/>
                <a:gd name="connsiteX211" fmla="*/ 396870 w 409575"/>
                <a:gd name="connsiteY211" fmla="*/ 537257 h 638175"/>
                <a:gd name="connsiteX212" fmla="*/ 393174 w 409575"/>
                <a:gd name="connsiteY212" fmla="*/ 537257 h 638175"/>
                <a:gd name="connsiteX213" fmla="*/ 389488 w 409575"/>
                <a:gd name="connsiteY213" fmla="*/ 533561 h 638175"/>
                <a:gd name="connsiteX214" fmla="*/ 385802 w 409575"/>
                <a:gd name="connsiteY214" fmla="*/ 533561 h 638175"/>
                <a:gd name="connsiteX215" fmla="*/ 382106 w 409575"/>
                <a:gd name="connsiteY215" fmla="*/ 529875 h 638175"/>
                <a:gd name="connsiteX216" fmla="*/ 378420 w 409575"/>
                <a:gd name="connsiteY216" fmla="*/ 529875 h 638175"/>
                <a:gd name="connsiteX217" fmla="*/ 378420 w 409575"/>
                <a:gd name="connsiteY217" fmla="*/ 526179 h 638175"/>
                <a:gd name="connsiteX218" fmla="*/ 374730 w 409575"/>
                <a:gd name="connsiteY218" fmla="*/ 522493 h 638175"/>
                <a:gd name="connsiteX219" fmla="*/ 371041 w 409575"/>
                <a:gd name="connsiteY219" fmla="*/ 526179 h 638175"/>
                <a:gd name="connsiteX220" fmla="*/ 367352 w 409575"/>
                <a:gd name="connsiteY220" fmla="*/ 526179 h 638175"/>
                <a:gd name="connsiteX221" fmla="*/ 363663 w 409575"/>
                <a:gd name="connsiteY221" fmla="*/ 526179 h 638175"/>
                <a:gd name="connsiteX222" fmla="*/ 348906 w 409575"/>
                <a:gd name="connsiteY222" fmla="*/ 526179 h 638175"/>
                <a:gd name="connsiteX223" fmla="*/ 345217 w 409575"/>
                <a:gd name="connsiteY223" fmla="*/ 529875 h 638175"/>
                <a:gd name="connsiteX224" fmla="*/ 341528 w 409575"/>
                <a:gd name="connsiteY224" fmla="*/ 529875 h 638175"/>
                <a:gd name="connsiteX225" fmla="*/ 337839 w 409575"/>
                <a:gd name="connsiteY225" fmla="*/ 533561 h 638175"/>
                <a:gd name="connsiteX226" fmla="*/ 334150 w 409575"/>
                <a:gd name="connsiteY226" fmla="*/ 533561 h 638175"/>
                <a:gd name="connsiteX227" fmla="*/ 334150 w 409575"/>
                <a:gd name="connsiteY227" fmla="*/ 529875 h 638175"/>
                <a:gd name="connsiteX228" fmla="*/ 330460 w 409575"/>
                <a:gd name="connsiteY228" fmla="*/ 529875 h 638175"/>
                <a:gd name="connsiteX229" fmla="*/ 326771 w 409575"/>
                <a:gd name="connsiteY229" fmla="*/ 526179 h 638175"/>
                <a:gd name="connsiteX230" fmla="*/ 323082 w 409575"/>
                <a:gd name="connsiteY230" fmla="*/ 522493 h 638175"/>
                <a:gd name="connsiteX231" fmla="*/ 319393 w 409575"/>
                <a:gd name="connsiteY231" fmla="*/ 515111 h 638175"/>
                <a:gd name="connsiteX232" fmla="*/ 315704 w 409575"/>
                <a:gd name="connsiteY232" fmla="*/ 515111 h 638175"/>
                <a:gd name="connsiteX233" fmla="*/ 315704 w 409575"/>
                <a:gd name="connsiteY233" fmla="*/ 511416 h 638175"/>
                <a:gd name="connsiteX234" fmla="*/ 308326 w 409575"/>
                <a:gd name="connsiteY234" fmla="*/ 511416 h 638175"/>
                <a:gd name="connsiteX235" fmla="*/ 304636 w 409575"/>
                <a:gd name="connsiteY235" fmla="*/ 511416 h 638175"/>
                <a:gd name="connsiteX236" fmla="*/ 300947 w 409575"/>
                <a:gd name="connsiteY236" fmla="*/ 504043 h 638175"/>
                <a:gd name="connsiteX237" fmla="*/ 289879 w 409575"/>
                <a:gd name="connsiteY237" fmla="*/ 504043 h 638175"/>
                <a:gd name="connsiteX238" fmla="*/ 286190 w 409575"/>
                <a:gd name="connsiteY238" fmla="*/ 504043 h 638175"/>
                <a:gd name="connsiteX239" fmla="*/ 282500 w 409575"/>
                <a:gd name="connsiteY239" fmla="*/ 504043 h 638175"/>
                <a:gd name="connsiteX240" fmla="*/ 275122 w 409575"/>
                <a:gd name="connsiteY240" fmla="*/ 507730 h 638175"/>
                <a:gd name="connsiteX241" fmla="*/ 271433 w 409575"/>
                <a:gd name="connsiteY241" fmla="*/ 504043 h 638175"/>
                <a:gd name="connsiteX242" fmla="*/ 271433 w 409575"/>
                <a:gd name="connsiteY242" fmla="*/ 507730 h 638175"/>
                <a:gd name="connsiteX243" fmla="*/ 267744 w 409575"/>
                <a:gd name="connsiteY243" fmla="*/ 507730 h 638175"/>
                <a:gd name="connsiteX244" fmla="*/ 267744 w 409575"/>
                <a:gd name="connsiteY244" fmla="*/ 504043 h 638175"/>
                <a:gd name="connsiteX245" fmla="*/ 271433 w 409575"/>
                <a:gd name="connsiteY245" fmla="*/ 504043 h 638175"/>
                <a:gd name="connsiteX246" fmla="*/ 271433 w 409575"/>
                <a:gd name="connsiteY246" fmla="*/ 500348 h 638175"/>
                <a:gd name="connsiteX247" fmla="*/ 267744 w 409575"/>
                <a:gd name="connsiteY247" fmla="*/ 496662 h 638175"/>
                <a:gd name="connsiteX248" fmla="*/ 264055 w 409575"/>
                <a:gd name="connsiteY248" fmla="*/ 496662 h 638175"/>
                <a:gd name="connsiteX249" fmla="*/ 260365 w 409575"/>
                <a:gd name="connsiteY249" fmla="*/ 500348 h 638175"/>
                <a:gd name="connsiteX250" fmla="*/ 256676 w 409575"/>
                <a:gd name="connsiteY250" fmla="*/ 500348 h 638175"/>
                <a:gd name="connsiteX251" fmla="*/ 252987 w 409575"/>
                <a:gd name="connsiteY251" fmla="*/ 500348 h 638175"/>
                <a:gd name="connsiteX252" fmla="*/ 252987 w 409575"/>
                <a:gd name="connsiteY252" fmla="*/ 496662 h 638175"/>
                <a:gd name="connsiteX253" fmla="*/ 256676 w 409575"/>
                <a:gd name="connsiteY253" fmla="*/ 496662 h 638175"/>
                <a:gd name="connsiteX254" fmla="*/ 256676 w 409575"/>
                <a:gd name="connsiteY254" fmla="*/ 492966 h 638175"/>
                <a:gd name="connsiteX255" fmla="*/ 256676 w 409575"/>
                <a:gd name="connsiteY255" fmla="*/ 489280 h 638175"/>
                <a:gd name="connsiteX256" fmla="*/ 249298 w 409575"/>
                <a:gd name="connsiteY256" fmla="*/ 485584 h 638175"/>
                <a:gd name="connsiteX257" fmla="*/ 245609 w 409575"/>
                <a:gd name="connsiteY257" fmla="*/ 485584 h 638175"/>
                <a:gd name="connsiteX258" fmla="*/ 245609 w 409575"/>
                <a:gd name="connsiteY258" fmla="*/ 489280 h 638175"/>
                <a:gd name="connsiteX259" fmla="*/ 241920 w 409575"/>
                <a:gd name="connsiteY259" fmla="*/ 489280 h 638175"/>
                <a:gd name="connsiteX260" fmla="*/ 238230 w 409575"/>
                <a:gd name="connsiteY260" fmla="*/ 485584 h 638175"/>
                <a:gd name="connsiteX261" fmla="*/ 234541 w 409575"/>
                <a:gd name="connsiteY261" fmla="*/ 485584 h 638175"/>
                <a:gd name="connsiteX262" fmla="*/ 234541 w 409575"/>
                <a:gd name="connsiteY262" fmla="*/ 481898 h 638175"/>
                <a:gd name="connsiteX263" fmla="*/ 238230 w 409575"/>
                <a:gd name="connsiteY263" fmla="*/ 481898 h 638175"/>
                <a:gd name="connsiteX264" fmla="*/ 241920 w 409575"/>
                <a:gd name="connsiteY264" fmla="*/ 481898 h 638175"/>
                <a:gd name="connsiteX265" fmla="*/ 245609 w 409575"/>
                <a:gd name="connsiteY265" fmla="*/ 478202 h 638175"/>
                <a:gd name="connsiteX266" fmla="*/ 234541 w 409575"/>
                <a:gd name="connsiteY266" fmla="*/ 470823 h 638175"/>
                <a:gd name="connsiteX267" fmla="*/ 234541 w 409575"/>
                <a:gd name="connsiteY267" fmla="*/ 467133 h 638175"/>
                <a:gd name="connsiteX268" fmla="*/ 241920 w 409575"/>
                <a:gd name="connsiteY268" fmla="*/ 470823 h 638175"/>
                <a:gd name="connsiteX269" fmla="*/ 245609 w 409575"/>
                <a:gd name="connsiteY269" fmla="*/ 474514 h 638175"/>
                <a:gd name="connsiteX270" fmla="*/ 249298 w 409575"/>
                <a:gd name="connsiteY270" fmla="*/ 474514 h 638175"/>
                <a:gd name="connsiteX271" fmla="*/ 252987 w 409575"/>
                <a:gd name="connsiteY271" fmla="*/ 470823 h 638175"/>
                <a:gd name="connsiteX272" fmla="*/ 252987 w 409575"/>
                <a:gd name="connsiteY272" fmla="*/ 474514 h 638175"/>
                <a:gd name="connsiteX273" fmla="*/ 256676 w 409575"/>
                <a:gd name="connsiteY273" fmla="*/ 478202 h 638175"/>
                <a:gd name="connsiteX274" fmla="*/ 260365 w 409575"/>
                <a:gd name="connsiteY274" fmla="*/ 474514 h 638175"/>
                <a:gd name="connsiteX275" fmla="*/ 260365 w 409575"/>
                <a:gd name="connsiteY275" fmla="*/ 470823 h 638175"/>
                <a:gd name="connsiteX276" fmla="*/ 260365 w 409575"/>
                <a:gd name="connsiteY276" fmla="*/ 467133 h 638175"/>
                <a:gd name="connsiteX277" fmla="*/ 264055 w 409575"/>
                <a:gd name="connsiteY277" fmla="*/ 467133 h 638175"/>
                <a:gd name="connsiteX278" fmla="*/ 267744 w 409575"/>
                <a:gd name="connsiteY278" fmla="*/ 463442 h 638175"/>
                <a:gd name="connsiteX279" fmla="*/ 267744 w 409575"/>
                <a:gd name="connsiteY279" fmla="*/ 456061 h 638175"/>
                <a:gd name="connsiteX280" fmla="*/ 271433 w 409575"/>
                <a:gd name="connsiteY280" fmla="*/ 452370 h 638175"/>
                <a:gd name="connsiteX281" fmla="*/ 275122 w 409575"/>
                <a:gd name="connsiteY281" fmla="*/ 448680 h 638175"/>
                <a:gd name="connsiteX282" fmla="*/ 278811 w 409575"/>
                <a:gd name="connsiteY282" fmla="*/ 444989 h 638175"/>
                <a:gd name="connsiteX283" fmla="*/ 282500 w 409575"/>
                <a:gd name="connsiteY283" fmla="*/ 444989 h 638175"/>
                <a:gd name="connsiteX284" fmla="*/ 286190 w 409575"/>
                <a:gd name="connsiteY284" fmla="*/ 444989 h 638175"/>
                <a:gd name="connsiteX285" fmla="*/ 286190 w 409575"/>
                <a:gd name="connsiteY285" fmla="*/ 441299 h 638175"/>
                <a:gd name="connsiteX286" fmla="*/ 289879 w 409575"/>
                <a:gd name="connsiteY286" fmla="*/ 437608 h 638175"/>
                <a:gd name="connsiteX287" fmla="*/ 289879 w 409575"/>
                <a:gd name="connsiteY287" fmla="*/ 433917 h 638175"/>
                <a:gd name="connsiteX288" fmla="*/ 297258 w 409575"/>
                <a:gd name="connsiteY288" fmla="*/ 426537 h 638175"/>
                <a:gd name="connsiteX289" fmla="*/ 293568 w 409575"/>
                <a:gd name="connsiteY289" fmla="*/ 426537 h 638175"/>
                <a:gd name="connsiteX290" fmla="*/ 289879 w 409575"/>
                <a:gd name="connsiteY290" fmla="*/ 426537 h 638175"/>
                <a:gd name="connsiteX291" fmla="*/ 286190 w 409575"/>
                <a:gd name="connsiteY291" fmla="*/ 422847 h 638175"/>
                <a:gd name="connsiteX292" fmla="*/ 286190 w 409575"/>
                <a:gd name="connsiteY292" fmla="*/ 426537 h 638175"/>
                <a:gd name="connsiteX293" fmla="*/ 278811 w 409575"/>
                <a:gd name="connsiteY293" fmla="*/ 422847 h 638175"/>
                <a:gd name="connsiteX294" fmla="*/ 278811 w 409575"/>
                <a:gd name="connsiteY294" fmla="*/ 419156 h 638175"/>
                <a:gd name="connsiteX295" fmla="*/ 278811 w 409575"/>
                <a:gd name="connsiteY295" fmla="*/ 415465 h 638175"/>
                <a:gd name="connsiteX296" fmla="*/ 278811 w 409575"/>
                <a:gd name="connsiteY296" fmla="*/ 411775 h 638175"/>
                <a:gd name="connsiteX297" fmla="*/ 282500 w 409575"/>
                <a:gd name="connsiteY297" fmla="*/ 408084 h 638175"/>
                <a:gd name="connsiteX298" fmla="*/ 282500 w 409575"/>
                <a:gd name="connsiteY298" fmla="*/ 404394 h 638175"/>
                <a:gd name="connsiteX299" fmla="*/ 278811 w 409575"/>
                <a:gd name="connsiteY299" fmla="*/ 404394 h 638175"/>
                <a:gd name="connsiteX300" fmla="*/ 275122 w 409575"/>
                <a:gd name="connsiteY300" fmla="*/ 408084 h 638175"/>
                <a:gd name="connsiteX301" fmla="*/ 271433 w 409575"/>
                <a:gd name="connsiteY301" fmla="*/ 404394 h 638175"/>
                <a:gd name="connsiteX302" fmla="*/ 278811 w 409575"/>
                <a:gd name="connsiteY302" fmla="*/ 400703 h 638175"/>
                <a:gd name="connsiteX303" fmla="*/ 286190 w 409575"/>
                <a:gd name="connsiteY303" fmla="*/ 400703 h 638175"/>
                <a:gd name="connsiteX304" fmla="*/ 286190 w 409575"/>
                <a:gd name="connsiteY304" fmla="*/ 397012 h 638175"/>
                <a:gd name="connsiteX305" fmla="*/ 282500 w 409575"/>
                <a:gd name="connsiteY305" fmla="*/ 393322 h 638175"/>
                <a:gd name="connsiteX306" fmla="*/ 282500 w 409575"/>
                <a:gd name="connsiteY306" fmla="*/ 389631 h 638175"/>
                <a:gd name="connsiteX307" fmla="*/ 282500 w 409575"/>
                <a:gd name="connsiteY307" fmla="*/ 385940 h 638175"/>
                <a:gd name="connsiteX308" fmla="*/ 286190 w 409575"/>
                <a:gd name="connsiteY308" fmla="*/ 382250 h 638175"/>
                <a:gd name="connsiteX309" fmla="*/ 289879 w 409575"/>
                <a:gd name="connsiteY309" fmla="*/ 385940 h 638175"/>
                <a:gd name="connsiteX310" fmla="*/ 289879 w 409575"/>
                <a:gd name="connsiteY310" fmla="*/ 382250 h 638175"/>
                <a:gd name="connsiteX311" fmla="*/ 293568 w 409575"/>
                <a:gd name="connsiteY311" fmla="*/ 378559 h 638175"/>
                <a:gd name="connsiteX312" fmla="*/ 297258 w 409575"/>
                <a:gd name="connsiteY312" fmla="*/ 371178 h 638175"/>
                <a:gd name="connsiteX313" fmla="*/ 293568 w 409575"/>
                <a:gd name="connsiteY313" fmla="*/ 371178 h 638175"/>
                <a:gd name="connsiteX314" fmla="*/ 293568 w 409575"/>
                <a:gd name="connsiteY314" fmla="*/ 363797 h 638175"/>
                <a:gd name="connsiteX315" fmla="*/ 289879 w 409575"/>
                <a:gd name="connsiteY315" fmla="*/ 363797 h 638175"/>
                <a:gd name="connsiteX316" fmla="*/ 289879 w 409575"/>
                <a:gd name="connsiteY316" fmla="*/ 360106 h 638175"/>
                <a:gd name="connsiteX317" fmla="*/ 286190 w 409575"/>
                <a:gd name="connsiteY317" fmla="*/ 356416 h 638175"/>
                <a:gd name="connsiteX318" fmla="*/ 286190 w 409575"/>
                <a:gd name="connsiteY318" fmla="*/ 352725 h 638175"/>
                <a:gd name="connsiteX319" fmla="*/ 282500 w 409575"/>
                <a:gd name="connsiteY319" fmla="*/ 345344 h 638175"/>
                <a:gd name="connsiteX320" fmla="*/ 282500 w 409575"/>
                <a:gd name="connsiteY320" fmla="*/ 341654 h 638175"/>
                <a:gd name="connsiteX321" fmla="*/ 275122 w 409575"/>
                <a:gd name="connsiteY321" fmla="*/ 330582 h 638175"/>
                <a:gd name="connsiteX322" fmla="*/ 275122 w 409575"/>
                <a:gd name="connsiteY322" fmla="*/ 326892 h 638175"/>
                <a:gd name="connsiteX323" fmla="*/ 271433 w 409575"/>
                <a:gd name="connsiteY323" fmla="*/ 323201 h 638175"/>
                <a:gd name="connsiteX324" fmla="*/ 271433 w 409575"/>
                <a:gd name="connsiteY324" fmla="*/ 315820 h 638175"/>
                <a:gd name="connsiteX325" fmla="*/ 267744 w 409575"/>
                <a:gd name="connsiteY325" fmla="*/ 308439 h 638175"/>
                <a:gd name="connsiteX326" fmla="*/ 267744 w 409575"/>
                <a:gd name="connsiteY326" fmla="*/ 304748 h 638175"/>
                <a:gd name="connsiteX327" fmla="*/ 264055 w 409575"/>
                <a:gd name="connsiteY327" fmla="*/ 301057 h 638175"/>
                <a:gd name="connsiteX328" fmla="*/ 267744 w 409575"/>
                <a:gd name="connsiteY328" fmla="*/ 297367 h 638175"/>
                <a:gd name="connsiteX329" fmla="*/ 264055 w 409575"/>
                <a:gd name="connsiteY329" fmla="*/ 293676 h 638175"/>
                <a:gd name="connsiteX330" fmla="*/ 264055 w 409575"/>
                <a:gd name="connsiteY330" fmla="*/ 289986 h 638175"/>
                <a:gd name="connsiteX331" fmla="*/ 264055 w 409575"/>
                <a:gd name="connsiteY331" fmla="*/ 286295 h 638175"/>
                <a:gd name="connsiteX332" fmla="*/ 264055 w 409575"/>
                <a:gd name="connsiteY332" fmla="*/ 282604 h 638175"/>
                <a:gd name="connsiteX333" fmla="*/ 264055 w 409575"/>
                <a:gd name="connsiteY333" fmla="*/ 275223 h 638175"/>
                <a:gd name="connsiteX334" fmla="*/ 264055 w 409575"/>
                <a:gd name="connsiteY334" fmla="*/ 271532 h 638175"/>
                <a:gd name="connsiteX335" fmla="*/ 267744 w 409575"/>
                <a:gd name="connsiteY335" fmla="*/ 271532 h 638175"/>
                <a:gd name="connsiteX336" fmla="*/ 267744 w 409575"/>
                <a:gd name="connsiteY336" fmla="*/ 267842 h 638175"/>
                <a:gd name="connsiteX337" fmla="*/ 271433 w 409575"/>
                <a:gd name="connsiteY337" fmla="*/ 267842 h 638175"/>
                <a:gd name="connsiteX338" fmla="*/ 275122 w 409575"/>
                <a:gd name="connsiteY338" fmla="*/ 264151 h 638175"/>
                <a:gd name="connsiteX339" fmla="*/ 278811 w 409575"/>
                <a:gd name="connsiteY339" fmla="*/ 264151 h 638175"/>
                <a:gd name="connsiteX340" fmla="*/ 282500 w 409575"/>
                <a:gd name="connsiteY340" fmla="*/ 264151 h 638175"/>
                <a:gd name="connsiteX341" fmla="*/ 282500 w 409575"/>
                <a:gd name="connsiteY341" fmla="*/ 267842 h 638175"/>
                <a:gd name="connsiteX342" fmla="*/ 286190 w 409575"/>
                <a:gd name="connsiteY342" fmla="*/ 271532 h 638175"/>
                <a:gd name="connsiteX343" fmla="*/ 286190 w 409575"/>
                <a:gd name="connsiteY343" fmla="*/ 267842 h 638175"/>
                <a:gd name="connsiteX344" fmla="*/ 289879 w 409575"/>
                <a:gd name="connsiteY344" fmla="*/ 264151 h 638175"/>
                <a:gd name="connsiteX345" fmla="*/ 293568 w 409575"/>
                <a:gd name="connsiteY345" fmla="*/ 264151 h 638175"/>
                <a:gd name="connsiteX346" fmla="*/ 297258 w 409575"/>
                <a:gd name="connsiteY346" fmla="*/ 264151 h 638175"/>
                <a:gd name="connsiteX347" fmla="*/ 300947 w 409575"/>
                <a:gd name="connsiteY347" fmla="*/ 264151 h 638175"/>
                <a:gd name="connsiteX348" fmla="*/ 304636 w 409575"/>
                <a:gd name="connsiteY348" fmla="*/ 267842 h 638175"/>
                <a:gd name="connsiteX349" fmla="*/ 308326 w 409575"/>
                <a:gd name="connsiteY349" fmla="*/ 271532 h 638175"/>
                <a:gd name="connsiteX350" fmla="*/ 312015 w 409575"/>
                <a:gd name="connsiteY350" fmla="*/ 271532 h 638175"/>
                <a:gd name="connsiteX351" fmla="*/ 315704 w 409575"/>
                <a:gd name="connsiteY351" fmla="*/ 275223 h 638175"/>
                <a:gd name="connsiteX352" fmla="*/ 315704 w 409575"/>
                <a:gd name="connsiteY352" fmla="*/ 278914 h 638175"/>
                <a:gd name="connsiteX353" fmla="*/ 323082 w 409575"/>
                <a:gd name="connsiteY353" fmla="*/ 278914 h 638175"/>
                <a:gd name="connsiteX354" fmla="*/ 326771 w 409575"/>
                <a:gd name="connsiteY354" fmla="*/ 278914 h 638175"/>
                <a:gd name="connsiteX355" fmla="*/ 330460 w 409575"/>
                <a:gd name="connsiteY355" fmla="*/ 278914 h 638175"/>
                <a:gd name="connsiteX356" fmla="*/ 334150 w 409575"/>
                <a:gd name="connsiteY356" fmla="*/ 275223 h 638175"/>
                <a:gd name="connsiteX357" fmla="*/ 341528 w 409575"/>
                <a:gd name="connsiteY357" fmla="*/ 267842 h 638175"/>
                <a:gd name="connsiteX358" fmla="*/ 345217 w 409575"/>
                <a:gd name="connsiteY358" fmla="*/ 267842 h 638175"/>
                <a:gd name="connsiteX359" fmla="*/ 352595 w 409575"/>
                <a:gd name="connsiteY359" fmla="*/ 267842 h 638175"/>
                <a:gd name="connsiteX360" fmla="*/ 352595 w 409575"/>
                <a:gd name="connsiteY360" fmla="*/ 264151 h 638175"/>
                <a:gd name="connsiteX361" fmla="*/ 356285 w 409575"/>
                <a:gd name="connsiteY361" fmla="*/ 260461 h 638175"/>
                <a:gd name="connsiteX362" fmla="*/ 359974 w 409575"/>
                <a:gd name="connsiteY362" fmla="*/ 260461 h 638175"/>
                <a:gd name="connsiteX363" fmla="*/ 359974 w 409575"/>
                <a:gd name="connsiteY363" fmla="*/ 256771 h 638175"/>
                <a:gd name="connsiteX364" fmla="*/ 367352 w 409575"/>
                <a:gd name="connsiteY364" fmla="*/ 253080 h 638175"/>
                <a:gd name="connsiteX365" fmla="*/ 367352 w 409575"/>
                <a:gd name="connsiteY365" fmla="*/ 249390 h 638175"/>
                <a:gd name="connsiteX366" fmla="*/ 371041 w 409575"/>
                <a:gd name="connsiteY366" fmla="*/ 245699 h 638175"/>
                <a:gd name="connsiteX367" fmla="*/ 371041 w 409575"/>
                <a:gd name="connsiteY367" fmla="*/ 238318 h 638175"/>
                <a:gd name="connsiteX368" fmla="*/ 371041 w 409575"/>
                <a:gd name="connsiteY368" fmla="*/ 234627 h 638175"/>
                <a:gd name="connsiteX369" fmla="*/ 374730 w 409575"/>
                <a:gd name="connsiteY369" fmla="*/ 227246 h 638175"/>
                <a:gd name="connsiteX370" fmla="*/ 378420 w 409575"/>
                <a:gd name="connsiteY370" fmla="*/ 227246 h 638175"/>
                <a:gd name="connsiteX371" fmla="*/ 382106 w 409575"/>
                <a:gd name="connsiteY371" fmla="*/ 227246 h 638175"/>
                <a:gd name="connsiteX372" fmla="*/ 385802 w 409575"/>
                <a:gd name="connsiteY372" fmla="*/ 227246 h 638175"/>
                <a:gd name="connsiteX373" fmla="*/ 389488 w 409575"/>
                <a:gd name="connsiteY373" fmla="*/ 223555 h 638175"/>
                <a:gd name="connsiteX374" fmla="*/ 393174 w 409575"/>
                <a:gd name="connsiteY374" fmla="*/ 223555 h 638175"/>
                <a:gd name="connsiteX375" fmla="*/ 389488 w 409575"/>
                <a:gd name="connsiteY375" fmla="*/ 219865 h 638175"/>
                <a:gd name="connsiteX376" fmla="*/ 393174 w 409575"/>
                <a:gd name="connsiteY376" fmla="*/ 219865 h 638175"/>
                <a:gd name="connsiteX377" fmla="*/ 396870 w 409575"/>
                <a:gd name="connsiteY377" fmla="*/ 216174 h 638175"/>
                <a:gd name="connsiteX378" fmla="*/ 400556 w 409575"/>
                <a:gd name="connsiteY378" fmla="*/ 212484 h 638175"/>
                <a:gd name="connsiteX379" fmla="*/ 396870 w 409575"/>
                <a:gd name="connsiteY379" fmla="*/ 208793 h 638175"/>
                <a:gd name="connsiteX380" fmla="*/ 393174 w 409575"/>
                <a:gd name="connsiteY380" fmla="*/ 205102 h 638175"/>
                <a:gd name="connsiteX381" fmla="*/ 393174 w 409575"/>
                <a:gd name="connsiteY381" fmla="*/ 201412 h 638175"/>
                <a:gd name="connsiteX382" fmla="*/ 393174 w 409575"/>
                <a:gd name="connsiteY382" fmla="*/ 197721 h 638175"/>
                <a:gd name="connsiteX383" fmla="*/ 393174 w 409575"/>
                <a:gd name="connsiteY383" fmla="*/ 194031 h 638175"/>
                <a:gd name="connsiteX384" fmla="*/ 393174 w 409575"/>
                <a:gd name="connsiteY384" fmla="*/ 190340 h 638175"/>
                <a:gd name="connsiteX385" fmla="*/ 393174 w 409575"/>
                <a:gd name="connsiteY385" fmla="*/ 186649 h 638175"/>
                <a:gd name="connsiteX386" fmla="*/ 393174 w 409575"/>
                <a:gd name="connsiteY386" fmla="*/ 182959 h 638175"/>
                <a:gd name="connsiteX387" fmla="*/ 389488 w 409575"/>
                <a:gd name="connsiteY387" fmla="*/ 182959 h 638175"/>
                <a:gd name="connsiteX388" fmla="*/ 385802 w 409575"/>
                <a:gd name="connsiteY388" fmla="*/ 179268 h 638175"/>
                <a:gd name="connsiteX389" fmla="*/ 378420 w 409575"/>
                <a:gd name="connsiteY389" fmla="*/ 175578 h 638175"/>
                <a:gd name="connsiteX390" fmla="*/ 367352 w 409575"/>
                <a:gd name="connsiteY390" fmla="*/ 175578 h 638175"/>
                <a:gd name="connsiteX391" fmla="*/ 363663 w 409575"/>
                <a:gd name="connsiteY391" fmla="*/ 175578 h 638175"/>
                <a:gd name="connsiteX392" fmla="*/ 359974 w 409575"/>
                <a:gd name="connsiteY392" fmla="*/ 171888 h 638175"/>
                <a:gd name="connsiteX393" fmla="*/ 352595 w 409575"/>
                <a:gd name="connsiteY393" fmla="*/ 171888 h 638175"/>
                <a:gd name="connsiteX394" fmla="*/ 348906 w 409575"/>
                <a:gd name="connsiteY394" fmla="*/ 171888 h 638175"/>
                <a:gd name="connsiteX395" fmla="*/ 345217 w 409575"/>
                <a:gd name="connsiteY395" fmla="*/ 179268 h 638175"/>
                <a:gd name="connsiteX396" fmla="*/ 341528 w 409575"/>
                <a:gd name="connsiteY396" fmla="*/ 182959 h 638175"/>
                <a:gd name="connsiteX397" fmla="*/ 341528 w 409575"/>
                <a:gd name="connsiteY397" fmla="*/ 186649 h 638175"/>
                <a:gd name="connsiteX398" fmla="*/ 337839 w 409575"/>
                <a:gd name="connsiteY398" fmla="*/ 182959 h 638175"/>
                <a:gd name="connsiteX399" fmla="*/ 334150 w 409575"/>
                <a:gd name="connsiteY399" fmla="*/ 182959 h 638175"/>
                <a:gd name="connsiteX400" fmla="*/ 330460 w 409575"/>
                <a:gd name="connsiteY400" fmla="*/ 182959 h 638175"/>
                <a:gd name="connsiteX401" fmla="*/ 326771 w 409575"/>
                <a:gd name="connsiteY401" fmla="*/ 182959 h 638175"/>
                <a:gd name="connsiteX402" fmla="*/ 319393 w 409575"/>
                <a:gd name="connsiteY402" fmla="*/ 175578 h 638175"/>
                <a:gd name="connsiteX403" fmla="*/ 315704 w 409575"/>
                <a:gd name="connsiteY403" fmla="*/ 171888 h 638175"/>
                <a:gd name="connsiteX404" fmla="*/ 312015 w 409575"/>
                <a:gd name="connsiteY404" fmla="*/ 168197 h 638175"/>
                <a:gd name="connsiteX405" fmla="*/ 315704 w 409575"/>
                <a:gd name="connsiteY405" fmla="*/ 160816 h 638175"/>
                <a:gd name="connsiteX406" fmla="*/ 312015 w 409575"/>
                <a:gd name="connsiteY406" fmla="*/ 160816 h 638175"/>
                <a:gd name="connsiteX407" fmla="*/ 308326 w 409575"/>
                <a:gd name="connsiteY407" fmla="*/ 157126 h 638175"/>
                <a:gd name="connsiteX408" fmla="*/ 304636 w 409575"/>
                <a:gd name="connsiteY408" fmla="*/ 157126 h 638175"/>
                <a:gd name="connsiteX409" fmla="*/ 312015 w 409575"/>
                <a:gd name="connsiteY409" fmla="*/ 101766 h 638175"/>
                <a:gd name="connsiteX410" fmla="*/ 304636 w 409575"/>
                <a:gd name="connsiteY410" fmla="*/ 90695 h 638175"/>
                <a:gd name="connsiteX411" fmla="*/ 293568 w 409575"/>
                <a:gd name="connsiteY411" fmla="*/ 68552 h 638175"/>
                <a:gd name="connsiteX412" fmla="*/ 293568 w 409575"/>
                <a:gd name="connsiteY412" fmla="*/ 64861 h 638175"/>
                <a:gd name="connsiteX413" fmla="*/ 289879 w 409575"/>
                <a:gd name="connsiteY413" fmla="*/ 61171 h 638175"/>
                <a:gd name="connsiteX414" fmla="*/ 278811 w 409575"/>
                <a:gd name="connsiteY414" fmla="*/ 39027 h 638175"/>
                <a:gd name="connsiteX415" fmla="*/ 275122 w 409575"/>
                <a:gd name="connsiteY415" fmla="*/ 39027 h 638175"/>
                <a:gd name="connsiteX416" fmla="*/ 275122 w 409575"/>
                <a:gd name="connsiteY416" fmla="*/ 31646 h 638175"/>
                <a:gd name="connsiteX417" fmla="*/ 271433 w 409575"/>
                <a:gd name="connsiteY417" fmla="*/ 27955 h 638175"/>
                <a:gd name="connsiteX418" fmla="*/ 267744 w 409575"/>
                <a:gd name="connsiteY418" fmla="*/ 27955 h 638175"/>
                <a:gd name="connsiteX419" fmla="*/ 264055 w 409575"/>
                <a:gd name="connsiteY419" fmla="*/ 31646 h 638175"/>
                <a:gd name="connsiteX420" fmla="*/ 260365 w 409575"/>
                <a:gd name="connsiteY420" fmla="*/ 31646 h 638175"/>
                <a:gd name="connsiteX421" fmla="*/ 256676 w 409575"/>
                <a:gd name="connsiteY421" fmla="*/ 27955 h 638175"/>
                <a:gd name="connsiteX422" fmla="*/ 252987 w 409575"/>
                <a:gd name="connsiteY422" fmla="*/ 27955 h 638175"/>
                <a:gd name="connsiteX423" fmla="*/ 249298 w 409575"/>
                <a:gd name="connsiteY423" fmla="*/ 31646 h 638175"/>
                <a:gd name="connsiteX424" fmla="*/ 241920 w 409575"/>
                <a:gd name="connsiteY424" fmla="*/ 31646 h 638175"/>
                <a:gd name="connsiteX425" fmla="*/ 234541 w 409575"/>
                <a:gd name="connsiteY425" fmla="*/ 39027 h 638175"/>
                <a:gd name="connsiteX426" fmla="*/ 234541 w 409575"/>
                <a:gd name="connsiteY426" fmla="*/ 42718 h 638175"/>
                <a:gd name="connsiteX427" fmla="*/ 227163 w 409575"/>
                <a:gd name="connsiteY427" fmla="*/ 53789 h 638175"/>
                <a:gd name="connsiteX428" fmla="*/ 223474 w 409575"/>
                <a:gd name="connsiteY428" fmla="*/ 53789 h 638175"/>
                <a:gd name="connsiteX429" fmla="*/ 216096 w 409575"/>
                <a:gd name="connsiteY429" fmla="*/ 57480 h 638175"/>
                <a:gd name="connsiteX430" fmla="*/ 212406 w 409575"/>
                <a:gd name="connsiteY430" fmla="*/ 61171 h 638175"/>
                <a:gd name="connsiteX431" fmla="*/ 197650 w 409575"/>
                <a:gd name="connsiteY431" fmla="*/ 68552 h 638175"/>
                <a:gd name="connsiteX432" fmla="*/ 193961 w 409575"/>
                <a:gd name="connsiteY432" fmla="*/ 64861 h 638175"/>
                <a:gd name="connsiteX433" fmla="*/ 182893 w 409575"/>
                <a:gd name="connsiteY433" fmla="*/ 57480 h 638175"/>
                <a:gd name="connsiteX434" fmla="*/ 179204 w 409575"/>
                <a:gd name="connsiteY434" fmla="*/ 57480 h 638175"/>
                <a:gd name="connsiteX435" fmla="*/ 168136 w 409575"/>
                <a:gd name="connsiteY435" fmla="*/ 50099 h 638175"/>
                <a:gd name="connsiteX436" fmla="*/ 164447 w 409575"/>
                <a:gd name="connsiteY436" fmla="*/ 46408 h 638175"/>
                <a:gd name="connsiteX437" fmla="*/ 160758 w 409575"/>
                <a:gd name="connsiteY437" fmla="*/ 42718 h 638175"/>
                <a:gd name="connsiteX438" fmla="*/ 157069 w 409575"/>
                <a:gd name="connsiteY438" fmla="*/ 35336 h 638175"/>
                <a:gd name="connsiteX439" fmla="*/ 157069 w 409575"/>
                <a:gd name="connsiteY439" fmla="*/ 27955 h 638175"/>
                <a:gd name="connsiteX440" fmla="*/ 157069 w 409575"/>
                <a:gd name="connsiteY440" fmla="*/ 20574 h 638175"/>
                <a:gd name="connsiteX441" fmla="*/ 160758 w 409575"/>
                <a:gd name="connsiteY441" fmla="*/ 13193 h 638175"/>
                <a:gd name="connsiteX442" fmla="*/ 160758 w 409575"/>
                <a:gd name="connsiteY442" fmla="*/ 9502 h 638175"/>
                <a:gd name="connsiteX443" fmla="*/ 157069 w 409575"/>
                <a:gd name="connsiteY443" fmla="*/ 9502 h 638175"/>
                <a:gd name="connsiteX444" fmla="*/ 157069 w 409575"/>
                <a:gd name="connsiteY444" fmla="*/ 13193 h 638175"/>
                <a:gd name="connsiteX445" fmla="*/ 153380 w 409575"/>
                <a:gd name="connsiteY445" fmla="*/ 13193 h 638175"/>
                <a:gd name="connsiteX446" fmla="*/ 149690 w 409575"/>
                <a:gd name="connsiteY446" fmla="*/ 13193 h 638175"/>
                <a:gd name="connsiteX447" fmla="*/ 149690 w 409575"/>
                <a:gd name="connsiteY447" fmla="*/ 9502 h 638175"/>
                <a:gd name="connsiteX448" fmla="*/ 149690 w 409575"/>
                <a:gd name="connsiteY448" fmla="*/ 5812 h 638175"/>
                <a:gd name="connsiteX449" fmla="*/ 142312 w 409575"/>
                <a:gd name="connsiteY449" fmla="*/ 5812 h 638175"/>
                <a:gd name="connsiteX450" fmla="*/ 134933 w 409575"/>
                <a:gd name="connsiteY450" fmla="*/ 5812 h 638175"/>
                <a:gd name="connsiteX451" fmla="*/ 131244 w 409575"/>
                <a:gd name="connsiteY451" fmla="*/ 5812 h 638175"/>
                <a:gd name="connsiteX452" fmla="*/ 127555 w 409575"/>
                <a:gd name="connsiteY452" fmla="*/ 5812 h 638175"/>
                <a:gd name="connsiteX453" fmla="*/ 160758 w 409575"/>
                <a:gd name="connsiteY453" fmla="*/ 9502 h 638175"/>
                <a:gd name="connsiteX454" fmla="*/ 160758 w 409575"/>
                <a:gd name="connsiteY454" fmla="*/ 5812 h 638175"/>
                <a:gd name="connsiteX455" fmla="*/ 157069 w 409575"/>
                <a:gd name="connsiteY455" fmla="*/ 5812 h 638175"/>
                <a:gd name="connsiteX456" fmla="*/ 160758 w 409575"/>
                <a:gd name="connsiteY456" fmla="*/ 9502 h 638175"/>
                <a:gd name="connsiteX457" fmla="*/ 275122 w 409575"/>
                <a:gd name="connsiteY457" fmla="*/ 31646 h 638175"/>
                <a:gd name="connsiteX458" fmla="*/ 278811 w 409575"/>
                <a:gd name="connsiteY458" fmla="*/ 35336 h 638175"/>
                <a:gd name="connsiteX459" fmla="*/ 278811 w 409575"/>
                <a:gd name="connsiteY459" fmla="*/ 27955 h 638175"/>
                <a:gd name="connsiteX460" fmla="*/ 275122 w 409575"/>
                <a:gd name="connsiteY460" fmla="*/ 27955 h 638175"/>
                <a:gd name="connsiteX461" fmla="*/ 275122 w 409575"/>
                <a:gd name="connsiteY461" fmla="*/ 31646 h 638175"/>
                <a:gd name="connsiteX462" fmla="*/ 241920 w 409575"/>
                <a:gd name="connsiteY462" fmla="*/ 481898 h 638175"/>
                <a:gd name="connsiteX463" fmla="*/ 241920 w 409575"/>
                <a:gd name="connsiteY463" fmla="*/ 485584 h 638175"/>
                <a:gd name="connsiteX464" fmla="*/ 245609 w 409575"/>
                <a:gd name="connsiteY464" fmla="*/ 485584 h 638175"/>
                <a:gd name="connsiteX465" fmla="*/ 241920 w 409575"/>
                <a:gd name="connsiteY465" fmla="*/ 481898 h 638175"/>
                <a:gd name="connsiteX466" fmla="*/ 304636 w 409575"/>
                <a:gd name="connsiteY466" fmla="*/ 400703 h 638175"/>
                <a:gd name="connsiteX467" fmla="*/ 304636 w 409575"/>
                <a:gd name="connsiteY467" fmla="*/ 404394 h 638175"/>
                <a:gd name="connsiteX468" fmla="*/ 304636 w 409575"/>
                <a:gd name="connsiteY468" fmla="*/ 408084 h 638175"/>
                <a:gd name="connsiteX469" fmla="*/ 300947 w 409575"/>
                <a:gd name="connsiteY469" fmla="*/ 415465 h 638175"/>
                <a:gd name="connsiteX470" fmla="*/ 304636 w 409575"/>
                <a:gd name="connsiteY470" fmla="*/ 415465 h 638175"/>
                <a:gd name="connsiteX471" fmla="*/ 308326 w 409575"/>
                <a:gd name="connsiteY471" fmla="*/ 411775 h 638175"/>
                <a:gd name="connsiteX472" fmla="*/ 312015 w 409575"/>
                <a:gd name="connsiteY472" fmla="*/ 411775 h 638175"/>
                <a:gd name="connsiteX473" fmla="*/ 315704 w 409575"/>
                <a:gd name="connsiteY473" fmla="*/ 408084 h 638175"/>
                <a:gd name="connsiteX474" fmla="*/ 319393 w 409575"/>
                <a:gd name="connsiteY474" fmla="*/ 408084 h 638175"/>
                <a:gd name="connsiteX475" fmla="*/ 319393 w 409575"/>
                <a:gd name="connsiteY475" fmla="*/ 404394 h 638175"/>
                <a:gd name="connsiteX476" fmla="*/ 312015 w 409575"/>
                <a:gd name="connsiteY476" fmla="*/ 408084 h 638175"/>
                <a:gd name="connsiteX477" fmla="*/ 308326 w 409575"/>
                <a:gd name="connsiteY477" fmla="*/ 404394 h 638175"/>
                <a:gd name="connsiteX478" fmla="*/ 304636 w 409575"/>
                <a:gd name="connsiteY478" fmla="*/ 400703 h 638175"/>
                <a:gd name="connsiteX479" fmla="*/ 404242 w 409575"/>
                <a:gd name="connsiteY479" fmla="*/ 529875 h 638175"/>
                <a:gd name="connsiteX480" fmla="*/ 404242 w 409575"/>
                <a:gd name="connsiteY480" fmla="*/ 533561 h 638175"/>
                <a:gd name="connsiteX481" fmla="*/ 407929 w 409575"/>
                <a:gd name="connsiteY481" fmla="*/ 533561 h 638175"/>
                <a:gd name="connsiteX482" fmla="*/ 404242 w 409575"/>
                <a:gd name="connsiteY482" fmla="*/ 529875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Lst>
              <a:rect l="l" t="t" r="r" b="b"/>
              <a:pathLst>
                <a:path w="409575" h="638175">
                  <a:moveTo>
                    <a:pt x="127555" y="5812"/>
                  </a:moveTo>
                  <a:lnTo>
                    <a:pt x="120176" y="16883"/>
                  </a:lnTo>
                  <a:lnTo>
                    <a:pt x="120176" y="20574"/>
                  </a:lnTo>
                  <a:lnTo>
                    <a:pt x="120176" y="24264"/>
                  </a:lnTo>
                  <a:lnTo>
                    <a:pt x="120176" y="31646"/>
                  </a:lnTo>
                  <a:lnTo>
                    <a:pt x="116487" y="42718"/>
                  </a:lnTo>
                  <a:lnTo>
                    <a:pt x="116487" y="53789"/>
                  </a:lnTo>
                  <a:lnTo>
                    <a:pt x="116487" y="68552"/>
                  </a:lnTo>
                  <a:lnTo>
                    <a:pt x="109109" y="90695"/>
                  </a:lnTo>
                  <a:lnTo>
                    <a:pt x="105420" y="112838"/>
                  </a:lnTo>
                  <a:lnTo>
                    <a:pt x="98041" y="134982"/>
                  </a:lnTo>
                  <a:lnTo>
                    <a:pt x="98041" y="142363"/>
                  </a:lnTo>
                  <a:lnTo>
                    <a:pt x="94352" y="142363"/>
                  </a:lnTo>
                  <a:lnTo>
                    <a:pt x="94352" y="149744"/>
                  </a:lnTo>
                  <a:lnTo>
                    <a:pt x="86974" y="164507"/>
                  </a:lnTo>
                  <a:lnTo>
                    <a:pt x="86974" y="171888"/>
                  </a:lnTo>
                  <a:lnTo>
                    <a:pt x="79596" y="194031"/>
                  </a:lnTo>
                  <a:lnTo>
                    <a:pt x="79596" y="197721"/>
                  </a:lnTo>
                  <a:lnTo>
                    <a:pt x="79596" y="201412"/>
                  </a:lnTo>
                  <a:lnTo>
                    <a:pt x="79596" y="205102"/>
                  </a:lnTo>
                  <a:lnTo>
                    <a:pt x="79596" y="208793"/>
                  </a:lnTo>
                  <a:lnTo>
                    <a:pt x="79596" y="219865"/>
                  </a:lnTo>
                  <a:lnTo>
                    <a:pt x="75906" y="234627"/>
                  </a:lnTo>
                  <a:lnTo>
                    <a:pt x="75906" y="242009"/>
                  </a:lnTo>
                  <a:lnTo>
                    <a:pt x="75906" y="249390"/>
                  </a:lnTo>
                  <a:lnTo>
                    <a:pt x="72217" y="264151"/>
                  </a:lnTo>
                  <a:lnTo>
                    <a:pt x="72217" y="271532"/>
                  </a:lnTo>
                  <a:lnTo>
                    <a:pt x="72217" y="275223"/>
                  </a:lnTo>
                  <a:lnTo>
                    <a:pt x="72217" y="282604"/>
                  </a:lnTo>
                  <a:lnTo>
                    <a:pt x="68528" y="286295"/>
                  </a:lnTo>
                  <a:lnTo>
                    <a:pt x="68528" y="289986"/>
                  </a:lnTo>
                  <a:lnTo>
                    <a:pt x="64839" y="315820"/>
                  </a:lnTo>
                  <a:lnTo>
                    <a:pt x="61150" y="349034"/>
                  </a:lnTo>
                  <a:lnTo>
                    <a:pt x="57461" y="367487"/>
                  </a:lnTo>
                  <a:lnTo>
                    <a:pt x="53772" y="374869"/>
                  </a:lnTo>
                  <a:lnTo>
                    <a:pt x="50082" y="382250"/>
                  </a:lnTo>
                  <a:lnTo>
                    <a:pt x="46393" y="389631"/>
                  </a:lnTo>
                  <a:lnTo>
                    <a:pt x="42704" y="400703"/>
                  </a:lnTo>
                  <a:lnTo>
                    <a:pt x="50082" y="397012"/>
                  </a:lnTo>
                  <a:lnTo>
                    <a:pt x="53772" y="397012"/>
                  </a:lnTo>
                  <a:lnTo>
                    <a:pt x="61150" y="393322"/>
                  </a:lnTo>
                  <a:lnTo>
                    <a:pt x="64839" y="397012"/>
                  </a:lnTo>
                  <a:lnTo>
                    <a:pt x="61150" y="397012"/>
                  </a:lnTo>
                  <a:lnTo>
                    <a:pt x="61150" y="400703"/>
                  </a:lnTo>
                  <a:lnTo>
                    <a:pt x="53772" y="400703"/>
                  </a:lnTo>
                  <a:lnTo>
                    <a:pt x="50082" y="404394"/>
                  </a:lnTo>
                  <a:lnTo>
                    <a:pt x="57461" y="404394"/>
                  </a:lnTo>
                  <a:lnTo>
                    <a:pt x="57461" y="408084"/>
                  </a:lnTo>
                  <a:lnTo>
                    <a:pt x="50082" y="404394"/>
                  </a:lnTo>
                  <a:lnTo>
                    <a:pt x="46393" y="404394"/>
                  </a:lnTo>
                  <a:lnTo>
                    <a:pt x="46393" y="408084"/>
                  </a:lnTo>
                  <a:lnTo>
                    <a:pt x="39015" y="404394"/>
                  </a:lnTo>
                  <a:lnTo>
                    <a:pt x="39015" y="411775"/>
                  </a:lnTo>
                  <a:lnTo>
                    <a:pt x="42704" y="419156"/>
                  </a:lnTo>
                  <a:lnTo>
                    <a:pt x="39015" y="422847"/>
                  </a:lnTo>
                  <a:lnTo>
                    <a:pt x="39015" y="430227"/>
                  </a:lnTo>
                  <a:lnTo>
                    <a:pt x="35326" y="437608"/>
                  </a:lnTo>
                  <a:lnTo>
                    <a:pt x="31637" y="452370"/>
                  </a:lnTo>
                  <a:lnTo>
                    <a:pt x="27947" y="463442"/>
                  </a:lnTo>
                  <a:lnTo>
                    <a:pt x="20569" y="481898"/>
                  </a:lnTo>
                  <a:lnTo>
                    <a:pt x="5812" y="511416"/>
                  </a:lnTo>
                  <a:lnTo>
                    <a:pt x="31637" y="522493"/>
                  </a:lnTo>
                  <a:lnTo>
                    <a:pt x="42704" y="526179"/>
                  </a:lnTo>
                  <a:lnTo>
                    <a:pt x="42704" y="518798"/>
                  </a:lnTo>
                  <a:lnTo>
                    <a:pt x="46393" y="522493"/>
                  </a:lnTo>
                  <a:lnTo>
                    <a:pt x="50082" y="518798"/>
                  </a:lnTo>
                  <a:lnTo>
                    <a:pt x="53772" y="518798"/>
                  </a:lnTo>
                  <a:lnTo>
                    <a:pt x="57461" y="518798"/>
                  </a:lnTo>
                  <a:lnTo>
                    <a:pt x="64839" y="522493"/>
                  </a:lnTo>
                  <a:lnTo>
                    <a:pt x="61150" y="529875"/>
                  </a:lnTo>
                  <a:lnTo>
                    <a:pt x="57461" y="533561"/>
                  </a:lnTo>
                  <a:lnTo>
                    <a:pt x="57461" y="540943"/>
                  </a:lnTo>
                  <a:lnTo>
                    <a:pt x="53772" y="540943"/>
                  </a:lnTo>
                  <a:lnTo>
                    <a:pt x="53772" y="544639"/>
                  </a:lnTo>
                  <a:lnTo>
                    <a:pt x="53772" y="548325"/>
                  </a:lnTo>
                  <a:lnTo>
                    <a:pt x="50082" y="552011"/>
                  </a:lnTo>
                  <a:lnTo>
                    <a:pt x="46393" y="555707"/>
                  </a:lnTo>
                  <a:lnTo>
                    <a:pt x="42704" y="559393"/>
                  </a:lnTo>
                  <a:lnTo>
                    <a:pt x="42704" y="563089"/>
                  </a:lnTo>
                  <a:lnTo>
                    <a:pt x="42704" y="566775"/>
                  </a:lnTo>
                  <a:lnTo>
                    <a:pt x="42704" y="570471"/>
                  </a:lnTo>
                  <a:lnTo>
                    <a:pt x="42704" y="577853"/>
                  </a:lnTo>
                  <a:lnTo>
                    <a:pt x="39015" y="581539"/>
                  </a:lnTo>
                  <a:lnTo>
                    <a:pt x="39015" y="585234"/>
                  </a:lnTo>
                  <a:lnTo>
                    <a:pt x="35326" y="585234"/>
                  </a:lnTo>
                  <a:lnTo>
                    <a:pt x="35326" y="588921"/>
                  </a:lnTo>
                  <a:lnTo>
                    <a:pt x="35326" y="592616"/>
                  </a:lnTo>
                  <a:lnTo>
                    <a:pt x="35326" y="596303"/>
                  </a:lnTo>
                  <a:lnTo>
                    <a:pt x="39015" y="596303"/>
                  </a:lnTo>
                  <a:lnTo>
                    <a:pt x="42704" y="599989"/>
                  </a:lnTo>
                  <a:lnTo>
                    <a:pt x="46393" y="599989"/>
                  </a:lnTo>
                  <a:lnTo>
                    <a:pt x="50082" y="596303"/>
                  </a:lnTo>
                  <a:lnTo>
                    <a:pt x="57461" y="599989"/>
                  </a:lnTo>
                  <a:lnTo>
                    <a:pt x="68528" y="599989"/>
                  </a:lnTo>
                  <a:lnTo>
                    <a:pt x="72217" y="599989"/>
                  </a:lnTo>
                  <a:lnTo>
                    <a:pt x="75906" y="599989"/>
                  </a:lnTo>
                  <a:lnTo>
                    <a:pt x="79596" y="596303"/>
                  </a:lnTo>
                  <a:lnTo>
                    <a:pt x="86974" y="592616"/>
                  </a:lnTo>
                  <a:lnTo>
                    <a:pt x="90663" y="592616"/>
                  </a:lnTo>
                  <a:lnTo>
                    <a:pt x="90663" y="588921"/>
                  </a:lnTo>
                  <a:lnTo>
                    <a:pt x="94352" y="592616"/>
                  </a:lnTo>
                  <a:lnTo>
                    <a:pt x="98041" y="592616"/>
                  </a:lnTo>
                  <a:lnTo>
                    <a:pt x="101731" y="592616"/>
                  </a:lnTo>
                  <a:lnTo>
                    <a:pt x="105420" y="588921"/>
                  </a:lnTo>
                  <a:lnTo>
                    <a:pt x="109109" y="585234"/>
                  </a:lnTo>
                  <a:lnTo>
                    <a:pt x="120176" y="588921"/>
                  </a:lnTo>
                  <a:lnTo>
                    <a:pt x="116487" y="599989"/>
                  </a:lnTo>
                  <a:lnTo>
                    <a:pt x="120176" y="603684"/>
                  </a:lnTo>
                  <a:lnTo>
                    <a:pt x="123866" y="607371"/>
                  </a:lnTo>
                  <a:lnTo>
                    <a:pt x="127555" y="599989"/>
                  </a:lnTo>
                  <a:lnTo>
                    <a:pt x="131244" y="599989"/>
                  </a:lnTo>
                  <a:lnTo>
                    <a:pt x="138622" y="599989"/>
                  </a:lnTo>
                  <a:lnTo>
                    <a:pt x="142312" y="596303"/>
                  </a:lnTo>
                  <a:lnTo>
                    <a:pt x="142312" y="592616"/>
                  </a:lnTo>
                  <a:lnTo>
                    <a:pt x="146001" y="592616"/>
                  </a:lnTo>
                  <a:lnTo>
                    <a:pt x="149690" y="592616"/>
                  </a:lnTo>
                  <a:lnTo>
                    <a:pt x="153380" y="592616"/>
                  </a:lnTo>
                  <a:lnTo>
                    <a:pt x="157069" y="592616"/>
                  </a:lnTo>
                  <a:lnTo>
                    <a:pt x="160758" y="592616"/>
                  </a:lnTo>
                  <a:lnTo>
                    <a:pt x="164447" y="592616"/>
                  </a:lnTo>
                  <a:lnTo>
                    <a:pt x="168136" y="588921"/>
                  </a:lnTo>
                  <a:lnTo>
                    <a:pt x="171826" y="588921"/>
                  </a:lnTo>
                  <a:lnTo>
                    <a:pt x="171826" y="585234"/>
                  </a:lnTo>
                  <a:lnTo>
                    <a:pt x="175515" y="585234"/>
                  </a:lnTo>
                  <a:lnTo>
                    <a:pt x="179204" y="581539"/>
                  </a:lnTo>
                  <a:lnTo>
                    <a:pt x="182893" y="581539"/>
                  </a:lnTo>
                  <a:lnTo>
                    <a:pt x="182893" y="577853"/>
                  </a:lnTo>
                  <a:lnTo>
                    <a:pt x="190272" y="574157"/>
                  </a:lnTo>
                  <a:lnTo>
                    <a:pt x="193961" y="570471"/>
                  </a:lnTo>
                  <a:lnTo>
                    <a:pt x="197650" y="570471"/>
                  </a:lnTo>
                  <a:lnTo>
                    <a:pt x="201339" y="570471"/>
                  </a:lnTo>
                  <a:lnTo>
                    <a:pt x="205028" y="574157"/>
                  </a:lnTo>
                  <a:lnTo>
                    <a:pt x="205028" y="570471"/>
                  </a:lnTo>
                  <a:lnTo>
                    <a:pt x="208717" y="570471"/>
                  </a:lnTo>
                  <a:lnTo>
                    <a:pt x="212406" y="570471"/>
                  </a:lnTo>
                  <a:lnTo>
                    <a:pt x="212406" y="566775"/>
                  </a:lnTo>
                  <a:lnTo>
                    <a:pt x="216096" y="563089"/>
                  </a:lnTo>
                  <a:lnTo>
                    <a:pt x="219785" y="559393"/>
                  </a:lnTo>
                  <a:lnTo>
                    <a:pt x="216096" y="555707"/>
                  </a:lnTo>
                  <a:lnTo>
                    <a:pt x="216096" y="552011"/>
                  </a:lnTo>
                  <a:lnTo>
                    <a:pt x="219785" y="548325"/>
                  </a:lnTo>
                  <a:lnTo>
                    <a:pt x="227163" y="552011"/>
                  </a:lnTo>
                  <a:lnTo>
                    <a:pt x="230852" y="552011"/>
                  </a:lnTo>
                  <a:lnTo>
                    <a:pt x="234541" y="552011"/>
                  </a:lnTo>
                  <a:lnTo>
                    <a:pt x="238230" y="552011"/>
                  </a:lnTo>
                  <a:lnTo>
                    <a:pt x="238230" y="548325"/>
                  </a:lnTo>
                  <a:lnTo>
                    <a:pt x="245609" y="544639"/>
                  </a:lnTo>
                  <a:lnTo>
                    <a:pt x="245609" y="540943"/>
                  </a:lnTo>
                  <a:lnTo>
                    <a:pt x="252987" y="544639"/>
                  </a:lnTo>
                  <a:lnTo>
                    <a:pt x="252987" y="540943"/>
                  </a:lnTo>
                  <a:lnTo>
                    <a:pt x="252987" y="537257"/>
                  </a:lnTo>
                  <a:lnTo>
                    <a:pt x="256676" y="537257"/>
                  </a:lnTo>
                  <a:lnTo>
                    <a:pt x="256676" y="533561"/>
                  </a:lnTo>
                  <a:lnTo>
                    <a:pt x="260365" y="533561"/>
                  </a:lnTo>
                  <a:lnTo>
                    <a:pt x="264055" y="533561"/>
                  </a:lnTo>
                  <a:lnTo>
                    <a:pt x="264055" y="548325"/>
                  </a:lnTo>
                  <a:lnTo>
                    <a:pt x="267744" y="544639"/>
                  </a:lnTo>
                  <a:lnTo>
                    <a:pt x="271433" y="548325"/>
                  </a:lnTo>
                  <a:lnTo>
                    <a:pt x="275122" y="548325"/>
                  </a:lnTo>
                  <a:lnTo>
                    <a:pt x="278811" y="544639"/>
                  </a:lnTo>
                  <a:lnTo>
                    <a:pt x="282500" y="544639"/>
                  </a:lnTo>
                  <a:lnTo>
                    <a:pt x="286190" y="548325"/>
                  </a:lnTo>
                  <a:lnTo>
                    <a:pt x="282500" y="548325"/>
                  </a:lnTo>
                  <a:lnTo>
                    <a:pt x="278811" y="548325"/>
                  </a:lnTo>
                  <a:lnTo>
                    <a:pt x="278811" y="552011"/>
                  </a:lnTo>
                  <a:lnTo>
                    <a:pt x="275122" y="552011"/>
                  </a:lnTo>
                  <a:lnTo>
                    <a:pt x="271433" y="552011"/>
                  </a:lnTo>
                  <a:lnTo>
                    <a:pt x="271433" y="555707"/>
                  </a:lnTo>
                  <a:lnTo>
                    <a:pt x="267744" y="555707"/>
                  </a:lnTo>
                  <a:lnTo>
                    <a:pt x="264055" y="555707"/>
                  </a:lnTo>
                  <a:lnTo>
                    <a:pt x="264055" y="559393"/>
                  </a:lnTo>
                  <a:lnTo>
                    <a:pt x="267744" y="570471"/>
                  </a:lnTo>
                  <a:lnTo>
                    <a:pt x="271433" y="574157"/>
                  </a:lnTo>
                  <a:lnTo>
                    <a:pt x="271433" y="570471"/>
                  </a:lnTo>
                  <a:lnTo>
                    <a:pt x="275122" y="570471"/>
                  </a:lnTo>
                  <a:lnTo>
                    <a:pt x="275122" y="574157"/>
                  </a:lnTo>
                  <a:lnTo>
                    <a:pt x="275122" y="581539"/>
                  </a:lnTo>
                  <a:lnTo>
                    <a:pt x="282500" y="585234"/>
                  </a:lnTo>
                  <a:lnTo>
                    <a:pt x="275122" y="588921"/>
                  </a:lnTo>
                  <a:lnTo>
                    <a:pt x="271433" y="588921"/>
                  </a:lnTo>
                  <a:lnTo>
                    <a:pt x="271433" y="596303"/>
                  </a:lnTo>
                  <a:lnTo>
                    <a:pt x="271433" y="603684"/>
                  </a:lnTo>
                  <a:lnTo>
                    <a:pt x="271433" y="607371"/>
                  </a:lnTo>
                  <a:lnTo>
                    <a:pt x="271433" y="611066"/>
                  </a:lnTo>
                  <a:lnTo>
                    <a:pt x="264055" y="611066"/>
                  </a:lnTo>
                  <a:lnTo>
                    <a:pt x="267744" y="614752"/>
                  </a:lnTo>
                  <a:lnTo>
                    <a:pt x="271433" y="614752"/>
                  </a:lnTo>
                  <a:lnTo>
                    <a:pt x="271433" y="618448"/>
                  </a:lnTo>
                  <a:lnTo>
                    <a:pt x="271433" y="625830"/>
                  </a:lnTo>
                  <a:lnTo>
                    <a:pt x="275122" y="625830"/>
                  </a:lnTo>
                  <a:lnTo>
                    <a:pt x="275122" y="640594"/>
                  </a:lnTo>
                  <a:lnTo>
                    <a:pt x="289879" y="636898"/>
                  </a:lnTo>
                  <a:lnTo>
                    <a:pt x="308326" y="629516"/>
                  </a:lnTo>
                  <a:lnTo>
                    <a:pt x="312015" y="629516"/>
                  </a:lnTo>
                  <a:lnTo>
                    <a:pt x="334150" y="633212"/>
                  </a:lnTo>
                  <a:lnTo>
                    <a:pt x="337839" y="633212"/>
                  </a:lnTo>
                  <a:lnTo>
                    <a:pt x="341528" y="633212"/>
                  </a:lnTo>
                  <a:lnTo>
                    <a:pt x="348906" y="633212"/>
                  </a:lnTo>
                  <a:lnTo>
                    <a:pt x="359974" y="611066"/>
                  </a:lnTo>
                  <a:lnTo>
                    <a:pt x="359974" y="603684"/>
                  </a:lnTo>
                  <a:lnTo>
                    <a:pt x="363663" y="596303"/>
                  </a:lnTo>
                  <a:lnTo>
                    <a:pt x="367352" y="585234"/>
                  </a:lnTo>
                  <a:lnTo>
                    <a:pt x="371041" y="577853"/>
                  </a:lnTo>
                  <a:lnTo>
                    <a:pt x="371041" y="574157"/>
                  </a:lnTo>
                  <a:lnTo>
                    <a:pt x="371041" y="570471"/>
                  </a:lnTo>
                  <a:lnTo>
                    <a:pt x="382106" y="548325"/>
                  </a:lnTo>
                  <a:lnTo>
                    <a:pt x="389488" y="552011"/>
                  </a:lnTo>
                  <a:lnTo>
                    <a:pt x="404242" y="552011"/>
                  </a:lnTo>
                  <a:lnTo>
                    <a:pt x="396870" y="544639"/>
                  </a:lnTo>
                  <a:lnTo>
                    <a:pt x="396870" y="540943"/>
                  </a:lnTo>
                  <a:lnTo>
                    <a:pt x="400556" y="537257"/>
                  </a:lnTo>
                  <a:lnTo>
                    <a:pt x="396870" y="537257"/>
                  </a:lnTo>
                  <a:lnTo>
                    <a:pt x="393174" y="537257"/>
                  </a:lnTo>
                  <a:lnTo>
                    <a:pt x="389488" y="533561"/>
                  </a:lnTo>
                  <a:lnTo>
                    <a:pt x="385802" y="533561"/>
                  </a:lnTo>
                  <a:lnTo>
                    <a:pt x="382106" y="529875"/>
                  </a:lnTo>
                  <a:lnTo>
                    <a:pt x="378420" y="529875"/>
                  </a:lnTo>
                  <a:lnTo>
                    <a:pt x="378420" y="526179"/>
                  </a:lnTo>
                  <a:lnTo>
                    <a:pt x="374730" y="522493"/>
                  </a:lnTo>
                  <a:lnTo>
                    <a:pt x="371041" y="526179"/>
                  </a:lnTo>
                  <a:lnTo>
                    <a:pt x="367352" y="526179"/>
                  </a:lnTo>
                  <a:lnTo>
                    <a:pt x="363663" y="526179"/>
                  </a:lnTo>
                  <a:lnTo>
                    <a:pt x="348906" y="526179"/>
                  </a:lnTo>
                  <a:lnTo>
                    <a:pt x="345217" y="529875"/>
                  </a:lnTo>
                  <a:lnTo>
                    <a:pt x="341528" y="529875"/>
                  </a:lnTo>
                  <a:lnTo>
                    <a:pt x="337839" y="533561"/>
                  </a:lnTo>
                  <a:lnTo>
                    <a:pt x="334150" y="533561"/>
                  </a:lnTo>
                  <a:lnTo>
                    <a:pt x="334150" y="529875"/>
                  </a:lnTo>
                  <a:lnTo>
                    <a:pt x="330460" y="529875"/>
                  </a:lnTo>
                  <a:lnTo>
                    <a:pt x="326771" y="526179"/>
                  </a:lnTo>
                  <a:lnTo>
                    <a:pt x="323082" y="522493"/>
                  </a:lnTo>
                  <a:lnTo>
                    <a:pt x="319393" y="515111"/>
                  </a:lnTo>
                  <a:lnTo>
                    <a:pt x="315704" y="515111"/>
                  </a:lnTo>
                  <a:lnTo>
                    <a:pt x="315704" y="511416"/>
                  </a:lnTo>
                  <a:lnTo>
                    <a:pt x="308326" y="511416"/>
                  </a:lnTo>
                  <a:lnTo>
                    <a:pt x="304636" y="511416"/>
                  </a:lnTo>
                  <a:lnTo>
                    <a:pt x="300947" y="504043"/>
                  </a:lnTo>
                  <a:lnTo>
                    <a:pt x="289879" y="504043"/>
                  </a:lnTo>
                  <a:lnTo>
                    <a:pt x="286190" y="504043"/>
                  </a:lnTo>
                  <a:lnTo>
                    <a:pt x="282500" y="504043"/>
                  </a:lnTo>
                  <a:lnTo>
                    <a:pt x="275122" y="507730"/>
                  </a:lnTo>
                  <a:lnTo>
                    <a:pt x="271433" y="504043"/>
                  </a:lnTo>
                  <a:lnTo>
                    <a:pt x="271433" y="507730"/>
                  </a:lnTo>
                  <a:lnTo>
                    <a:pt x="267744" y="507730"/>
                  </a:lnTo>
                  <a:lnTo>
                    <a:pt x="267744" y="504043"/>
                  </a:lnTo>
                  <a:lnTo>
                    <a:pt x="271433" y="504043"/>
                  </a:lnTo>
                  <a:lnTo>
                    <a:pt x="271433" y="500348"/>
                  </a:lnTo>
                  <a:lnTo>
                    <a:pt x="267744" y="496662"/>
                  </a:lnTo>
                  <a:lnTo>
                    <a:pt x="264055" y="496662"/>
                  </a:lnTo>
                  <a:lnTo>
                    <a:pt x="260365" y="500348"/>
                  </a:lnTo>
                  <a:lnTo>
                    <a:pt x="256676" y="500348"/>
                  </a:lnTo>
                  <a:lnTo>
                    <a:pt x="252987" y="500348"/>
                  </a:lnTo>
                  <a:lnTo>
                    <a:pt x="252987" y="496662"/>
                  </a:lnTo>
                  <a:lnTo>
                    <a:pt x="256676" y="496662"/>
                  </a:lnTo>
                  <a:lnTo>
                    <a:pt x="256676" y="492966"/>
                  </a:lnTo>
                  <a:lnTo>
                    <a:pt x="256676" y="489280"/>
                  </a:lnTo>
                  <a:lnTo>
                    <a:pt x="249298" y="485584"/>
                  </a:lnTo>
                  <a:lnTo>
                    <a:pt x="245609" y="485584"/>
                  </a:lnTo>
                  <a:lnTo>
                    <a:pt x="245609" y="489280"/>
                  </a:lnTo>
                  <a:lnTo>
                    <a:pt x="241920" y="489280"/>
                  </a:lnTo>
                  <a:lnTo>
                    <a:pt x="238230" y="485584"/>
                  </a:lnTo>
                  <a:lnTo>
                    <a:pt x="234541" y="485584"/>
                  </a:lnTo>
                  <a:lnTo>
                    <a:pt x="234541" y="481898"/>
                  </a:lnTo>
                  <a:lnTo>
                    <a:pt x="238230" y="481898"/>
                  </a:lnTo>
                  <a:lnTo>
                    <a:pt x="241920" y="481898"/>
                  </a:lnTo>
                  <a:lnTo>
                    <a:pt x="245609" y="478202"/>
                  </a:lnTo>
                  <a:lnTo>
                    <a:pt x="234541" y="470823"/>
                  </a:lnTo>
                  <a:lnTo>
                    <a:pt x="234541" y="467133"/>
                  </a:lnTo>
                  <a:lnTo>
                    <a:pt x="241920" y="470823"/>
                  </a:lnTo>
                  <a:lnTo>
                    <a:pt x="245609" y="474514"/>
                  </a:lnTo>
                  <a:lnTo>
                    <a:pt x="249298" y="474514"/>
                  </a:lnTo>
                  <a:lnTo>
                    <a:pt x="252987" y="470823"/>
                  </a:lnTo>
                  <a:lnTo>
                    <a:pt x="252987" y="474514"/>
                  </a:lnTo>
                  <a:lnTo>
                    <a:pt x="256676" y="478202"/>
                  </a:lnTo>
                  <a:lnTo>
                    <a:pt x="260365" y="474514"/>
                  </a:lnTo>
                  <a:lnTo>
                    <a:pt x="260365" y="470823"/>
                  </a:lnTo>
                  <a:lnTo>
                    <a:pt x="260365" y="467133"/>
                  </a:lnTo>
                  <a:lnTo>
                    <a:pt x="264055" y="467133"/>
                  </a:lnTo>
                  <a:lnTo>
                    <a:pt x="267744" y="463442"/>
                  </a:lnTo>
                  <a:lnTo>
                    <a:pt x="267744" y="456061"/>
                  </a:lnTo>
                  <a:lnTo>
                    <a:pt x="271433" y="452370"/>
                  </a:lnTo>
                  <a:lnTo>
                    <a:pt x="275122" y="448680"/>
                  </a:lnTo>
                  <a:lnTo>
                    <a:pt x="278811" y="444989"/>
                  </a:lnTo>
                  <a:lnTo>
                    <a:pt x="282500" y="444989"/>
                  </a:lnTo>
                  <a:lnTo>
                    <a:pt x="286190" y="444989"/>
                  </a:lnTo>
                  <a:lnTo>
                    <a:pt x="286190" y="441299"/>
                  </a:lnTo>
                  <a:lnTo>
                    <a:pt x="289879" y="437608"/>
                  </a:lnTo>
                  <a:lnTo>
                    <a:pt x="289879" y="433917"/>
                  </a:lnTo>
                  <a:lnTo>
                    <a:pt x="297258" y="426537"/>
                  </a:lnTo>
                  <a:lnTo>
                    <a:pt x="293568" y="426537"/>
                  </a:lnTo>
                  <a:lnTo>
                    <a:pt x="289879" y="426537"/>
                  </a:lnTo>
                  <a:lnTo>
                    <a:pt x="286190" y="422847"/>
                  </a:lnTo>
                  <a:lnTo>
                    <a:pt x="286190" y="426537"/>
                  </a:lnTo>
                  <a:lnTo>
                    <a:pt x="278811" y="422847"/>
                  </a:lnTo>
                  <a:lnTo>
                    <a:pt x="278811" y="419156"/>
                  </a:lnTo>
                  <a:lnTo>
                    <a:pt x="278811" y="415465"/>
                  </a:lnTo>
                  <a:lnTo>
                    <a:pt x="278811" y="411775"/>
                  </a:lnTo>
                  <a:lnTo>
                    <a:pt x="282500" y="408084"/>
                  </a:lnTo>
                  <a:lnTo>
                    <a:pt x="282500" y="404394"/>
                  </a:lnTo>
                  <a:lnTo>
                    <a:pt x="278811" y="404394"/>
                  </a:lnTo>
                  <a:lnTo>
                    <a:pt x="275122" y="408084"/>
                  </a:lnTo>
                  <a:lnTo>
                    <a:pt x="271433" y="404394"/>
                  </a:lnTo>
                  <a:lnTo>
                    <a:pt x="278811" y="400703"/>
                  </a:lnTo>
                  <a:lnTo>
                    <a:pt x="286190" y="400703"/>
                  </a:lnTo>
                  <a:lnTo>
                    <a:pt x="286190" y="397012"/>
                  </a:lnTo>
                  <a:lnTo>
                    <a:pt x="282500" y="393322"/>
                  </a:lnTo>
                  <a:lnTo>
                    <a:pt x="282500" y="389631"/>
                  </a:lnTo>
                  <a:lnTo>
                    <a:pt x="282500" y="385940"/>
                  </a:lnTo>
                  <a:lnTo>
                    <a:pt x="286190" y="382250"/>
                  </a:lnTo>
                  <a:lnTo>
                    <a:pt x="289879" y="385940"/>
                  </a:lnTo>
                  <a:lnTo>
                    <a:pt x="289879" y="382250"/>
                  </a:lnTo>
                  <a:lnTo>
                    <a:pt x="293568" y="378559"/>
                  </a:lnTo>
                  <a:lnTo>
                    <a:pt x="297258" y="371178"/>
                  </a:lnTo>
                  <a:lnTo>
                    <a:pt x="293568" y="371178"/>
                  </a:lnTo>
                  <a:lnTo>
                    <a:pt x="293568" y="363797"/>
                  </a:lnTo>
                  <a:lnTo>
                    <a:pt x="289879" y="363797"/>
                  </a:lnTo>
                  <a:lnTo>
                    <a:pt x="289879" y="360106"/>
                  </a:lnTo>
                  <a:lnTo>
                    <a:pt x="286190" y="356416"/>
                  </a:lnTo>
                  <a:lnTo>
                    <a:pt x="286190" y="352725"/>
                  </a:lnTo>
                  <a:lnTo>
                    <a:pt x="282500" y="345344"/>
                  </a:lnTo>
                  <a:lnTo>
                    <a:pt x="282500" y="341654"/>
                  </a:lnTo>
                  <a:lnTo>
                    <a:pt x="275122" y="330582"/>
                  </a:lnTo>
                  <a:lnTo>
                    <a:pt x="275122" y="326892"/>
                  </a:lnTo>
                  <a:lnTo>
                    <a:pt x="271433" y="323201"/>
                  </a:lnTo>
                  <a:lnTo>
                    <a:pt x="271433" y="315820"/>
                  </a:lnTo>
                  <a:lnTo>
                    <a:pt x="267744" y="308439"/>
                  </a:lnTo>
                  <a:lnTo>
                    <a:pt x="267744" y="304748"/>
                  </a:lnTo>
                  <a:lnTo>
                    <a:pt x="264055" y="301057"/>
                  </a:lnTo>
                  <a:lnTo>
                    <a:pt x="267744" y="297367"/>
                  </a:lnTo>
                  <a:lnTo>
                    <a:pt x="264055" y="293676"/>
                  </a:lnTo>
                  <a:lnTo>
                    <a:pt x="264055" y="289986"/>
                  </a:lnTo>
                  <a:lnTo>
                    <a:pt x="264055" y="286295"/>
                  </a:lnTo>
                  <a:lnTo>
                    <a:pt x="264055" y="282604"/>
                  </a:lnTo>
                  <a:lnTo>
                    <a:pt x="264055" y="275223"/>
                  </a:lnTo>
                  <a:lnTo>
                    <a:pt x="264055" y="271532"/>
                  </a:lnTo>
                  <a:lnTo>
                    <a:pt x="267744" y="271532"/>
                  </a:lnTo>
                  <a:lnTo>
                    <a:pt x="267744" y="267842"/>
                  </a:lnTo>
                  <a:lnTo>
                    <a:pt x="271433" y="267842"/>
                  </a:lnTo>
                  <a:lnTo>
                    <a:pt x="275122" y="264151"/>
                  </a:lnTo>
                  <a:lnTo>
                    <a:pt x="278811" y="264151"/>
                  </a:lnTo>
                  <a:lnTo>
                    <a:pt x="282500" y="264151"/>
                  </a:lnTo>
                  <a:lnTo>
                    <a:pt x="282500" y="267842"/>
                  </a:lnTo>
                  <a:lnTo>
                    <a:pt x="286190" y="271532"/>
                  </a:lnTo>
                  <a:lnTo>
                    <a:pt x="286190" y="267842"/>
                  </a:lnTo>
                  <a:lnTo>
                    <a:pt x="289879" y="264151"/>
                  </a:lnTo>
                  <a:lnTo>
                    <a:pt x="293568" y="264151"/>
                  </a:lnTo>
                  <a:lnTo>
                    <a:pt x="297258" y="264151"/>
                  </a:lnTo>
                  <a:lnTo>
                    <a:pt x="300947" y="264151"/>
                  </a:lnTo>
                  <a:lnTo>
                    <a:pt x="304636" y="267842"/>
                  </a:lnTo>
                  <a:lnTo>
                    <a:pt x="308326" y="271532"/>
                  </a:lnTo>
                  <a:lnTo>
                    <a:pt x="312015" y="271532"/>
                  </a:lnTo>
                  <a:lnTo>
                    <a:pt x="315704" y="275223"/>
                  </a:lnTo>
                  <a:lnTo>
                    <a:pt x="315704" y="278914"/>
                  </a:lnTo>
                  <a:lnTo>
                    <a:pt x="323082" y="278914"/>
                  </a:lnTo>
                  <a:lnTo>
                    <a:pt x="326771" y="278914"/>
                  </a:lnTo>
                  <a:lnTo>
                    <a:pt x="330460" y="278914"/>
                  </a:lnTo>
                  <a:lnTo>
                    <a:pt x="334150" y="275223"/>
                  </a:lnTo>
                  <a:lnTo>
                    <a:pt x="341528" y="267842"/>
                  </a:lnTo>
                  <a:lnTo>
                    <a:pt x="345217" y="267842"/>
                  </a:lnTo>
                  <a:lnTo>
                    <a:pt x="352595" y="267842"/>
                  </a:lnTo>
                  <a:lnTo>
                    <a:pt x="352595" y="264151"/>
                  </a:lnTo>
                  <a:lnTo>
                    <a:pt x="356285" y="260461"/>
                  </a:lnTo>
                  <a:lnTo>
                    <a:pt x="359974" y="260461"/>
                  </a:lnTo>
                  <a:lnTo>
                    <a:pt x="359974" y="256771"/>
                  </a:lnTo>
                  <a:lnTo>
                    <a:pt x="367352" y="253080"/>
                  </a:lnTo>
                  <a:lnTo>
                    <a:pt x="367352" y="249390"/>
                  </a:lnTo>
                  <a:lnTo>
                    <a:pt x="371041" y="245699"/>
                  </a:lnTo>
                  <a:lnTo>
                    <a:pt x="371041" y="238318"/>
                  </a:lnTo>
                  <a:lnTo>
                    <a:pt x="371041" y="234627"/>
                  </a:lnTo>
                  <a:lnTo>
                    <a:pt x="374730" y="227246"/>
                  </a:lnTo>
                  <a:lnTo>
                    <a:pt x="378420" y="227246"/>
                  </a:lnTo>
                  <a:lnTo>
                    <a:pt x="382106" y="227246"/>
                  </a:lnTo>
                  <a:lnTo>
                    <a:pt x="385802" y="227246"/>
                  </a:lnTo>
                  <a:lnTo>
                    <a:pt x="389488" y="223555"/>
                  </a:lnTo>
                  <a:lnTo>
                    <a:pt x="393174" y="223555"/>
                  </a:lnTo>
                  <a:lnTo>
                    <a:pt x="389488" y="219865"/>
                  </a:lnTo>
                  <a:lnTo>
                    <a:pt x="393174" y="219865"/>
                  </a:lnTo>
                  <a:lnTo>
                    <a:pt x="396870" y="216174"/>
                  </a:lnTo>
                  <a:lnTo>
                    <a:pt x="400556" y="212484"/>
                  </a:lnTo>
                  <a:lnTo>
                    <a:pt x="396870" y="208793"/>
                  </a:lnTo>
                  <a:lnTo>
                    <a:pt x="393174" y="205102"/>
                  </a:lnTo>
                  <a:lnTo>
                    <a:pt x="393174" y="201412"/>
                  </a:lnTo>
                  <a:lnTo>
                    <a:pt x="393174" y="197721"/>
                  </a:lnTo>
                  <a:lnTo>
                    <a:pt x="393174" y="194031"/>
                  </a:lnTo>
                  <a:lnTo>
                    <a:pt x="393174" y="190340"/>
                  </a:lnTo>
                  <a:lnTo>
                    <a:pt x="393174" y="186649"/>
                  </a:lnTo>
                  <a:lnTo>
                    <a:pt x="393174" y="182959"/>
                  </a:lnTo>
                  <a:lnTo>
                    <a:pt x="389488" y="182959"/>
                  </a:lnTo>
                  <a:lnTo>
                    <a:pt x="385802" y="179268"/>
                  </a:lnTo>
                  <a:lnTo>
                    <a:pt x="378420" y="175578"/>
                  </a:lnTo>
                  <a:lnTo>
                    <a:pt x="367352" y="175578"/>
                  </a:lnTo>
                  <a:lnTo>
                    <a:pt x="363663" y="175578"/>
                  </a:lnTo>
                  <a:lnTo>
                    <a:pt x="359974" y="171888"/>
                  </a:lnTo>
                  <a:lnTo>
                    <a:pt x="352595" y="171888"/>
                  </a:lnTo>
                  <a:lnTo>
                    <a:pt x="348906" y="171888"/>
                  </a:lnTo>
                  <a:lnTo>
                    <a:pt x="345217" y="179268"/>
                  </a:lnTo>
                  <a:lnTo>
                    <a:pt x="341528" y="182959"/>
                  </a:lnTo>
                  <a:lnTo>
                    <a:pt x="341528" y="186649"/>
                  </a:lnTo>
                  <a:lnTo>
                    <a:pt x="337839" y="182959"/>
                  </a:lnTo>
                  <a:lnTo>
                    <a:pt x="334150" y="182959"/>
                  </a:lnTo>
                  <a:lnTo>
                    <a:pt x="330460" y="182959"/>
                  </a:lnTo>
                  <a:lnTo>
                    <a:pt x="326771" y="182959"/>
                  </a:lnTo>
                  <a:lnTo>
                    <a:pt x="319393" y="175578"/>
                  </a:lnTo>
                  <a:lnTo>
                    <a:pt x="315704" y="171888"/>
                  </a:lnTo>
                  <a:lnTo>
                    <a:pt x="312015" y="168197"/>
                  </a:lnTo>
                  <a:lnTo>
                    <a:pt x="315704" y="160816"/>
                  </a:lnTo>
                  <a:lnTo>
                    <a:pt x="312015" y="160816"/>
                  </a:lnTo>
                  <a:lnTo>
                    <a:pt x="308326" y="157126"/>
                  </a:lnTo>
                  <a:lnTo>
                    <a:pt x="304636" y="157126"/>
                  </a:lnTo>
                  <a:lnTo>
                    <a:pt x="312015" y="101766"/>
                  </a:lnTo>
                  <a:lnTo>
                    <a:pt x="304636" y="90695"/>
                  </a:lnTo>
                  <a:lnTo>
                    <a:pt x="293568" y="68552"/>
                  </a:lnTo>
                  <a:lnTo>
                    <a:pt x="293568" y="64861"/>
                  </a:lnTo>
                  <a:lnTo>
                    <a:pt x="289879" y="61171"/>
                  </a:lnTo>
                  <a:lnTo>
                    <a:pt x="278811" y="39027"/>
                  </a:lnTo>
                  <a:lnTo>
                    <a:pt x="275122" y="39027"/>
                  </a:lnTo>
                  <a:lnTo>
                    <a:pt x="275122" y="31646"/>
                  </a:lnTo>
                  <a:lnTo>
                    <a:pt x="271433" y="27955"/>
                  </a:lnTo>
                  <a:lnTo>
                    <a:pt x="267744" y="27955"/>
                  </a:lnTo>
                  <a:lnTo>
                    <a:pt x="264055" y="31646"/>
                  </a:lnTo>
                  <a:lnTo>
                    <a:pt x="260365" y="31646"/>
                  </a:lnTo>
                  <a:lnTo>
                    <a:pt x="256676" y="27955"/>
                  </a:lnTo>
                  <a:lnTo>
                    <a:pt x="252987" y="27955"/>
                  </a:lnTo>
                  <a:lnTo>
                    <a:pt x="249298" y="31646"/>
                  </a:lnTo>
                  <a:lnTo>
                    <a:pt x="241920" y="31646"/>
                  </a:lnTo>
                  <a:lnTo>
                    <a:pt x="234541" y="39027"/>
                  </a:lnTo>
                  <a:lnTo>
                    <a:pt x="234541" y="42718"/>
                  </a:lnTo>
                  <a:lnTo>
                    <a:pt x="227163" y="53789"/>
                  </a:lnTo>
                  <a:lnTo>
                    <a:pt x="223474" y="53789"/>
                  </a:lnTo>
                  <a:lnTo>
                    <a:pt x="216096" y="57480"/>
                  </a:lnTo>
                  <a:lnTo>
                    <a:pt x="212406" y="61171"/>
                  </a:lnTo>
                  <a:lnTo>
                    <a:pt x="197650" y="68552"/>
                  </a:lnTo>
                  <a:lnTo>
                    <a:pt x="193961" y="64861"/>
                  </a:lnTo>
                  <a:lnTo>
                    <a:pt x="182893" y="57480"/>
                  </a:lnTo>
                  <a:lnTo>
                    <a:pt x="179204" y="57480"/>
                  </a:lnTo>
                  <a:lnTo>
                    <a:pt x="168136" y="50099"/>
                  </a:lnTo>
                  <a:lnTo>
                    <a:pt x="164447" y="46408"/>
                  </a:lnTo>
                  <a:lnTo>
                    <a:pt x="160758" y="42718"/>
                  </a:lnTo>
                  <a:lnTo>
                    <a:pt x="157069" y="35336"/>
                  </a:lnTo>
                  <a:lnTo>
                    <a:pt x="157069" y="27955"/>
                  </a:lnTo>
                  <a:lnTo>
                    <a:pt x="157069" y="20574"/>
                  </a:lnTo>
                  <a:lnTo>
                    <a:pt x="160758" y="13193"/>
                  </a:lnTo>
                  <a:lnTo>
                    <a:pt x="160758" y="9502"/>
                  </a:lnTo>
                  <a:lnTo>
                    <a:pt x="157069" y="9502"/>
                  </a:lnTo>
                  <a:lnTo>
                    <a:pt x="157069" y="13193"/>
                  </a:lnTo>
                  <a:lnTo>
                    <a:pt x="153380" y="13193"/>
                  </a:lnTo>
                  <a:lnTo>
                    <a:pt x="149690" y="13193"/>
                  </a:lnTo>
                  <a:lnTo>
                    <a:pt x="149690" y="9502"/>
                  </a:lnTo>
                  <a:lnTo>
                    <a:pt x="149690" y="5812"/>
                  </a:lnTo>
                  <a:lnTo>
                    <a:pt x="142312" y="5812"/>
                  </a:lnTo>
                  <a:lnTo>
                    <a:pt x="134933" y="5812"/>
                  </a:lnTo>
                  <a:lnTo>
                    <a:pt x="131244" y="5812"/>
                  </a:lnTo>
                  <a:lnTo>
                    <a:pt x="127555" y="5812"/>
                  </a:lnTo>
                  <a:close/>
                  <a:moveTo>
                    <a:pt x="160758" y="9502"/>
                  </a:moveTo>
                  <a:lnTo>
                    <a:pt x="160758" y="5812"/>
                  </a:lnTo>
                  <a:lnTo>
                    <a:pt x="157069" y="5812"/>
                  </a:lnTo>
                  <a:lnTo>
                    <a:pt x="160758" y="9502"/>
                  </a:lnTo>
                  <a:close/>
                  <a:moveTo>
                    <a:pt x="275122" y="31646"/>
                  </a:moveTo>
                  <a:lnTo>
                    <a:pt x="278811" y="35336"/>
                  </a:lnTo>
                  <a:lnTo>
                    <a:pt x="278811" y="27955"/>
                  </a:lnTo>
                  <a:lnTo>
                    <a:pt x="275122" y="27955"/>
                  </a:lnTo>
                  <a:lnTo>
                    <a:pt x="275122" y="31646"/>
                  </a:lnTo>
                  <a:close/>
                  <a:moveTo>
                    <a:pt x="241920" y="481898"/>
                  </a:moveTo>
                  <a:lnTo>
                    <a:pt x="241920" y="485584"/>
                  </a:lnTo>
                  <a:lnTo>
                    <a:pt x="245609" y="485584"/>
                  </a:lnTo>
                  <a:lnTo>
                    <a:pt x="241920" y="481898"/>
                  </a:lnTo>
                  <a:close/>
                  <a:moveTo>
                    <a:pt x="304636" y="400703"/>
                  </a:moveTo>
                  <a:lnTo>
                    <a:pt x="304636" y="404394"/>
                  </a:lnTo>
                  <a:lnTo>
                    <a:pt x="304636" y="408084"/>
                  </a:lnTo>
                  <a:lnTo>
                    <a:pt x="300947" y="415465"/>
                  </a:lnTo>
                  <a:lnTo>
                    <a:pt x="304636" y="415465"/>
                  </a:lnTo>
                  <a:lnTo>
                    <a:pt x="308326" y="411775"/>
                  </a:lnTo>
                  <a:lnTo>
                    <a:pt x="312015" y="411775"/>
                  </a:lnTo>
                  <a:lnTo>
                    <a:pt x="315704" y="408084"/>
                  </a:lnTo>
                  <a:lnTo>
                    <a:pt x="319393" y="408084"/>
                  </a:lnTo>
                  <a:lnTo>
                    <a:pt x="319393" y="404394"/>
                  </a:lnTo>
                  <a:lnTo>
                    <a:pt x="312015" y="408084"/>
                  </a:lnTo>
                  <a:lnTo>
                    <a:pt x="308326" y="404394"/>
                  </a:lnTo>
                  <a:lnTo>
                    <a:pt x="304636" y="400703"/>
                  </a:lnTo>
                  <a:close/>
                  <a:moveTo>
                    <a:pt x="404242" y="529875"/>
                  </a:moveTo>
                  <a:lnTo>
                    <a:pt x="404242" y="533561"/>
                  </a:lnTo>
                  <a:lnTo>
                    <a:pt x="407929" y="533561"/>
                  </a:lnTo>
                  <a:lnTo>
                    <a:pt x="404242" y="529875"/>
                  </a:lnTo>
                  <a:close/>
                </a:path>
              </a:pathLst>
            </a:custGeom>
            <a:solidFill>
              <a:srgbClr val="17722B"/>
            </a:solidFill>
            <a:ln w="12821" cap="flat">
              <a:solidFill>
                <a:schemeClr val="bg1"/>
              </a:solidFill>
              <a:prstDash val="solid"/>
              <a:round/>
            </a:ln>
          </p:spPr>
          <p:txBody>
            <a:bodyPr rot="0" spcFirstLastPara="0" vertOverflow="overflow" horzOverflow="overflow" vert="horz" wrap="square" lIns="36000" tIns="0" rIns="144000" bIns="0" numCol="1" spcCol="0" rtlCol="0" fromWordArt="0" anchor="ctr" anchorCtr="0" forceAA="0" compatLnSpc="1">
              <a:prstTxWarp prst="textNoShape">
                <a:avLst/>
              </a:prstTxWarp>
              <a:noAutofit/>
            </a:bodyPr>
            <a:lstStyle/>
            <a:p>
              <a:pPr marL="0" indent="0" algn="ctr">
                <a:buNone/>
              </a:pPr>
              <a:r>
                <a:rPr lang="nl-NL" sz="800" b="1" dirty="0">
                  <a:solidFill>
                    <a:srgbClr val="FFFFFF"/>
                  </a:solidFill>
                  <a:latin typeface="+mj-lt"/>
                </a:rPr>
                <a:t>241</a:t>
              </a:r>
              <a:endParaRPr lang="nl-NL" sz="800" b="1" dirty="0">
                <a:solidFill>
                  <a:srgbClr val="FFFFFF"/>
                </a:solidFill>
                <a:latin typeface="+mj-lt"/>
                <a:cs typeface="Arial" panose="020B0604020202020204" pitchFamily="34" charset="0"/>
              </a:endParaRPr>
            </a:p>
          </p:txBody>
        </p:sp>
        <p:sp>
          <p:nvSpPr>
            <p:cNvPr id="241" name="Freeform: Shape 240">
              <a:extLst>
                <a:ext uri="{FF2B5EF4-FFF2-40B4-BE49-F238E27FC236}">
                  <a16:creationId xmlns:a16="http://schemas.microsoft.com/office/drawing/2014/main" id="{BB16194C-957E-4B74-BD48-65C99E61D757}"/>
                </a:ext>
              </a:extLst>
            </p:cNvPr>
            <p:cNvSpPr/>
            <p:nvPr/>
          </p:nvSpPr>
          <p:spPr>
            <a:xfrm>
              <a:off x="5352993" y="2895776"/>
              <a:ext cx="169100" cy="261336"/>
            </a:xfrm>
            <a:custGeom>
              <a:avLst/>
              <a:gdLst>
                <a:gd name="connsiteX0" fmla="*/ 79596 w 104775"/>
                <a:gd name="connsiteY0" fmla="*/ 116528 h 161925"/>
                <a:gd name="connsiteX1" fmla="*/ 72217 w 104775"/>
                <a:gd name="connsiteY1" fmla="*/ 123909 h 161925"/>
                <a:gd name="connsiteX2" fmla="*/ 68528 w 104775"/>
                <a:gd name="connsiteY2" fmla="*/ 127600 h 161925"/>
                <a:gd name="connsiteX3" fmla="*/ 64839 w 104775"/>
                <a:gd name="connsiteY3" fmla="*/ 127600 h 161925"/>
                <a:gd name="connsiteX4" fmla="*/ 61150 w 104775"/>
                <a:gd name="connsiteY4" fmla="*/ 127600 h 161925"/>
                <a:gd name="connsiteX5" fmla="*/ 57460 w 104775"/>
                <a:gd name="connsiteY5" fmla="*/ 127600 h 161925"/>
                <a:gd name="connsiteX6" fmla="*/ 46393 w 104775"/>
                <a:gd name="connsiteY6" fmla="*/ 142362 h 161925"/>
                <a:gd name="connsiteX7" fmla="*/ 46393 w 104775"/>
                <a:gd name="connsiteY7" fmla="*/ 146053 h 161925"/>
                <a:gd name="connsiteX8" fmla="*/ 46393 w 104775"/>
                <a:gd name="connsiteY8" fmla="*/ 146053 h 161925"/>
                <a:gd name="connsiteX9" fmla="*/ 46393 w 104775"/>
                <a:gd name="connsiteY9" fmla="*/ 149743 h 161925"/>
                <a:gd name="connsiteX10" fmla="*/ 42704 w 104775"/>
                <a:gd name="connsiteY10" fmla="*/ 149743 h 161925"/>
                <a:gd name="connsiteX11" fmla="*/ 39015 w 104775"/>
                <a:gd name="connsiteY11" fmla="*/ 149743 h 161925"/>
                <a:gd name="connsiteX12" fmla="*/ 35325 w 104775"/>
                <a:gd name="connsiteY12" fmla="*/ 146053 h 161925"/>
                <a:gd name="connsiteX13" fmla="*/ 27947 w 104775"/>
                <a:gd name="connsiteY13" fmla="*/ 142362 h 161925"/>
                <a:gd name="connsiteX14" fmla="*/ 24258 w 104775"/>
                <a:gd name="connsiteY14" fmla="*/ 142362 h 161925"/>
                <a:gd name="connsiteX15" fmla="*/ 27947 w 104775"/>
                <a:gd name="connsiteY15" fmla="*/ 146053 h 161925"/>
                <a:gd name="connsiteX16" fmla="*/ 31636 w 104775"/>
                <a:gd name="connsiteY16" fmla="*/ 149743 h 161925"/>
                <a:gd name="connsiteX17" fmla="*/ 31636 w 104775"/>
                <a:gd name="connsiteY17" fmla="*/ 149743 h 161925"/>
                <a:gd name="connsiteX18" fmla="*/ 35325 w 104775"/>
                <a:gd name="connsiteY18" fmla="*/ 153434 h 161925"/>
                <a:gd name="connsiteX19" fmla="*/ 39015 w 104775"/>
                <a:gd name="connsiteY19" fmla="*/ 153434 h 161925"/>
                <a:gd name="connsiteX20" fmla="*/ 31636 w 104775"/>
                <a:gd name="connsiteY20" fmla="*/ 153434 h 161925"/>
                <a:gd name="connsiteX21" fmla="*/ 31636 w 104775"/>
                <a:gd name="connsiteY21" fmla="*/ 153434 h 161925"/>
                <a:gd name="connsiteX22" fmla="*/ 31636 w 104775"/>
                <a:gd name="connsiteY22" fmla="*/ 157125 h 161925"/>
                <a:gd name="connsiteX23" fmla="*/ 31636 w 104775"/>
                <a:gd name="connsiteY23" fmla="*/ 157125 h 161925"/>
                <a:gd name="connsiteX24" fmla="*/ 31636 w 104775"/>
                <a:gd name="connsiteY24" fmla="*/ 157125 h 161925"/>
                <a:gd name="connsiteX25" fmla="*/ 24258 w 104775"/>
                <a:gd name="connsiteY25" fmla="*/ 157125 h 161925"/>
                <a:gd name="connsiteX26" fmla="*/ 20569 w 104775"/>
                <a:gd name="connsiteY26" fmla="*/ 157125 h 161925"/>
                <a:gd name="connsiteX27" fmla="*/ 24258 w 104775"/>
                <a:gd name="connsiteY27" fmla="*/ 157125 h 161925"/>
                <a:gd name="connsiteX28" fmla="*/ 20569 w 104775"/>
                <a:gd name="connsiteY28" fmla="*/ 160815 h 161925"/>
                <a:gd name="connsiteX29" fmla="*/ 16880 w 104775"/>
                <a:gd name="connsiteY29" fmla="*/ 160815 h 161925"/>
                <a:gd name="connsiteX30" fmla="*/ 13191 w 104775"/>
                <a:gd name="connsiteY30" fmla="*/ 164506 h 161925"/>
                <a:gd name="connsiteX31" fmla="*/ 9501 w 104775"/>
                <a:gd name="connsiteY31" fmla="*/ 164506 h 161925"/>
                <a:gd name="connsiteX32" fmla="*/ 9501 w 104775"/>
                <a:gd name="connsiteY32" fmla="*/ 160815 h 161925"/>
                <a:gd name="connsiteX33" fmla="*/ 9501 w 104775"/>
                <a:gd name="connsiteY33" fmla="*/ 153434 h 161925"/>
                <a:gd name="connsiteX34" fmla="*/ 5812 w 104775"/>
                <a:gd name="connsiteY34" fmla="*/ 138672 h 161925"/>
                <a:gd name="connsiteX35" fmla="*/ 5812 w 104775"/>
                <a:gd name="connsiteY35" fmla="*/ 131290 h 161925"/>
                <a:gd name="connsiteX36" fmla="*/ 5812 w 104775"/>
                <a:gd name="connsiteY36" fmla="*/ 127600 h 161925"/>
                <a:gd name="connsiteX37" fmla="*/ 9501 w 104775"/>
                <a:gd name="connsiteY37" fmla="*/ 116528 h 161925"/>
                <a:gd name="connsiteX38" fmla="*/ 9501 w 104775"/>
                <a:gd name="connsiteY38" fmla="*/ 112837 h 161925"/>
                <a:gd name="connsiteX39" fmla="*/ 9501 w 104775"/>
                <a:gd name="connsiteY39" fmla="*/ 112837 h 161925"/>
                <a:gd name="connsiteX40" fmla="*/ 13191 w 104775"/>
                <a:gd name="connsiteY40" fmla="*/ 101766 h 161925"/>
                <a:gd name="connsiteX41" fmla="*/ 16880 w 104775"/>
                <a:gd name="connsiteY41" fmla="*/ 90695 h 161925"/>
                <a:gd name="connsiteX42" fmla="*/ 20569 w 104775"/>
                <a:gd name="connsiteY42" fmla="*/ 79623 h 161925"/>
                <a:gd name="connsiteX43" fmla="*/ 24258 w 104775"/>
                <a:gd name="connsiteY43" fmla="*/ 75932 h 161925"/>
                <a:gd name="connsiteX44" fmla="*/ 31636 w 104775"/>
                <a:gd name="connsiteY44" fmla="*/ 64860 h 161925"/>
                <a:gd name="connsiteX45" fmla="*/ 39015 w 104775"/>
                <a:gd name="connsiteY45" fmla="*/ 50098 h 161925"/>
                <a:gd name="connsiteX46" fmla="*/ 50082 w 104775"/>
                <a:gd name="connsiteY46" fmla="*/ 39026 h 161925"/>
                <a:gd name="connsiteX47" fmla="*/ 50082 w 104775"/>
                <a:gd name="connsiteY47" fmla="*/ 39026 h 161925"/>
                <a:gd name="connsiteX48" fmla="*/ 50082 w 104775"/>
                <a:gd name="connsiteY48" fmla="*/ 39026 h 161925"/>
                <a:gd name="connsiteX49" fmla="*/ 50082 w 104775"/>
                <a:gd name="connsiteY49" fmla="*/ 42717 h 161925"/>
                <a:gd name="connsiteX50" fmla="*/ 50082 w 104775"/>
                <a:gd name="connsiteY50" fmla="*/ 46407 h 161925"/>
                <a:gd name="connsiteX51" fmla="*/ 53771 w 104775"/>
                <a:gd name="connsiteY51" fmla="*/ 42717 h 161925"/>
                <a:gd name="connsiteX52" fmla="*/ 53771 w 104775"/>
                <a:gd name="connsiteY52" fmla="*/ 42717 h 161925"/>
                <a:gd name="connsiteX53" fmla="*/ 53771 w 104775"/>
                <a:gd name="connsiteY53" fmla="*/ 42717 h 161925"/>
                <a:gd name="connsiteX54" fmla="*/ 57460 w 104775"/>
                <a:gd name="connsiteY54" fmla="*/ 39026 h 161925"/>
                <a:gd name="connsiteX55" fmla="*/ 57460 w 104775"/>
                <a:gd name="connsiteY55" fmla="*/ 39026 h 161925"/>
                <a:gd name="connsiteX56" fmla="*/ 61150 w 104775"/>
                <a:gd name="connsiteY56" fmla="*/ 35336 h 161925"/>
                <a:gd name="connsiteX57" fmla="*/ 64839 w 104775"/>
                <a:gd name="connsiteY57" fmla="*/ 35336 h 161925"/>
                <a:gd name="connsiteX58" fmla="*/ 64839 w 104775"/>
                <a:gd name="connsiteY58" fmla="*/ 39026 h 161925"/>
                <a:gd name="connsiteX59" fmla="*/ 64839 w 104775"/>
                <a:gd name="connsiteY59" fmla="*/ 35336 h 161925"/>
                <a:gd name="connsiteX60" fmla="*/ 64839 w 104775"/>
                <a:gd name="connsiteY60" fmla="*/ 35336 h 161925"/>
                <a:gd name="connsiteX61" fmla="*/ 61150 w 104775"/>
                <a:gd name="connsiteY61" fmla="*/ 35336 h 161925"/>
                <a:gd name="connsiteX62" fmla="*/ 61150 w 104775"/>
                <a:gd name="connsiteY62" fmla="*/ 31645 h 161925"/>
                <a:gd name="connsiteX63" fmla="*/ 57460 w 104775"/>
                <a:gd name="connsiteY63" fmla="*/ 35336 h 161925"/>
                <a:gd name="connsiteX64" fmla="*/ 57460 w 104775"/>
                <a:gd name="connsiteY64" fmla="*/ 35336 h 161925"/>
                <a:gd name="connsiteX65" fmla="*/ 50082 w 104775"/>
                <a:gd name="connsiteY65" fmla="*/ 39026 h 161925"/>
                <a:gd name="connsiteX66" fmla="*/ 50082 w 104775"/>
                <a:gd name="connsiteY66" fmla="*/ 39026 h 161925"/>
                <a:gd name="connsiteX67" fmla="*/ 61150 w 104775"/>
                <a:gd name="connsiteY67" fmla="*/ 16882 h 161925"/>
                <a:gd name="connsiteX68" fmla="*/ 64839 w 104775"/>
                <a:gd name="connsiteY68" fmla="*/ 13193 h 161925"/>
                <a:gd name="connsiteX69" fmla="*/ 72217 w 104775"/>
                <a:gd name="connsiteY69" fmla="*/ 9502 h 161925"/>
                <a:gd name="connsiteX70" fmla="*/ 72217 w 104775"/>
                <a:gd name="connsiteY70" fmla="*/ 5812 h 161925"/>
                <a:gd name="connsiteX71" fmla="*/ 75906 w 104775"/>
                <a:gd name="connsiteY71" fmla="*/ 5812 h 161925"/>
                <a:gd name="connsiteX72" fmla="*/ 79596 w 104775"/>
                <a:gd name="connsiteY72" fmla="*/ 5812 h 161925"/>
                <a:gd name="connsiteX73" fmla="*/ 79596 w 104775"/>
                <a:gd name="connsiteY73" fmla="*/ 5812 h 161925"/>
                <a:gd name="connsiteX74" fmla="*/ 83285 w 104775"/>
                <a:gd name="connsiteY74" fmla="*/ 9502 h 161925"/>
                <a:gd name="connsiteX75" fmla="*/ 86974 w 104775"/>
                <a:gd name="connsiteY75" fmla="*/ 13193 h 161925"/>
                <a:gd name="connsiteX76" fmla="*/ 86974 w 104775"/>
                <a:gd name="connsiteY76" fmla="*/ 16882 h 161925"/>
                <a:gd name="connsiteX77" fmla="*/ 86974 w 104775"/>
                <a:gd name="connsiteY77" fmla="*/ 20573 h 161925"/>
                <a:gd name="connsiteX78" fmla="*/ 90663 w 104775"/>
                <a:gd name="connsiteY78" fmla="*/ 20573 h 161925"/>
                <a:gd name="connsiteX79" fmla="*/ 86974 w 104775"/>
                <a:gd name="connsiteY79" fmla="*/ 20573 h 161925"/>
                <a:gd name="connsiteX80" fmla="*/ 86974 w 104775"/>
                <a:gd name="connsiteY80" fmla="*/ 20573 h 161925"/>
                <a:gd name="connsiteX81" fmla="*/ 86974 w 104775"/>
                <a:gd name="connsiteY81" fmla="*/ 24264 h 161925"/>
                <a:gd name="connsiteX82" fmla="*/ 90663 w 104775"/>
                <a:gd name="connsiteY82" fmla="*/ 27954 h 161925"/>
                <a:gd name="connsiteX83" fmla="*/ 90663 w 104775"/>
                <a:gd name="connsiteY83" fmla="*/ 27954 h 161925"/>
                <a:gd name="connsiteX84" fmla="*/ 94352 w 104775"/>
                <a:gd name="connsiteY84" fmla="*/ 31645 h 161925"/>
                <a:gd name="connsiteX85" fmla="*/ 101730 w 104775"/>
                <a:gd name="connsiteY85" fmla="*/ 42717 h 161925"/>
                <a:gd name="connsiteX86" fmla="*/ 101730 w 104775"/>
                <a:gd name="connsiteY86" fmla="*/ 46407 h 161925"/>
                <a:gd name="connsiteX87" fmla="*/ 101730 w 104775"/>
                <a:gd name="connsiteY87" fmla="*/ 46407 h 161925"/>
                <a:gd name="connsiteX88" fmla="*/ 101730 w 104775"/>
                <a:gd name="connsiteY88" fmla="*/ 46407 h 161925"/>
                <a:gd name="connsiteX89" fmla="*/ 101730 w 104775"/>
                <a:gd name="connsiteY89" fmla="*/ 46407 h 161925"/>
                <a:gd name="connsiteX90" fmla="*/ 98041 w 104775"/>
                <a:gd name="connsiteY90" fmla="*/ 50098 h 161925"/>
                <a:gd name="connsiteX91" fmla="*/ 98041 w 104775"/>
                <a:gd name="connsiteY91" fmla="*/ 72242 h 161925"/>
                <a:gd name="connsiteX92" fmla="*/ 98041 w 104775"/>
                <a:gd name="connsiteY92" fmla="*/ 83313 h 161925"/>
                <a:gd name="connsiteX93" fmla="*/ 98041 w 104775"/>
                <a:gd name="connsiteY93" fmla="*/ 87004 h 161925"/>
                <a:gd name="connsiteX94" fmla="*/ 94352 w 104775"/>
                <a:gd name="connsiteY94" fmla="*/ 94385 h 161925"/>
                <a:gd name="connsiteX95" fmla="*/ 90663 w 104775"/>
                <a:gd name="connsiteY95" fmla="*/ 94385 h 161925"/>
                <a:gd name="connsiteX96" fmla="*/ 86974 w 104775"/>
                <a:gd name="connsiteY96" fmla="*/ 98075 h 161925"/>
                <a:gd name="connsiteX97" fmla="*/ 86974 w 104775"/>
                <a:gd name="connsiteY97" fmla="*/ 98075 h 161925"/>
                <a:gd name="connsiteX98" fmla="*/ 86974 w 104775"/>
                <a:gd name="connsiteY98" fmla="*/ 98075 h 161925"/>
                <a:gd name="connsiteX99" fmla="*/ 86974 w 104775"/>
                <a:gd name="connsiteY99" fmla="*/ 105456 h 161925"/>
                <a:gd name="connsiteX100" fmla="*/ 79596 w 104775"/>
                <a:gd name="connsiteY100" fmla="*/ 112837 h 161925"/>
                <a:gd name="connsiteX101" fmla="*/ 79596 w 104775"/>
                <a:gd name="connsiteY101" fmla="*/ 116528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04775" h="161925">
                  <a:moveTo>
                    <a:pt x="79596" y="116528"/>
                  </a:moveTo>
                  <a:lnTo>
                    <a:pt x="72217" y="123909"/>
                  </a:lnTo>
                  <a:lnTo>
                    <a:pt x="68528" y="127600"/>
                  </a:lnTo>
                  <a:lnTo>
                    <a:pt x="64839" y="127600"/>
                  </a:lnTo>
                  <a:lnTo>
                    <a:pt x="61150" y="127600"/>
                  </a:lnTo>
                  <a:lnTo>
                    <a:pt x="57460" y="127600"/>
                  </a:lnTo>
                  <a:lnTo>
                    <a:pt x="46393" y="142362"/>
                  </a:lnTo>
                  <a:lnTo>
                    <a:pt x="46393" y="146053"/>
                  </a:lnTo>
                  <a:lnTo>
                    <a:pt x="46393" y="146053"/>
                  </a:lnTo>
                  <a:lnTo>
                    <a:pt x="46393" y="149743"/>
                  </a:lnTo>
                  <a:lnTo>
                    <a:pt x="42704" y="149743"/>
                  </a:lnTo>
                  <a:lnTo>
                    <a:pt x="39015" y="149743"/>
                  </a:lnTo>
                  <a:lnTo>
                    <a:pt x="35325" y="146053"/>
                  </a:lnTo>
                  <a:lnTo>
                    <a:pt x="27947" y="142362"/>
                  </a:lnTo>
                  <a:lnTo>
                    <a:pt x="24258" y="142362"/>
                  </a:lnTo>
                  <a:lnTo>
                    <a:pt x="27947" y="146053"/>
                  </a:lnTo>
                  <a:lnTo>
                    <a:pt x="31636" y="149743"/>
                  </a:lnTo>
                  <a:lnTo>
                    <a:pt x="31636" y="149743"/>
                  </a:lnTo>
                  <a:lnTo>
                    <a:pt x="35325" y="153434"/>
                  </a:lnTo>
                  <a:lnTo>
                    <a:pt x="39015" y="153434"/>
                  </a:lnTo>
                  <a:lnTo>
                    <a:pt x="31636" y="153434"/>
                  </a:lnTo>
                  <a:lnTo>
                    <a:pt x="31636" y="153434"/>
                  </a:lnTo>
                  <a:lnTo>
                    <a:pt x="31636" y="157125"/>
                  </a:lnTo>
                  <a:lnTo>
                    <a:pt x="31636" y="157125"/>
                  </a:lnTo>
                  <a:lnTo>
                    <a:pt x="31636" y="157125"/>
                  </a:lnTo>
                  <a:lnTo>
                    <a:pt x="24258" y="157125"/>
                  </a:lnTo>
                  <a:lnTo>
                    <a:pt x="20569" y="157125"/>
                  </a:lnTo>
                  <a:lnTo>
                    <a:pt x="24258" y="157125"/>
                  </a:lnTo>
                  <a:lnTo>
                    <a:pt x="20569" y="160815"/>
                  </a:lnTo>
                  <a:lnTo>
                    <a:pt x="16880" y="160815"/>
                  </a:lnTo>
                  <a:lnTo>
                    <a:pt x="13191" y="164506"/>
                  </a:lnTo>
                  <a:lnTo>
                    <a:pt x="9501" y="164506"/>
                  </a:lnTo>
                  <a:lnTo>
                    <a:pt x="9501" y="160815"/>
                  </a:lnTo>
                  <a:lnTo>
                    <a:pt x="9501" y="153434"/>
                  </a:lnTo>
                  <a:lnTo>
                    <a:pt x="5812" y="138672"/>
                  </a:lnTo>
                  <a:lnTo>
                    <a:pt x="5812" y="131290"/>
                  </a:lnTo>
                  <a:lnTo>
                    <a:pt x="5812" y="127600"/>
                  </a:lnTo>
                  <a:lnTo>
                    <a:pt x="9501" y="116528"/>
                  </a:lnTo>
                  <a:lnTo>
                    <a:pt x="9501" y="112837"/>
                  </a:lnTo>
                  <a:lnTo>
                    <a:pt x="9501" y="112837"/>
                  </a:lnTo>
                  <a:lnTo>
                    <a:pt x="13191" y="101766"/>
                  </a:lnTo>
                  <a:lnTo>
                    <a:pt x="16880" y="90695"/>
                  </a:lnTo>
                  <a:lnTo>
                    <a:pt x="20569" y="79623"/>
                  </a:lnTo>
                  <a:lnTo>
                    <a:pt x="24258" y="75932"/>
                  </a:lnTo>
                  <a:lnTo>
                    <a:pt x="31636" y="64860"/>
                  </a:lnTo>
                  <a:lnTo>
                    <a:pt x="39015" y="50098"/>
                  </a:lnTo>
                  <a:lnTo>
                    <a:pt x="50082" y="39026"/>
                  </a:lnTo>
                  <a:lnTo>
                    <a:pt x="50082" y="39026"/>
                  </a:lnTo>
                  <a:lnTo>
                    <a:pt x="50082" y="39026"/>
                  </a:lnTo>
                  <a:lnTo>
                    <a:pt x="50082" y="42717"/>
                  </a:lnTo>
                  <a:lnTo>
                    <a:pt x="50082" y="46407"/>
                  </a:lnTo>
                  <a:lnTo>
                    <a:pt x="53771" y="42717"/>
                  </a:lnTo>
                  <a:lnTo>
                    <a:pt x="53771" y="42717"/>
                  </a:lnTo>
                  <a:lnTo>
                    <a:pt x="53771" y="42717"/>
                  </a:lnTo>
                  <a:lnTo>
                    <a:pt x="57460" y="39026"/>
                  </a:lnTo>
                  <a:lnTo>
                    <a:pt x="57460" y="39026"/>
                  </a:lnTo>
                  <a:lnTo>
                    <a:pt x="61150" y="35336"/>
                  </a:lnTo>
                  <a:lnTo>
                    <a:pt x="64839" y="35336"/>
                  </a:lnTo>
                  <a:lnTo>
                    <a:pt x="64839" y="39026"/>
                  </a:lnTo>
                  <a:lnTo>
                    <a:pt x="64839" y="35336"/>
                  </a:lnTo>
                  <a:lnTo>
                    <a:pt x="64839" y="35336"/>
                  </a:lnTo>
                  <a:lnTo>
                    <a:pt x="61150" y="35336"/>
                  </a:lnTo>
                  <a:lnTo>
                    <a:pt x="61150" y="31645"/>
                  </a:lnTo>
                  <a:lnTo>
                    <a:pt x="57460" y="35336"/>
                  </a:lnTo>
                  <a:lnTo>
                    <a:pt x="57460" y="35336"/>
                  </a:lnTo>
                  <a:lnTo>
                    <a:pt x="50082" y="39026"/>
                  </a:lnTo>
                  <a:lnTo>
                    <a:pt x="50082" y="39026"/>
                  </a:lnTo>
                  <a:lnTo>
                    <a:pt x="61150" y="16882"/>
                  </a:lnTo>
                  <a:lnTo>
                    <a:pt x="64839" y="13193"/>
                  </a:lnTo>
                  <a:lnTo>
                    <a:pt x="72217" y="9502"/>
                  </a:lnTo>
                  <a:lnTo>
                    <a:pt x="72217" y="5812"/>
                  </a:lnTo>
                  <a:lnTo>
                    <a:pt x="75906" y="5812"/>
                  </a:lnTo>
                  <a:lnTo>
                    <a:pt x="79596" y="5812"/>
                  </a:lnTo>
                  <a:lnTo>
                    <a:pt x="79596" y="5812"/>
                  </a:lnTo>
                  <a:lnTo>
                    <a:pt x="83285" y="9502"/>
                  </a:lnTo>
                  <a:lnTo>
                    <a:pt x="86974" y="13193"/>
                  </a:lnTo>
                  <a:lnTo>
                    <a:pt x="86974" y="16882"/>
                  </a:lnTo>
                  <a:lnTo>
                    <a:pt x="86974" y="20573"/>
                  </a:lnTo>
                  <a:lnTo>
                    <a:pt x="90663" y="20573"/>
                  </a:lnTo>
                  <a:lnTo>
                    <a:pt x="86974" y="20573"/>
                  </a:lnTo>
                  <a:lnTo>
                    <a:pt x="86974" y="20573"/>
                  </a:lnTo>
                  <a:lnTo>
                    <a:pt x="86974" y="24264"/>
                  </a:lnTo>
                  <a:lnTo>
                    <a:pt x="90663" y="27954"/>
                  </a:lnTo>
                  <a:lnTo>
                    <a:pt x="90663" y="27954"/>
                  </a:lnTo>
                  <a:lnTo>
                    <a:pt x="94352" y="31645"/>
                  </a:lnTo>
                  <a:lnTo>
                    <a:pt x="101730" y="42717"/>
                  </a:lnTo>
                  <a:lnTo>
                    <a:pt x="101730" y="46407"/>
                  </a:lnTo>
                  <a:lnTo>
                    <a:pt x="101730" y="46407"/>
                  </a:lnTo>
                  <a:lnTo>
                    <a:pt x="101730" y="46407"/>
                  </a:lnTo>
                  <a:lnTo>
                    <a:pt x="101730" y="46407"/>
                  </a:lnTo>
                  <a:lnTo>
                    <a:pt x="98041" y="50098"/>
                  </a:lnTo>
                  <a:lnTo>
                    <a:pt x="98041" y="72242"/>
                  </a:lnTo>
                  <a:lnTo>
                    <a:pt x="98041" y="83313"/>
                  </a:lnTo>
                  <a:lnTo>
                    <a:pt x="98041" y="87004"/>
                  </a:lnTo>
                  <a:lnTo>
                    <a:pt x="94352" y="94385"/>
                  </a:lnTo>
                  <a:lnTo>
                    <a:pt x="90663" y="94385"/>
                  </a:lnTo>
                  <a:lnTo>
                    <a:pt x="86974" y="98075"/>
                  </a:lnTo>
                  <a:lnTo>
                    <a:pt x="86974" y="98075"/>
                  </a:lnTo>
                  <a:lnTo>
                    <a:pt x="86974" y="98075"/>
                  </a:lnTo>
                  <a:lnTo>
                    <a:pt x="86974" y="105456"/>
                  </a:lnTo>
                  <a:lnTo>
                    <a:pt x="79596" y="112837"/>
                  </a:lnTo>
                  <a:lnTo>
                    <a:pt x="79596" y="116528"/>
                  </a:lnTo>
                  <a:close/>
                </a:path>
              </a:pathLst>
            </a:custGeom>
            <a:solidFill>
              <a:srgbClr val="17722B"/>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42" name="Freeform: Shape 241">
              <a:extLst>
                <a:ext uri="{FF2B5EF4-FFF2-40B4-BE49-F238E27FC236}">
                  <a16:creationId xmlns:a16="http://schemas.microsoft.com/office/drawing/2014/main" id="{BFDC7475-4AD1-4F27-BA20-821AEBBBC784}"/>
                </a:ext>
              </a:extLst>
            </p:cNvPr>
            <p:cNvSpPr/>
            <p:nvPr/>
          </p:nvSpPr>
          <p:spPr>
            <a:xfrm>
              <a:off x="5614973" y="3134029"/>
              <a:ext cx="107609" cy="92236"/>
            </a:xfrm>
            <a:custGeom>
              <a:avLst/>
              <a:gdLst>
                <a:gd name="connsiteX0" fmla="*/ 64839 w 66675"/>
                <a:gd name="connsiteY0" fmla="*/ 5812 h 57150"/>
                <a:gd name="connsiteX1" fmla="*/ 64839 w 66675"/>
                <a:gd name="connsiteY1" fmla="*/ 5812 h 57150"/>
                <a:gd name="connsiteX2" fmla="*/ 13191 w 66675"/>
                <a:gd name="connsiteY2" fmla="*/ 50098 h 57150"/>
                <a:gd name="connsiteX3" fmla="*/ 9501 w 66675"/>
                <a:gd name="connsiteY3" fmla="*/ 53789 h 57150"/>
                <a:gd name="connsiteX4" fmla="*/ 5812 w 66675"/>
                <a:gd name="connsiteY4" fmla="*/ 53789 h 57150"/>
                <a:gd name="connsiteX5" fmla="*/ 5812 w 66675"/>
                <a:gd name="connsiteY5" fmla="*/ 50098 h 57150"/>
                <a:gd name="connsiteX6" fmla="*/ 13191 w 66675"/>
                <a:gd name="connsiteY6" fmla="*/ 50098 h 57150"/>
                <a:gd name="connsiteX7" fmla="*/ 64839 w 66675"/>
                <a:gd name="connsiteY7" fmla="*/ 581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57150">
                  <a:moveTo>
                    <a:pt x="64839" y="5812"/>
                  </a:moveTo>
                  <a:lnTo>
                    <a:pt x="64839" y="5812"/>
                  </a:lnTo>
                  <a:lnTo>
                    <a:pt x="13191" y="50098"/>
                  </a:lnTo>
                  <a:lnTo>
                    <a:pt x="9501" y="53789"/>
                  </a:lnTo>
                  <a:lnTo>
                    <a:pt x="5812" y="53789"/>
                  </a:lnTo>
                  <a:lnTo>
                    <a:pt x="5812" y="50098"/>
                  </a:lnTo>
                  <a:lnTo>
                    <a:pt x="13191" y="50098"/>
                  </a:lnTo>
                  <a:lnTo>
                    <a:pt x="64839" y="5812"/>
                  </a:lnTo>
                  <a:close/>
                </a:path>
              </a:pathLst>
            </a:custGeom>
            <a:solidFill>
              <a:schemeClr val="accent3">
                <a:lumMod val="20000"/>
                <a:lumOff val="80000"/>
              </a:schemeClr>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43" name="Freeform: Shape 242">
              <a:extLst>
                <a:ext uri="{FF2B5EF4-FFF2-40B4-BE49-F238E27FC236}">
                  <a16:creationId xmlns:a16="http://schemas.microsoft.com/office/drawing/2014/main" id="{49A08511-CB2D-46C2-8E1F-9A519DA41040}"/>
                </a:ext>
              </a:extLst>
            </p:cNvPr>
            <p:cNvSpPr/>
            <p:nvPr/>
          </p:nvSpPr>
          <p:spPr>
            <a:xfrm>
              <a:off x="6025801" y="4700534"/>
              <a:ext cx="538043" cy="1322051"/>
            </a:xfrm>
            <a:custGeom>
              <a:avLst/>
              <a:gdLst>
                <a:gd name="connsiteX0" fmla="*/ 153382 w 333375"/>
                <a:gd name="connsiteY0" fmla="*/ 5812 h 819150"/>
                <a:gd name="connsiteX1" fmla="*/ 149696 w 333375"/>
                <a:gd name="connsiteY1" fmla="*/ 9507 h 819150"/>
                <a:gd name="connsiteX2" fmla="*/ 153382 w 333375"/>
                <a:gd name="connsiteY2" fmla="*/ 13193 h 819150"/>
                <a:gd name="connsiteX3" fmla="*/ 153382 w 333375"/>
                <a:gd name="connsiteY3" fmla="*/ 16889 h 819150"/>
                <a:gd name="connsiteX4" fmla="*/ 153382 w 333375"/>
                <a:gd name="connsiteY4" fmla="*/ 20575 h 819150"/>
                <a:gd name="connsiteX5" fmla="*/ 149696 w 333375"/>
                <a:gd name="connsiteY5" fmla="*/ 20575 h 819150"/>
                <a:gd name="connsiteX6" fmla="*/ 153382 w 333375"/>
                <a:gd name="connsiteY6" fmla="*/ 24271 h 819150"/>
                <a:gd name="connsiteX7" fmla="*/ 157069 w 333375"/>
                <a:gd name="connsiteY7" fmla="*/ 24271 h 819150"/>
                <a:gd name="connsiteX8" fmla="*/ 157069 w 333375"/>
                <a:gd name="connsiteY8" fmla="*/ 27957 h 819150"/>
                <a:gd name="connsiteX9" fmla="*/ 157069 w 333375"/>
                <a:gd name="connsiteY9" fmla="*/ 31653 h 819150"/>
                <a:gd name="connsiteX10" fmla="*/ 160755 w 333375"/>
                <a:gd name="connsiteY10" fmla="*/ 39025 h 819150"/>
                <a:gd name="connsiteX11" fmla="*/ 160755 w 333375"/>
                <a:gd name="connsiteY11" fmla="*/ 46407 h 819150"/>
                <a:gd name="connsiteX12" fmla="*/ 164450 w 333375"/>
                <a:gd name="connsiteY12" fmla="*/ 50103 h 819150"/>
                <a:gd name="connsiteX13" fmla="*/ 171823 w 333375"/>
                <a:gd name="connsiteY13" fmla="*/ 50103 h 819150"/>
                <a:gd name="connsiteX14" fmla="*/ 179205 w 333375"/>
                <a:gd name="connsiteY14" fmla="*/ 53789 h 819150"/>
                <a:gd name="connsiteX15" fmla="*/ 186587 w 333375"/>
                <a:gd name="connsiteY15" fmla="*/ 53789 h 819150"/>
                <a:gd name="connsiteX16" fmla="*/ 190273 w 333375"/>
                <a:gd name="connsiteY16" fmla="*/ 57485 h 819150"/>
                <a:gd name="connsiteX17" fmla="*/ 193959 w 333375"/>
                <a:gd name="connsiteY17" fmla="*/ 57485 h 819150"/>
                <a:gd name="connsiteX18" fmla="*/ 197655 w 333375"/>
                <a:gd name="connsiteY18" fmla="*/ 68553 h 819150"/>
                <a:gd name="connsiteX19" fmla="*/ 197655 w 333375"/>
                <a:gd name="connsiteY19" fmla="*/ 75935 h 819150"/>
                <a:gd name="connsiteX20" fmla="*/ 197655 w 333375"/>
                <a:gd name="connsiteY20" fmla="*/ 79630 h 819150"/>
                <a:gd name="connsiteX21" fmla="*/ 201341 w 333375"/>
                <a:gd name="connsiteY21" fmla="*/ 79630 h 819150"/>
                <a:gd name="connsiteX22" fmla="*/ 201341 w 333375"/>
                <a:gd name="connsiteY22" fmla="*/ 87003 h 819150"/>
                <a:gd name="connsiteX23" fmla="*/ 201341 w 333375"/>
                <a:gd name="connsiteY23" fmla="*/ 90698 h 819150"/>
                <a:gd name="connsiteX24" fmla="*/ 201341 w 333375"/>
                <a:gd name="connsiteY24" fmla="*/ 94384 h 819150"/>
                <a:gd name="connsiteX25" fmla="*/ 201341 w 333375"/>
                <a:gd name="connsiteY25" fmla="*/ 105462 h 819150"/>
                <a:gd name="connsiteX26" fmla="*/ 205027 w 333375"/>
                <a:gd name="connsiteY26" fmla="*/ 109148 h 819150"/>
                <a:gd name="connsiteX27" fmla="*/ 205027 w 333375"/>
                <a:gd name="connsiteY27" fmla="*/ 112844 h 819150"/>
                <a:gd name="connsiteX28" fmla="*/ 216095 w 333375"/>
                <a:gd name="connsiteY28" fmla="*/ 116530 h 819150"/>
                <a:gd name="connsiteX29" fmla="*/ 219791 w 333375"/>
                <a:gd name="connsiteY29" fmla="*/ 120226 h 819150"/>
                <a:gd name="connsiteX30" fmla="*/ 223477 w 333375"/>
                <a:gd name="connsiteY30" fmla="*/ 123912 h 819150"/>
                <a:gd name="connsiteX31" fmla="*/ 227163 w 333375"/>
                <a:gd name="connsiteY31" fmla="*/ 127608 h 819150"/>
                <a:gd name="connsiteX32" fmla="*/ 227163 w 333375"/>
                <a:gd name="connsiteY32" fmla="*/ 131294 h 819150"/>
                <a:gd name="connsiteX33" fmla="*/ 230859 w 333375"/>
                <a:gd name="connsiteY33" fmla="*/ 134980 h 819150"/>
                <a:gd name="connsiteX34" fmla="*/ 230859 w 333375"/>
                <a:gd name="connsiteY34" fmla="*/ 146058 h 819150"/>
                <a:gd name="connsiteX35" fmla="*/ 230859 w 333375"/>
                <a:gd name="connsiteY35" fmla="*/ 149744 h 819150"/>
                <a:gd name="connsiteX36" fmla="*/ 234545 w 333375"/>
                <a:gd name="connsiteY36" fmla="*/ 153439 h 819150"/>
                <a:gd name="connsiteX37" fmla="*/ 238231 w 333375"/>
                <a:gd name="connsiteY37" fmla="*/ 160821 h 819150"/>
                <a:gd name="connsiteX38" fmla="*/ 238231 w 333375"/>
                <a:gd name="connsiteY38" fmla="*/ 164508 h 819150"/>
                <a:gd name="connsiteX39" fmla="*/ 238231 w 333375"/>
                <a:gd name="connsiteY39" fmla="*/ 168203 h 819150"/>
                <a:gd name="connsiteX40" fmla="*/ 238231 w 333375"/>
                <a:gd name="connsiteY40" fmla="*/ 171890 h 819150"/>
                <a:gd name="connsiteX41" fmla="*/ 238231 w 333375"/>
                <a:gd name="connsiteY41" fmla="*/ 175585 h 819150"/>
                <a:gd name="connsiteX42" fmla="*/ 241917 w 333375"/>
                <a:gd name="connsiteY42" fmla="*/ 179271 h 819150"/>
                <a:gd name="connsiteX43" fmla="*/ 238231 w 333375"/>
                <a:gd name="connsiteY43" fmla="*/ 179271 h 819150"/>
                <a:gd name="connsiteX44" fmla="*/ 234545 w 333375"/>
                <a:gd name="connsiteY44" fmla="*/ 179271 h 819150"/>
                <a:gd name="connsiteX45" fmla="*/ 234545 w 333375"/>
                <a:gd name="connsiteY45" fmla="*/ 182957 h 819150"/>
                <a:gd name="connsiteX46" fmla="*/ 227163 w 333375"/>
                <a:gd name="connsiteY46" fmla="*/ 175585 h 819150"/>
                <a:gd name="connsiteX47" fmla="*/ 223477 w 333375"/>
                <a:gd name="connsiteY47" fmla="*/ 171890 h 819150"/>
                <a:gd name="connsiteX48" fmla="*/ 219791 w 333375"/>
                <a:gd name="connsiteY48" fmla="*/ 171890 h 819150"/>
                <a:gd name="connsiteX49" fmla="*/ 219791 w 333375"/>
                <a:gd name="connsiteY49" fmla="*/ 168203 h 819150"/>
                <a:gd name="connsiteX50" fmla="*/ 212409 w 333375"/>
                <a:gd name="connsiteY50" fmla="*/ 171890 h 819150"/>
                <a:gd name="connsiteX51" fmla="*/ 205027 w 333375"/>
                <a:gd name="connsiteY51" fmla="*/ 175585 h 819150"/>
                <a:gd name="connsiteX52" fmla="*/ 193959 w 333375"/>
                <a:gd name="connsiteY52" fmla="*/ 179271 h 819150"/>
                <a:gd name="connsiteX53" fmla="*/ 186587 w 333375"/>
                <a:gd name="connsiteY53" fmla="*/ 182957 h 819150"/>
                <a:gd name="connsiteX54" fmla="*/ 179205 w 333375"/>
                <a:gd name="connsiteY54" fmla="*/ 182957 h 819150"/>
                <a:gd name="connsiteX55" fmla="*/ 171823 w 333375"/>
                <a:gd name="connsiteY55" fmla="*/ 182957 h 819150"/>
                <a:gd name="connsiteX56" fmla="*/ 164450 w 333375"/>
                <a:gd name="connsiteY56" fmla="*/ 179271 h 819150"/>
                <a:gd name="connsiteX57" fmla="*/ 153382 w 333375"/>
                <a:gd name="connsiteY57" fmla="*/ 175585 h 819150"/>
                <a:gd name="connsiteX58" fmla="*/ 138628 w 333375"/>
                <a:gd name="connsiteY58" fmla="*/ 171890 h 819150"/>
                <a:gd name="connsiteX59" fmla="*/ 142314 w 333375"/>
                <a:gd name="connsiteY59" fmla="*/ 205103 h 819150"/>
                <a:gd name="connsiteX60" fmla="*/ 146000 w 333375"/>
                <a:gd name="connsiteY60" fmla="*/ 216181 h 819150"/>
                <a:gd name="connsiteX61" fmla="*/ 146000 w 333375"/>
                <a:gd name="connsiteY61" fmla="*/ 223563 h 819150"/>
                <a:gd name="connsiteX62" fmla="*/ 149696 w 333375"/>
                <a:gd name="connsiteY62" fmla="*/ 230935 h 819150"/>
                <a:gd name="connsiteX63" fmla="*/ 157069 w 333375"/>
                <a:gd name="connsiteY63" fmla="*/ 264158 h 819150"/>
                <a:gd name="connsiteX64" fmla="*/ 157069 w 333375"/>
                <a:gd name="connsiteY64" fmla="*/ 267844 h 819150"/>
                <a:gd name="connsiteX65" fmla="*/ 171823 w 333375"/>
                <a:gd name="connsiteY65" fmla="*/ 293676 h 819150"/>
                <a:gd name="connsiteX66" fmla="*/ 179205 w 333375"/>
                <a:gd name="connsiteY66" fmla="*/ 308440 h 819150"/>
                <a:gd name="connsiteX67" fmla="*/ 186587 w 333375"/>
                <a:gd name="connsiteY67" fmla="*/ 319517 h 819150"/>
                <a:gd name="connsiteX68" fmla="*/ 179205 w 333375"/>
                <a:gd name="connsiteY68" fmla="*/ 323204 h 819150"/>
                <a:gd name="connsiteX69" fmla="*/ 168137 w 333375"/>
                <a:gd name="connsiteY69" fmla="*/ 334272 h 819150"/>
                <a:gd name="connsiteX70" fmla="*/ 160755 w 333375"/>
                <a:gd name="connsiteY70" fmla="*/ 341654 h 819150"/>
                <a:gd name="connsiteX71" fmla="*/ 157069 w 333375"/>
                <a:gd name="connsiteY71" fmla="*/ 341654 h 819150"/>
                <a:gd name="connsiteX72" fmla="*/ 153382 w 333375"/>
                <a:gd name="connsiteY72" fmla="*/ 345349 h 819150"/>
                <a:gd name="connsiteX73" fmla="*/ 149696 w 333375"/>
                <a:gd name="connsiteY73" fmla="*/ 345349 h 819150"/>
                <a:gd name="connsiteX74" fmla="*/ 138628 w 333375"/>
                <a:gd name="connsiteY74" fmla="*/ 349035 h 819150"/>
                <a:gd name="connsiteX75" fmla="*/ 109110 w 333375"/>
                <a:gd name="connsiteY75" fmla="*/ 356417 h 819150"/>
                <a:gd name="connsiteX76" fmla="*/ 105424 w 333375"/>
                <a:gd name="connsiteY76" fmla="*/ 360113 h 819150"/>
                <a:gd name="connsiteX77" fmla="*/ 101728 w 333375"/>
                <a:gd name="connsiteY77" fmla="*/ 360113 h 819150"/>
                <a:gd name="connsiteX78" fmla="*/ 94356 w 333375"/>
                <a:gd name="connsiteY78" fmla="*/ 363799 h 819150"/>
                <a:gd name="connsiteX79" fmla="*/ 75906 w 333375"/>
                <a:gd name="connsiteY79" fmla="*/ 367495 h 819150"/>
                <a:gd name="connsiteX80" fmla="*/ 72220 w 333375"/>
                <a:gd name="connsiteY80" fmla="*/ 367495 h 819150"/>
                <a:gd name="connsiteX81" fmla="*/ 57466 w 333375"/>
                <a:gd name="connsiteY81" fmla="*/ 374867 h 819150"/>
                <a:gd name="connsiteX82" fmla="*/ 46398 w 333375"/>
                <a:gd name="connsiteY82" fmla="*/ 385945 h 819150"/>
                <a:gd name="connsiteX83" fmla="*/ 42702 w 333375"/>
                <a:gd name="connsiteY83" fmla="*/ 393327 h 819150"/>
                <a:gd name="connsiteX84" fmla="*/ 35330 w 333375"/>
                <a:gd name="connsiteY84" fmla="*/ 408090 h 819150"/>
                <a:gd name="connsiteX85" fmla="*/ 31634 w 333375"/>
                <a:gd name="connsiteY85" fmla="*/ 426540 h 819150"/>
                <a:gd name="connsiteX86" fmla="*/ 31634 w 333375"/>
                <a:gd name="connsiteY86" fmla="*/ 441304 h 819150"/>
                <a:gd name="connsiteX87" fmla="*/ 20566 w 333375"/>
                <a:gd name="connsiteY87" fmla="*/ 444990 h 819150"/>
                <a:gd name="connsiteX88" fmla="*/ 16880 w 333375"/>
                <a:gd name="connsiteY88" fmla="*/ 444990 h 819150"/>
                <a:gd name="connsiteX89" fmla="*/ 5812 w 333375"/>
                <a:gd name="connsiteY89" fmla="*/ 448686 h 819150"/>
                <a:gd name="connsiteX90" fmla="*/ 13193 w 333375"/>
                <a:gd name="connsiteY90" fmla="*/ 452372 h 819150"/>
                <a:gd name="connsiteX91" fmla="*/ 42702 w 333375"/>
                <a:gd name="connsiteY91" fmla="*/ 463450 h 819150"/>
                <a:gd name="connsiteX92" fmla="*/ 46398 w 333375"/>
                <a:gd name="connsiteY92" fmla="*/ 467136 h 819150"/>
                <a:gd name="connsiteX93" fmla="*/ 46398 w 333375"/>
                <a:gd name="connsiteY93" fmla="*/ 470822 h 819150"/>
                <a:gd name="connsiteX94" fmla="*/ 50084 w 333375"/>
                <a:gd name="connsiteY94" fmla="*/ 478204 h 819150"/>
                <a:gd name="connsiteX95" fmla="*/ 53770 w 333375"/>
                <a:gd name="connsiteY95" fmla="*/ 474518 h 819150"/>
                <a:gd name="connsiteX96" fmla="*/ 57466 w 333375"/>
                <a:gd name="connsiteY96" fmla="*/ 478204 h 819150"/>
                <a:gd name="connsiteX97" fmla="*/ 61152 w 333375"/>
                <a:gd name="connsiteY97" fmla="*/ 478204 h 819150"/>
                <a:gd name="connsiteX98" fmla="*/ 64838 w 333375"/>
                <a:gd name="connsiteY98" fmla="*/ 478204 h 819150"/>
                <a:gd name="connsiteX99" fmla="*/ 72220 w 333375"/>
                <a:gd name="connsiteY99" fmla="*/ 478204 h 819150"/>
                <a:gd name="connsiteX100" fmla="*/ 75906 w 333375"/>
                <a:gd name="connsiteY100" fmla="*/ 478204 h 819150"/>
                <a:gd name="connsiteX101" fmla="*/ 79602 w 333375"/>
                <a:gd name="connsiteY101" fmla="*/ 478204 h 819150"/>
                <a:gd name="connsiteX102" fmla="*/ 86974 w 333375"/>
                <a:gd name="connsiteY102" fmla="*/ 478204 h 819150"/>
                <a:gd name="connsiteX103" fmla="*/ 90660 w 333375"/>
                <a:gd name="connsiteY103" fmla="*/ 474518 h 819150"/>
                <a:gd name="connsiteX104" fmla="*/ 94356 w 333375"/>
                <a:gd name="connsiteY104" fmla="*/ 474518 h 819150"/>
                <a:gd name="connsiteX105" fmla="*/ 98042 w 333375"/>
                <a:gd name="connsiteY105" fmla="*/ 478204 h 819150"/>
                <a:gd name="connsiteX106" fmla="*/ 105424 w 333375"/>
                <a:gd name="connsiteY106" fmla="*/ 478204 h 819150"/>
                <a:gd name="connsiteX107" fmla="*/ 109110 w 333375"/>
                <a:gd name="connsiteY107" fmla="*/ 481900 h 819150"/>
                <a:gd name="connsiteX108" fmla="*/ 109110 w 333375"/>
                <a:gd name="connsiteY108" fmla="*/ 485586 h 819150"/>
                <a:gd name="connsiteX109" fmla="*/ 112796 w 333375"/>
                <a:gd name="connsiteY109" fmla="*/ 485586 h 819150"/>
                <a:gd name="connsiteX110" fmla="*/ 109110 w 333375"/>
                <a:gd name="connsiteY110" fmla="*/ 489281 h 819150"/>
                <a:gd name="connsiteX111" fmla="*/ 105424 w 333375"/>
                <a:gd name="connsiteY111" fmla="*/ 489281 h 819150"/>
                <a:gd name="connsiteX112" fmla="*/ 105424 w 333375"/>
                <a:gd name="connsiteY112" fmla="*/ 492968 h 819150"/>
                <a:gd name="connsiteX113" fmla="*/ 109110 w 333375"/>
                <a:gd name="connsiteY113" fmla="*/ 492968 h 819150"/>
                <a:gd name="connsiteX114" fmla="*/ 109110 w 333375"/>
                <a:gd name="connsiteY114" fmla="*/ 496663 h 819150"/>
                <a:gd name="connsiteX115" fmla="*/ 109110 w 333375"/>
                <a:gd name="connsiteY115" fmla="*/ 500350 h 819150"/>
                <a:gd name="connsiteX116" fmla="*/ 109110 w 333375"/>
                <a:gd name="connsiteY116" fmla="*/ 504045 h 819150"/>
                <a:gd name="connsiteX117" fmla="*/ 112796 w 333375"/>
                <a:gd name="connsiteY117" fmla="*/ 504045 h 819150"/>
                <a:gd name="connsiteX118" fmla="*/ 112796 w 333375"/>
                <a:gd name="connsiteY118" fmla="*/ 500350 h 819150"/>
                <a:gd name="connsiteX119" fmla="*/ 116492 w 333375"/>
                <a:gd name="connsiteY119" fmla="*/ 500350 h 819150"/>
                <a:gd name="connsiteX120" fmla="*/ 120178 w 333375"/>
                <a:gd name="connsiteY120" fmla="*/ 500350 h 819150"/>
                <a:gd name="connsiteX121" fmla="*/ 120178 w 333375"/>
                <a:gd name="connsiteY121" fmla="*/ 496663 h 819150"/>
                <a:gd name="connsiteX122" fmla="*/ 123864 w 333375"/>
                <a:gd name="connsiteY122" fmla="*/ 496663 h 819150"/>
                <a:gd name="connsiteX123" fmla="*/ 127560 w 333375"/>
                <a:gd name="connsiteY123" fmla="*/ 496663 h 819150"/>
                <a:gd name="connsiteX124" fmla="*/ 127560 w 333375"/>
                <a:gd name="connsiteY124" fmla="*/ 492968 h 819150"/>
                <a:gd name="connsiteX125" fmla="*/ 134933 w 333375"/>
                <a:gd name="connsiteY125" fmla="*/ 489281 h 819150"/>
                <a:gd name="connsiteX126" fmla="*/ 134933 w 333375"/>
                <a:gd name="connsiteY126" fmla="*/ 492968 h 819150"/>
                <a:gd name="connsiteX127" fmla="*/ 138628 w 333375"/>
                <a:gd name="connsiteY127" fmla="*/ 492968 h 819150"/>
                <a:gd name="connsiteX128" fmla="*/ 138628 w 333375"/>
                <a:gd name="connsiteY128" fmla="*/ 500350 h 819150"/>
                <a:gd name="connsiteX129" fmla="*/ 149696 w 333375"/>
                <a:gd name="connsiteY129" fmla="*/ 507731 h 819150"/>
                <a:gd name="connsiteX130" fmla="*/ 146000 w 333375"/>
                <a:gd name="connsiteY130" fmla="*/ 511427 h 819150"/>
                <a:gd name="connsiteX131" fmla="*/ 142314 w 333375"/>
                <a:gd name="connsiteY131" fmla="*/ 515113 h 819150"/>
                <a:gd name="connsiteX132" fmla="*/ 142314 w 333375"/>
                <a:gd name="connsiteY132" fmla="*/ 518799 h 819150"/>
                <a:gd name="connsiteX133" fmla="*/ 134933 w 333375"/>
                <a:gd name="connsiteY133" fmla="*/ 522495 h 819150"/>
                <a:gd name="connsiteX134" fmla="*/ 131246 w 333375"/>
                <a:gd name="connsiteY134" fmla="*/ 522495 h 819150"/>
                <a:gd name="connsiteX135" fmla="*/ 131246 w 333375"/>
                <a:gd name="connsiteY135" fmla="*/ 526181 h 819150"/>
                <a:gd name="connsiteX136" fmla="*/ 127560 w 333375"/>
                <a:gd name="connsiteY136" fmla="*/ 529877 h 819150"/>
                <a:gd name="connsiteX137" fmla="*/ 123864 w 333375"/>
                <a:gd name="connsiteY137" fmla="*/ 533563 h 819150"/>
                <a:gd name="connsiteX138" fmla="*/ 127560 w 333375"/>
                <a:gd name="connsiteY138" fmla="*/ 537259 h 819150"/>
                <a:gd name="connsiteX139" fmla="*/ 134933 w 333375"/>
                <a:gd name="connsiteY139" fmla="*/ 537259 h 819150"/>
                <a:gd name="connsiteX140" fmla="*/ 138628 w 333375"/>
                <a:gd name="connsiteY140" fmla="*/ 540945 h 819150"/>
                <a:gd name="connsiteX141" fmla="*/ 138628 w 333375"/>
                <a:gd name="connsiteY141" fmla="*/ 544641 h 819150"/>
                <a:gd name="connsiteX142" fmla="*/ 134933 w 333375"/>
                <a:gd name="connsiteY142" fmla="*/ 548327 h 819150"/>
                <a:gd name="connsiteX143" fmla="*/ 134933 w 333375"/>
                <a:gd name="connsiteY143" fmla="*/ 552023 h 819150"/>
                <a:gd name="connsiteX144" fmla="*/ 131246 w 333375"/>
                <a:gd name="connsiteY144" fmla="*/ 552023 h 819150"/>
                <a:gd name="connsiteX145" fmla="*/ 127560 w 333375"/>
                <a:gd name="connsiteY145" fmla="*/ 548327 h 819150"/>
                <a:gd name="connsiteX146" fmla="*/ 123864 w 333375"/>
                <a:gd name="connsiteY146" fmla="*/ 548327 h 819150"/>
                <a:gd name="connsiteX147" fmla="*/ 120178 w 333375"/>
                <a:gd name="connsiteY147" fmla="*/ 548327 h 819150"/>
                <a:gd name="connsiteX148" fmla="*/ 120178 w 333375"/>
                <a:gd name="connsiteY148" fmla="*/ 552023 h 819150"/>
                <a:gd name="connsiteX149" fmla="*/ 120178 w 333375"/>
                <a:gd name="connsiteY149" fmla="*/ 555709 h 819150"/>
                <a:gd name="connsiteX150" fmla="*/ 123864 w 333375"/>
                <a:gd name="connsiteY150" fmla="*/ 559395 h 819150"/>
                <a:gd name="connsiteX151" fmla="*/ 123864 w 333375"/>
                <a:gd name="connsiteY151" fmla="*/ 563091 h 819150"/>
                <a:gd name="connsiteX152" fmla="*/ 120178 w 333375"/>
                <a:gd name="connsiteY152" fmla="*/ 563091 h 819150"/>
                <a:gd name="connsiteX153" fmla="*/ 120178 w 333375"/>
                <a:gd name="connsiteY153" fmla="*/ 566777 h 819150"/>
                <a:gd name="connsiteX154" fmla="*/ 123864 w 333375"/>
                <a:gd name="connsiteY154" fmla="*/ 574159 h 819150"/>
                <a:gd name="connsiteX155" fmla="*/ 120178 w 333375"/>
                <a:gd name="connsiteY155" fmla="*/ 574159 h 819150"/>
                <a:gd name="connsiteX156" fmla="*/ 120178 w 333375"/>
                <a:gd name="connsiteY156" fmla="*/ 577854 h 819150"/>
                <a:gd name="connsiteX157" fmla="*/ 116492 w 333375"/>
                <a:gd name="connsiteY157" fmla="*/ 577854 h 819150"/>
                <a:gd name="connsiteX158" fmla="*/ 109110 w 333375"/>
                <a:gd name="connsiteY158" fmla="*/ 574159 h 819150"/>
                <a:gd name="connsiteX159" fmla="*/ 105424 w 333375"/>
                <a:gd name="connsiteY159" fmla="*/ 585236 h 819150"/>
                <a:gd name="connsiteX160" fmla="*/ 105424 w 333375"/>
                <a:gd name="connsiteY160" fmla="*/ 592618 h 819150"/>
                <a:gd name="connsiteX161" fmla="*/ 101728 w 333375"/>
                <a:gd name="connsiteY161" fmla="*/ 596304 h 819150"/>
                <a:gd name="connsiteX162" fmla="*/ 101728 w 333375"/>
                <a:gd name="connsiteY162" fmla="*/ 600000 h 819150"/>
                <a:gd name="connsiteX163" fmla="*/ 105424 w 333375"/>
                <a:gd name="connsiteY163" fmla="*/ 600000 h 819150"/>
                <a:gd name="connsiteX164" fmla="*/ 109110 w 333375"/>
                <a:gd name="connsiteY164" fmla="*/ 603686 h 819150"/>
                <a:gd name="connsiteX165" fmla="*/ 109110 w 333375"/>
                <a:gd name="connsiteY165" fmla="*/ 607373 h 819150"/>
                <a:gd name="connsiteX166" fmla="*/ 105424 w 333375"/>
                <a:gd name="connsiteY166" fmla="*/ 614754 h 819150"/>
                <a:gd name="connsiteX167" fmla="*/ 105424 w 333375"/>
                <a:gd name="connsiteY167" fmla="*/ 618450 h 819150"/>
                <a:gd name="connsiteX168" fmla="*/ 105424 w 333375"/>
                <a:gd name="connsiteY168" fmla="*/ 622136 h 819150"/>
                <a:gd name="connsiteX169" fmla="*/ 105424 w 333375"/>
                <a:gd name="connsiteY169" fmla="*/ 625832 h 819150"/>
                <a:gd name="connsiteX170" fmla="*/ 101728 w 333375"/>
                <a:gd name="connsiteY170" fmla="*/ 629518 h 819150"/>
                <a:gd name="connsiteX171" fmla="*/ 98042 w 333375"/>
                <a:gd name="connsiteY171" fmla="*/ 633214 h 819150"/>
                <a:gd name="connsiteX172" fmla="*/ 94356 w 333375"/>
                <a:gd name="connsiteY172" fmla="*/ 640596 h 819150"/>
                <a:gd name="connsiteX173" fmla="*/ 90660 w 333375"/>
                <a:gd name="connsiteY173" fmla="*/ 640596 h 819150"/>
                <a:gd name="connsiteX174" fmla="*/ 86974 w 333375"/>
                <a:gd name="connsiteY174" fmla="*/ 647977 h 819150"/>
                <a:gd name="connsiteX175" fmla="*/ 83288 w 333375"/>
                <a:gd name="connsiteY175" fmla="*/ 655350 h 819150"/>
                <a:gd name="connsiteX176" fmla="*/ 83288 w 333375"/>
                <a:gd name="connsiteY176" fmla="*/ 659046 h 819150"/>
                <a:gd name="connsiteX177" fmla="*/ 86974 w 333375"/>
                <a:gd name="connsiteY177" fmla="*/ 659046 h 819150"/>
                <a:gd name="connsiteX178" fmla="*/ 90660 w 333375"/>
                <a:gd name="connsiteY178" fmla="*/ 659046 h 819150"/>
                <a:gd name="connsiteX179" fmla="*/ 94356 w 333375"/>
                <a:gd name="connsiteY179" fmla="*/ 655350 h 819150"/>
                <a:gd name="connsiteX180" fmla="*/ 98042 w 333375"/>
                <a:gd name="connsiteY180" fmla="*/ 655350 h 819150"/>
                <a:gd name="connsiteX181" fmla="*/ 101728 w 333375"/>
                <a:gd name="connsiteY181" fmla="*/ 659046 h 819150"/>
                <a:gd name="connsiteX182" fmla="*/ 101728 w 333375"/>
                <a:gd name="connsiteY182" fmla="*/ 662732 h 819150"/>
                <a:gd name="connsiteX183" fmla="*/ 94356 w 333375"/>
                <a:gd name="connsiteY183" fmla="*/ 666428 h 819150"/>
                <a:gd name="connsiteX184" fmla="*/ 94356 w 333375"/>
                <a:gd name="connsiteY184" fmla="*/ 670114 h 819150"/>
                <a:gd name="connsiteX185" fmla="*/ 94356 w 333375"/>
                <a:gd name="connsiteY185" fmla="*/ 673809 h 819150"/>
                <a:gd name="connsiteX186" fmla="*/ 86974 w 333375"/>
                <a:gd name="connsiteY186" fmla="*/ 681191 h 819150"/>
                <a:gd name="connsiteX187" fmla="*/ 86974 w 333375"/>
                <a:gd name="connsiteY187" fmla="*/ 684877 h 819150"/>
                <a:gd name="connsiteX188" fmla="*/ 83288 w 333375"/>
                <a:gd name="connsiteY188" fmla="*/ 688573 h 819150"/>
                <a:gd name="connsiteX189" fmla="*/ 86974 w 333375"/>
                <a:gd name="connsiteY189" fmla="*/ 692259 h 819150"/>
                <a:gd name="connsiteX190" fmla="*/ 83288 w 333375"/>
                <a:gd name="connsiteY190" fmla="*/ 695955 h 819150"/>
                <a:gd name="connsiteX191" fmla="*/ 79602 w 333375"/>
                <a:gd name="connsiteY191" fmla="*/ 695955 h 819150"/>
                <a:gd name="connsiteX192" fmla="*/ 75906 w 333375"/>
                <a:gd name="connsiteY192" fmla="*/ 695955 h 819150"/>
                <a:gd name="connsiteX193" fmla="*/ 72220 w 333375"/>
                <a:gd name="connsiteY193" fmla="*/ 695955 h 819150"/>
                <a:gd name="connsiteX194" fmla="*/ 68534 w 333375"/>
                <a:gd name="connsiteY194" fmla="*/ 699641 h 819150"/>
                <a:gd name="connsiteX195" fmla="*/ 68534 w 333375"/>
                <a:gd name="connsiteY195" fmla="*/ 703327 h 819150"/>
                <a:gd name="connsiteX196" fmla="*/ 68534 w 333375"/>
                <a:gd name="connsiteY196" fmla="*/ 707023 h 819150"/>
                <a:gd name="connsiteX197" fmla="*/ 61152 w 333375"/>
                <a:gd name="connsiteY197" fmla="*/ 714405 h 819150"/>
                <a:gd name="connsiteX198" fmla="*/ 61152 w 333375"/>
                <a:gd name="connsiteY198" fmla="*/ 718091 h 819150"/>
                <a:gd name="connsiteX199" fmla="*/ 57466 w 333375"/>
                <a:gd name="connsiteY199" fmla="*/ 718091 h 819150"/>
                <a:gd name="connsiteX200" fmla="*/ 53770 w 333375"/>
                <a:gd name="connsiteY200" fmla="*/ 721787 h 819150"/>
                <a:gd name="connsiteX201" fmla="*/ 50084 w 333375"/>
                <a:gd name="connsiteY201" fmla="*/ 721787 h 819150"/>
                <a:gd name="connsiteX202" fmla="*/ 50084 w 333375"/>
                <a:gd name="connsiteY202" fmla="*/ 725473 h 819150"/>
                <a:gd name="connsiteX203" fmla="*/ 46398 w 333375"/>
                <a:gd name="connsiteY203" fmla="*/ 725473 h 819150"/>
                <a:gd name="connsiteX204" fmla="*/ 42702 w 333375"/>
                <a:gd name="connsiteY204" fmla="*/ 725473 h 819150"/>
                <a:gd name="connsiteX205" fmla="*/ 46398 w 333375"/>
                <a:gd name="connsiteY205" fmla="*/ 729169 h 819150"/>
                <a:gd name="connsiteX206" fmla="*/ 42702 w 333375"/>
                <a:gd name="connsiteY206" fmla="*/ 732855 h 819150"/>
                <a:gd name="connsiteX207" fmla="*/ 42702 w 333375"/>
                <a:gd name="connsiteY207" fmla="*/ 736551 h 819150"/>
                <a:gd name="connsiteX208" fmla="*/ 42702 w 333375"/>
                <a:gd name="connsiteY208" fmla="*/ 740237 h 819150"/>
                <a:gd name="connsiteX209" fmla="*/ 42702 w 333375"/>
                <a:gd name="connsiteY209" fmla="*/ 743932 h 819150"/>
                <a:gd name="connsiteX210" fmla="*/ 42702 w 333375"/>
                <a:gd name="connsiteY210" fmla="*/ 747619 h 819150"/>
                <a:gd name="connsiteX211" fmla="*/ 42702 w 333375"/>
                <a:gd name="connsiteY211" fmla="*/ 751305 h 819150"/>
                <a:gd name="connsiteX212" fmla="*/ 42702 w 333375"/>
                <a:gd name="connsiteY212" fmla="*/ 755000 h 819150"/>
                <a:gd name="connsiteX213" fmla="*/ 46398 w 333375"/>
                <a:gd name="connsiteY213" fmla="*/ 755000 h 819150"/>
                <a:gd name="connsiteX214" fmla="*/ 46398 w 333375"/>
                <a:gd name="connsiteY214" fmla="*/ 758687 h 819150"/>
                <a:gd name="connsiteX215" fmla="*/ 46398 w 333375"/>
                <a:gd name="connsiteY215" fmla="*/ 762382 h 819150"/>
                <a:gd name="connsiteX216" fmla="*/ 50084 w 333375"/>
                <a:gd name="connsiteY216" fmla="*/ 762382 h 819150"/>
                <a:gd name="connsiteX217" fmla="*/ 50084 w 333375"/>
                <a:gd name="connsiteY217" fmla="*/ 766069 h 819150"/>
                <a:gd name="connsiteX218" fmla="*/ 53770 w 333375"/>
                <a:gd name="connsiteY218" fmla="*/ 769764 h 819150"/>
                <a:gd name="connsiteX219" fmla="*/ 57466 w 333375"/>
                <a:gd name="connsiteY219" fmla="*/ 769764 h 819150"/>
                <a:gd name="connsiteX220" fmla="*/ 61152 w 333375"/>
                <a:gd name="connsiteY220" fmla="*/ 769764 h 819150"/>
                <a:gd name="connsiteX221" fmla="*/ 61152 w 333375"/>
                <a:gd name="connsiteY221" fmla="*/ 773450 h 819150"/>
                <a:gd name="connsiteX222" fmla="*/ 68534 w 333375"/>
                <a:gd name="connsiteY222" fmla="*/ 773450 h 819150"/>
                <a:gd name="connsiteX223" fmla="*/ 72220 w 333375"/>
                <a:gd name="connsiteY223" fmla="*/ 777146 h 819150"/>
                <a:gd name="connsiteX224" fmla="*/ 72220 w 333375"/>
                <a:gd name="connsiteY224" fmla="*/ 780832 h 819150"/>
                <a:gd name="connsiteX225" fmla="*/ 68534 w 333375"/>
                <a:gd name="connsiteY225" fmla="*/ 784528 h 819150"/>
                <a:gd name="connsiteX226" fmla="*/ 72220 w 333375"/>
                <a:gd name="connsiteY226" fmla="*/ 795596 h 819150"/>
                <a:gd name="connsiteX227" fmla="*/ 72220 w 333375"/>
                <a:gd name="connsiteY227" fmla="*/ 802978 h 819150"/>
                <a:gd name="connsiteX228" fmla="*/ 64838 w 333375"/>
                <a:gd name="connsiteY228" fmla="*/ 814046 h 819150"/>
                <a:gd name="connsiteX229" fmla="*/ 64838 w 333375"/>
                <a:gd name="connsiteY229" fmla="*/ 817742 h 819150"/>
                <a:gd name="connsiteX230" fmla="*/ 68534 w 333375"/>
                <a:gd name="connsiteY230" fmla="*/ 817742 h 819150"/>
                <a:gd name="connsiteX231" fmla="*/ 72220 w 333375"/>
                <a:gd name="connsiteY231" fmla="*/ 817742 h 819150"/>
                <a:gd name="connsiteX232" fmla="*/ 75906 w 333375"/>
                <a:gd name="connsiteY232" fmla="*/ 814046 h 819150"/>
                <a:gd name="connsiteX233" fmla="*/ 79602 w 333375"/>
                <a:gd name="connsiteY233" fmla="*/ 814046 h 819150"/>
                <a:gd name="connsiteX234" fmla="*/ 83288 w 333375"/>
                <a:gd name="connsiteY234" fmla="*/ 810360 h 819150"/>
                <a:gd name="connsiteX235" fmla="*/ 83288 w 333375"/>
                <a:gd name="connsiteY235" fmla="*/ 814046 h 819150"/>
                <a:gd name="connsiteX236" fmla="*/ 86974 w 333375"/>
                <a:gd name="connsiteY236" fmla="*/ 817742 h 819150"/>
                <a:gd name="connsiteX237" fmla="*/ 90660 w 333375"/>
                <a:gd name="connsiteY237" fmla="*/ 817742 h 819150"/>
                <a:gd name="connsiteX238" fmla="*/ 94356 w 333375"/>
                <a:gd name="connsiteY238" fmla="*/ 814046 h 819150"/>
                <a:gd name="connsiteX239" fmla="*/ 94356 w 333375"/>
                <a:gd name="connsiteY239" fmla="*/ 810360 h 819150"/>
                <a:gd name="connsiteX240" fmla="*/ 98042 w 333375"/>
                <a:gd name="connsiteY240" fmla="*/ 806664 h 819150"/>
                <a:gd name="connsiteX241" fmla="*/ 105424 w 333375"/>
                <a:gd name="connsiteY241" fmla="*/ 795596 h 819150"/>
                <a:gd name="connsiteX242" fmla="*/ 112796 w 333375"/>
                <a:gd name="connsiteY242" fmla="*/ 795596 h 819150"/>
                <a:gd name="connsiteX243" fmla="*/ 112796 w 333375"/>
                <a:gd name="connsiteY243" fmla="*/ 802978 h 819150"/>
                <a:gd name="connsiteX244" fmla="*/ 116492 w 333375"/>
                <a:gd name="connsiteY244" fmla="*/ 810360 h 819150"/>
                <a:gd name="connsiteX245" fmla="*/ 120178 w 333375"/>
                <a:gd name="connsiteY245" fmla="*/ 806664 h 819150"/>
                <a:gd name="connsiteX246" fmla="*/ 127560 w 333375"/>
                <a:gd name="connsiteY246" fmla="*/ 817742 h 819150"/>
                <a:gd name="connsiteX247" fmla="*/ 131246 w 333375"/>
                <a:gd name="connsiteY247" fmla="*/ 817742 h 819150"/>
                <a:gd name="connsiteX248" fmla="*/ 134933 w 333375"/>
                <a:gd name="connsiteY248" fmla="*/ 814046 h 819150"/>
                <a:gd name="connsiteX249" fmla="*/ 138628 w 333375"/>
                <a:gd name="connsiteY249" fmla="*/ 817742 h 819150"/>
                <a:gd name="connsiteX250" fmla="*/ 142314 w 333375"/>
                <a:gd name="connsiteY250" fmla="*/ 814046 h 819150"/>
                <a:gd name="connsiteX251" fmla="*/ 146000 w 333375"/>
                <a:gd name="connsiteY251" fmla="*/ 810360 h 819150"/>
                <a:gd name="connsiteX252" fmla="*/ 146000 w 333375"/>
                <a:gd name="connsiteY252" fmla="*/ 814046 h 819150"/>
                <a:gd name="connsiteX253" fmla="*/ 146000 w 333375"/>
                <a:gd name="connsiteY253" fmla="*/ 821428 h 819150"/>
                <a:gd name="connsiteX254" fmla="*/ 149696 w 333375"/>
                <a:gd name="connsiteY254" fmla="*/ 817742 h 819150"/>
                <a:gd name="connsiteX255" fmla="*/ 153382 w 333375"/>
                <a:gd name="connsiteY255" fmla="*/ 814046 h 819150"/>
                <a:gd name="connsiteX256" fmla="*/ 153382 w 333375"/>
                <a:gd name="connsiteY256" fmla="*/ 810360 h 819150"/>
                <a:gd name="connsiteX257" fmla="*/ 157069 w 333375"/>
                <a:gd name="connsiteY257" fmla="*/ 810360 h 819150"/>
                <a:gd name="connsiteX258" fmla="*/ 160755 w 333375"/>
                <a:gd name="connsiteY258" fmla="*/ 810360 h 819150"/>
                <a:gd name="connsiteX259" fmla="*/ 168137 w 333375"/>
                <a:gd name="connsiteY259" fmla="*/ 806664 h 819150"/>
                <a:gd name="connsiteX260" fmla="*/ 168137 w 333375"/>
                <a:gd name="connsiteY260" fmla="*/ 810360 h 819150"/>
                <a:gd name="connsiteX261" fmla="*/ 168137 w 333375"/>
                <a:gd name="connsiteY261" fmla="*/ 817742 h 819150"/>
                <a:gd name="connsiteX262" fmla="*/ 175518 w 333375"/>
                <a:gd name="connsiteY262" fmla="*/ 821428 h 819150"/>
                <a:gd name="connsiteX263" fmla="*/ 175518 w 333375"/>
                <a:gd name="connsiteY263" fmla="*/ 817742 h 819150"/>
                <a:gd name="connsiteX264" fmla="*/ 179205 w 333375"/>
                <a:gd name="connsiteY264" fmla="*/ 817742 h 819150"/>
                <a:gd name="connsiteX265" fmla="*/ 182891 w 333375"/>
                <a:gd name="connsiteY265" fmla="*/ 817742 h 819150"/>
                <a:gd name="connsiteX266" fmla="*/ 182891 w 333375"/>
                <a:gd name="connsiteY266" fmla="*/ 821428 h 819150"/>
                <a:gd name="connsiteX267" fmla="*/ 190273 w 333375"/>
                <a:gd name="connsiteY267" fmla="*/ 817742 h 819150"/>
                <a:gd name="connsiteX268" fmla="*/ 193959 w 333375"/>
                <a:gd name="connsiteY268" fmla="*/ 814046 h 819150"/>
                <a:gd name="connsiteX269" fmla="*/ 197655 w 333375"/>
                <a:gd name="connsiteY269" fmla="*/ 814046 h 819150"/>
                <a:gd name="connsiteX270" fmla="*/ 201341 w 333375"/>
                <a:gd name="connsiteY270" fmla="*/ 814046 h 819150"/>
                <a:gd name="connsiteX271" fmla="*/ 205027 w 333375"/>
                <a:gd name="connsiteY271" fmla="*/ 814046 h 819150"/>
                <a:gd name="connsiteX272" fmla="*/ 208723 w 333375"/>
                <a:gd name="connsiteY272" fmla="*/ 814046 h 819150"/>
                <a:gd name="connsiteX273" fmla="*/ 212409 w 333375"/>
                <a:gd name="connsiteY273" fmla="*/ 817742 h 819150"/>
                <a:gd name="connsiteX274" fmla="*/ 219791 w 333375"/>
                <a:gd name="connsiteY274" fmla="*/ 821428 h 819150"/>
                <a:gd name="connsiteX275" fmla="*/ 223477 w 333375"/>
                <a:gd name="connsiteY275" fmla="*/ 821428 h 819150"/>
                <a:gd name="connsiteX276" fmla="*/ 223477 w 333375"/>
                <a:gd name="connsiteY276" fmla="*/ 817742 h 819150"/>
                <a:gd name="connsiteX277" fmla="*/ 230859 w 333375"/>
                <a:gd name="connsiteY277" fmla="*/ 817742 h 819150"/>
                <a:gd name="connsiteX278" fmla="*/ 234545 w 333375"/>
                <a:gd name="connsiteY278" fmla="*/ 817742 h 819150"/>
                <a:gd name="connsiteX279" fmla="*/ 234545 w 333375"/>
                <a:gd name="connsiteY279" fmla="*/ 810360 h 819150"/>
                <a:gd name="connsiteX280" fmla="*/ 238231 w 333375"/>
                <a:gd name="connsiteY280" fmla="*/ 802978 h 819150"/>
                <a:gd name="connsiteX281" fmla="*/ 227163 w 333375"/>
                <a:gd name="connsiteY281" fmla="*/ 795596 h 819150"/>
                <a:gd name="connsiteX282" fmla="*/ 223477 w 333375"/>
                <a:gd name="connsiteY282" fmla="*/ 795596 h 819150"/>
                <a:gd name="connsiteX283" fmla="*/ 219791 w 333375"/>
                <a:gd name="connsiteY283" fmla="*/ 791910 h 819150"/>
                <a:gd name="connsiteX284" fmla="*/ 219791 w 333375"/>
                <a:gd name="connsiteY284" fmla="*/ 788214 h 819150"/>
                <a:gd name="connsiteX285" fmla="*/ 216095 w 333375"/>
                <a:gd name="connsiteY285" fmla="*/ 788214 h 819150"/>
                <a:gd name="connsiteX286" fmla="*/ 212409 w 333375"/>
                <a:gd name="connsiteY286" fmla="*/ 784528 h 819150"/>
                <a:gd name="connsiteX287" fmla="*/ 212409 w 333375"/>
                <a:gd name="connsiteY287" fmla="*/ 780832 h 819150"/>
                <a:gd name="connsiteX288" fmla="*/ 212409 w 333375"/>
                <a:gd name="connsiteY288" fmla="*/ 777146 h 819150"/>
                <a:gd name="connsiteX289" fmla="*/ 216095 w 333375"/>
                <a:gd name="connsiteY289" fmla="*/ 773450 h 819150"/>
                <a:gd name="connsiteX290" fmla="*/ 219791 w 333375"/>
                <a:gd name="connsiteY290" fmla="*/ 777146 h 819150"/>
                <a:gd name="connsiteX291" fmla="*/ 227163 w 333375"/>
                <a:gd name="connsiteY291" fmla="*/ 780832 h 819150"/>
                <a:gd name="connsiteX292" fmla="*/ 230859 w 333375"/>
                <a:gd name="connsiteY292" fmla="*/ 773450 h 819150"/>
                <a:gd name="connsiteX293" fmla="*/ 234545 w 333375"/>
                <a:gd name="connsiteY293" fmla="*/ 769764 h 819150"/>
                <a:gd name="connsiteX294" fmla="*/ 234545 w 333375"/>
                <a:gd name="connsiteY294" fmla="*/ 766069 h 819150"/>
                <a:gd name="connsiteX295" fmla="*/ 238231 w 333375"/>
                <a:gd name="connsiteY295" fmla="*/ 766069 h 819150"/>
                <a:gd name="connsiteX296" fmla="*/ 234545 w 333375"/>
                <a:gd name="connsiteY296" fmla="*/ 762382 h 819150"/>
                <a:gd name="connsiteX297" fmla="*/ 234545 w 333375"/>
                <a:gd name="connsiteY297" fmla="*/ 758687 h 819150"/>
                <a:gd name="connsiteX298" fmla="*/ 230859 w 333375"/>
                <a:gd name="connsiteY298" fmla="*/ 755000 h 819150"/>
                <a:gd name="connsiteX299" fmla="*/ 230859 w 333375"/>
                <a:gd name="connsiteY299" fmla="*/ 751305 h 819150"/>
                <a:gd name="connsiteX300" fmla="*/ 230859 w 333375"/>
                <a:gd name="connsiteY300" fmla="*/ 747619 h 819150"/>
                <a:gd name="connsiteX301" fmla="*/ 234545 w 333375"/>
                <a:gd name="connsiteY301" fmla="*/ 743932 h 819150"/>
                <a:gd name="connsiteX302" fmla="*/ 241917 w 333375"/>
                <a:gd name="connsiteY302" fmla="*/ 743932 h 819150"/>
                <a:gd name="connsiteX303" fmla="*/ 245613 w 333375"/>
                <a:gd name="connsiteY303" fmla="*/ 740237 h 819150"/>
                <a:gd name="connsiteX304" fmla="*/ 249299 w 333375"/>
                <a:gd name="connsiteY304" fmla="*/ 740237 h 819150"/>
                <a:gd name="connsiteX305" fmla="*/ 249299 w 333375"/>
                <a:gd name="connsiteY305" fmla="*/ 736551 h 819150"/>
                <a:gd name="connsiteX306" fmla="*/ 252985 w 333375"/>
                <a:gd name="connsiteY306" fmla="*/ 736551 h 819150"/>
                <a:gd name="connsiteX307" fmla="*/ 252985 w 333375"/>
                <a:gd name="connsiteY307" fmla="*/ 740237 h 819150"/>
                <a:gd name="connsiteX308" fmla="*/ 260367 w 333375"/>
                <a:gd name="connsiteY308" fmla="*/ 743932 h 819150"/>
                <a:gd name="connsiteX309" fmla="*/ 260367 w 333375"/>
                <a:gd name="connsiteY309" fmla="*/ 736551 h 819150"/>
                <a:gd name="connsiteX310" fmla="*/ 260367 w 333375"/>
                <a:gd name="connsiteY310" fmla="*/ 732855 h 819150"/>
                <a:gd name="connsiteX311" fmla="*/ 264053 w 333375"/>
                <a:gd name="connsiteY311" fmla="*/ 732855 h 819150"/>
                <a:gd name="connsiteX312" fmla="*/ 264053 w 333375"/>
                <a:gd name="connsiteY312" fmla="*/ 729169 h 819150"/>
                <a:gd name="connsiteX313" fmla="*/ 267749 w 333375"/>
                <a:gd name="connsiteY313" fmla="*/ 725473 h 819150"/>
                <a:gd name="connsiteX314" fmla="*/ 267749 w 333375"/>
                <a:gd name="connsiteY314" fmla="*/ 718091 h 819150"/>
                <a:gd name="connsiteX315" fmla="*/ 264053 w 333375"/>
                <a:gd name="connsiteY315" fmla="*/ 714405 h 819150"/>
                <a:gd name="connsiteX316" fmla="*/ 264053 w 333375"/>
                <a:gd name="connsiteY316" fmla="*/ 718091 h 819150"/>
                <a:gd name="connsiteX317" fmla="*/ 260367 w 333375"/>
                <a:gd name="connsiteY317" fmla="*/ 710709 h 819150"/>
                <a:gd name="connsiteX318" fmla="*/ 260367 w 333375"/>
                <a:gd name="connsiteY318" fmla="*/ 707023 h 819150"/>
                <a:gd name="connsiteX319" fmla="*/ 260367 w 333375"/>
                <a:gd name="connsiteY319" fmla="*/ 703327 h 819150"/>
                <a:gd name="connsiteX320" fmla="*/ 264053 w 333375"/>
                <a:gd name="connsiteY320" fmla="*/ 699641 h 819150"/>
                <a:gd name="connsiteX321" fmla="*/ 264053 w 333375"/>
                <a:gd name="connsiteY321" fmla="*/ 695955 h 819150"/>
                <a:gd name="connsiteX322" fmla="*/ 267749 w 333375"/>
                <a:gd name="connsiteY322" fmla="*/ 692259 h 819150"/>
                <a:gd name="connsiteX323" fmla="*/ 267749 w 333375"/>
                <a:gd name="connsiteY323" fmla="*/ 688573 h 819150"/>
                <a:gd name="connsiteX324" fmla="*/ 264053 w 333375"/>
                <a:gd name="connsiteY324" fmla="*/ 684877 h 819150"/>
                <a:gd name="connsiteX325" fmla="*/ 260367 w 333375"/>
                <a:gd name="connsiteY325" fmla="*/ 684877 h 819150"/>
                <a:gd name="connsiteX326" fmla="*/ 256681 w 333375"/>
                <a:gd name="connsiteY326" fmla="*/ 684877 h 819150"/>
                <a:gd name="connsiteX327" fmla="*/ 249299 w 333375"/>
                <a:gd name="connsiteY327" fmla="*/ 684877 h 819150"/>
                <a:gd name="connsiteX328" fmla="*/ 249299 w 333375"/>
                <a:gd name="connsiteY328" fmla="*/ 681191 h 819150"/>
                <a:gd name="connsiteX329" fmla="*/ 249299 w 333375"/>
                <a:gd name="connsiteY329" fmla="*/ 677496 h 819150"/>
                <a:gd name="connsiteX330" fmla="*/ 245613 w 333375"/>
                <a:gd name="connsiteY330" fmla="*/ 681191 h 819150"/>
                <a:gd name="connsiteX331" fmla="*/ 241917 w 333375"/>
                <a:gd name="connsiteY331" fmla="*/ 677496 h 819150"/>
                <a:gd name="connsiteX332" fmla="*/ 230859 w 333375"/>
                <a:gd name="connsiteY332" fmla="*/ 673809 h 819150"/>
                <a:gd name="connsiteX333" fmla="*/ 230859 w 333375"/>
                <a:gd name="connsiteY333" fmla="*/ 666428 h 819150"/>
                <a:gd name="connsiteX334" fmla="*/ 230859 w 333375"/>
                <a:gd name="connsiteY334" fmla="*/ 662732 h 819150"/>
                <a:gd name="connsiteX335" fmla="*/ 223477 w 333375"/>
                <a:gd name="connsiteY335" fmla="*/ 659046 h 819150"/>
                <a:gd name="connsiteX336" fmla="*/ 227163 w 333375"/>
                <a:gd name="connsiteY336" fmla="*/ 655350 h 819150"/>
                <a:gd name="connsiteX337" fmla="*/ 230859 w 333375"/>
                <a:gd name="connsiteY337" fmla="*/ 655350 h 819150"/>
                <a:gd name="connsiteX338" fmla="*/ 230859 w 333375"/>
                <a:gd name="connsiteY338" fmla="*/ 651664 h 819150"/>
                <a:gd name="connsiteX339" fmla="*/ 234545 w 333375"/>
                <a:gd name="connsiteY339" fmla="*/ 636900 h 819150"/>
                <a:gd name="connsiteX340" fmla="*/ 230859 w 333375"/>
                <a:gd name="connsiteY340" fmla="*/ 636900 h 819150"/>
                <a:gd name="connsiteX341" fmla="*/ 216095 w 333375"/>
                <a:gd name="connsiteY341" fmla="*/ 636900 h 819150"/>
                <a:gd name="connsiteX342" fmla="*/ 212409 w 333375"/>
                <a:gd name="connsiteY342" fmla="*/ 636900 h 819150"/>
                <a:gd name="connsiteX343" fmla="*/ 208723 w 333375"/>
                <a:gd name="connsiteY343" fmla="*/ 640596 h 819150"/>
                <a:gd name="connsiteX344" fmla="*/ 205027 w 333375"/>
                <a:gd name="connsiteY344" fmla="*/ 640596 h 819150"/>
                <a:gd name="connsiteX345" fmla="*/ 201341 w 333375"/>
                <a:gd name="connsiteY345" fmla="*/ 636900 h 819150"/>
                <a:gd name="connsiteX346" fmla="*/ 201341 w 333375"/>
                <a:gd name="connsiteY346" fmla="*/ 633214 h 819150"/>
                <a:gd name="connsiteX347" fmla="*/ 197655 w 333375"/>
                <a:gd name="connsiteY347" fmla="*/ 633214 h 819150"/>
                <a:gd name="connsiteX348" fmla="*/ 190273 w 333375"/>
                <a:gd name="connsiteY348" fmla="*/ 636900 h 819150"/>
                <a:gd name="connsiteX349" fmla="*/ 186587 w 333375"/>
                <a:gd name="connsiteY349" fmla="*/ 636900 h 819150"/>
                <a:gd name="connsiteX350" fmla="*/ 182891 w 333375"/>
                <a:gd name="connsiteY350" fmla="*/ 640596 h 819150"/>
                <a:gd name="connsiteX351" fmla="*/ 179205 w 333375"/>
                <a:gd name="connsiteY351" fmla="*/ 640596 h 819150"/>
                <a:gd name="connsiteX352" fmla="*/ 175518 w 333375"/>
                <a:gd name="connsiteY352" fmla="*/ 644282 h 819150"/>
                <a:gd name="connsiteX353" fmla="*/ 171823 w 333375"/>
                <a:gd name="connsiteY353" fmla="*/ 644282 h 819150"/>
                <a:gd name="connsiteX354" fmla="*/ 168137 w 333375"/>
                <a:gd name="connsiteY354" fmla="*/ 640596 h 819150"/>
                <a:gd name="connsiteX355" fmla="*/ 175518 w 333375"/>
                <a:gd name="connsiteY355" fmla="*/ 633214 h 819150"/>
                <a:gd name="connsiteX356" fmla="*/ 175518 w 333375"/>
                <a:gd name="connsiteY356" fmla="*/ 622136 h 819150"/>
                <a:gd name="connsiteX357" fmla="*/ 171823 w 333375"/>
                <a:gd name="connsiteY357" fmla="*/ 622136 h 819150"/>
                <a:gd name="connsiteX358" fmla="*/ 168137 w 333375"/>
                <a:gd name="connsiteY358" fmla="*/ 618450 h 819150"/>
                <a:gd name="connsiteX359" fmla="*/ 168137 w 333375"/>
                <a:gd name="connsiteY359" fmla="*/ 614754 h 819150"/>
                <a:gd name="connsiteX360" fmla="*/ 164450 w 333375"/>
                <a:gd name="connsiteY360" fmla="*/ 614754 h 819150"/>
                <a:gd name="connsiteX361" fmla="*/ 164450 w 333375"/>
                <a:gd name="connsiteY361" fmla="*/ 611068 h 819150"/>
                <a:gd name="connsiteX362" fmla="*/ 160755 w 333375"/>
                <a:gd name="connsiteY362" fmla="*/ 611068 h 819150"/>
                <a:gd name="connsiteX363" fmla="*/ 160755 w 333375"/>
                <a:gd name="connsiteY363" fmla="*/ 607373 h 819150"/>
                <a:gd name="connsiteX364" fmla="*/ 160755 w 333375"/>
                <a:gd name="connsiteY364" fmla="*/ 603686 h 819150"/>
                <a:gd name="connsiteX365" fmla="*/ 160755 w 333375"/>
                <a:gd name="connsiteY365" fmla="*/ 600000 h 819150"/>
                <a:gd name="connsiteX366" fmla="*/ 160755 w 333375"/>
                <a:gd name="connsiteY366" fmla="*/ 592618 h 819150"/>
                <a:gd name="connsiteX367" fmla="*/ 157069 w 333375"/>
                <a:gd name="connsiteY367" fmla="*/ 588923 h 819150"/>
                <a:gd name="connsiteX368" fmla="*/ 153382 w 333375"/>
                <a:gd name="connsiteY368" fmla="*/ 581541 h 819150"/>
                <a:gd name="connsiteX369" fmla="*/ 157069 w 333375"/>
                <a:gd name="connsiteY369" fmla="*/ 581541 h 819150"/>
                <a:gd name="connsiteX370" fmla="*/ 164450 w 333375"/>
                <a:gd name="connsiteY370" fmla="*/ 581541 h 819150"/>
                <a:gd name="connsiteX371" fmla="*/ 168137 w 333375"/>
                <a:gd name="connsiteY371" fmla="*/ 581541 h 819150"/>
                <a:gd name="connsiteX372" fmla="*/ 168137 w 333375"/>
                <a:gd name="connsiteY372" fmla="*/ 577854 h 819150"/>
                <a:gd name="connsiteX373" fmla="*/ 175518 w 333375"/>
                <a:gd name="connsiteY373" fmla="*/ 574159 h 819150"/>
                <a:gd name="connsiteX374" fmla="*/ 179205 w 333375"/>
                <a:gd name="connsiteY374" fmla="*/ 570473 h 819150"/>
                <a:gd name="connsiteX375" fmla="*/ 179205 w 333375"/>
                <a:gd name="connsiteY375" fmla="*/ 574159 h 819150"/>
                <a:gd name="connsiteX376" fmla="*/ 186587 w 333375"/>
                <a:gd name="connsiteY376" fmla="*/ 585236 h 819150"/>
                <a:gd name="connsiteX377" fmla="*/ 190273 w 333375"/>
                <a:gd name="connsiteY377" fmla="*/ 592618 h 819150"/>
                <a:gd name="connsiteX378" fmla="*/ 190273 w 333375"/>
                <a:gd name="connsiteY378" fmla="*/ 596304 h 819150"/>
                <a:gd name="connsiteX379" fmla="*/ 193959 w 333375"/>
                <a:gd name="connsiteY379" fmla="*/ 592618 h 819150"/>
                <a:gd name="connsiteX380" fmla="*/ 197655 w 333375"/>
                <a:gd name="connsiteY380" fmla="*/ 592618 h 819150"/>
                <a:gd name="connsiteX381" fmla="*/ 197655 w 333375"/>
                <a:gd name="connsiteY381" fmla="*/ 596304 h 819150"/>
                <a:gd name="connsiteX382" fmla="*/ 201341 w 333375"/>
                <a:gd name="connsiteY382" fmla="*/ 596304 h 819150"/>
                <a:gd name="connsiteX383" fmla="*/ 201341 w 333375"/>
                <a:gd name="connsiteY383" fmla="*/ 592618 h 819150"/>
                <a:gd name="connsiteX384" fmla="*/ 205027 w 333375"/>
                <a:gd name="connsiteY384" fmla="*/ 588923 h 819150"/>
                <a:gd name="connsiteX385" fmla="*/ 205027 w 333375"/>
                <a:gd name="connsiteY385" fmla="*/ 585236 h 819150"/>
                <a:gd name="connsiteX386" fmla="*/ 208723 w 333375"/>
                <a:gd name="connsiteY386" fmla="*/ 581541 h 819150"/>
                <a:gd name="connsiteX387" fmla="*/ 208723 w 333375"/>
                <a:gd name="connsiteY387" fmla="*/ 577854 h 819150"/>
                <a:gd name="connsiteX388" fmla="*/ 208723 w 333375"/>
                <a:gd name="connsiteY388" fmla="*/ 574159 h 819150"/>
                <a:gd name="connsiteX389" fmla="*/ 212409 w 333375"/>
                <a:gd name="connsiteY389" fmla="*/ 570473 h 819150"/>
                <a:gd name="connsiteX390" fmla="*/ 212409 w 333375"/>
                <a:gd name="connsiteY390" fmla="*/ 566777 h 819150"/>
                <a:gd name="connsiteX391" fmla="*/ 216095 w 333375"/>
                <a:gd name="connsiteY391" fmla="*/ 563091 h 819150"/>
                <a:gd name="connsiteX392" fmla="*/ 216095 w 333375"/>
                <a:gd name="connsiteY392" fmla="*/ 559395 h 819150"/>
                <a:gd name="connsiteX393" fmla="*/ 219791 w 333375"/>
                <a:gd name="connsiteY393" fmla="*/ 555709 h 819150"/>
                <a:gd name="connsiteX394" fmla="*/ 227163 w 333375"/>
                <a:gd name="connsiteY394" fmla="*/ 552023 h 819150"/>
                <a:gd name="connsiteX395" fmla="*/ 230859 w 333375"/>
                <a:gd name="connsiteY395" fmla="*/ 548327 h 819150"/>
                <a:gd name="connsiteX396" fmla="*/ 238231 w 333375"/>
                <a:gd name="connsiteY396" fmla="*/ 544641 h 819150"/>
                <a:gd name="connsiteX397" fmla="*/ 241917 w 333375"/>
                <a:gd name="connsiteY397" fmla="*/ 544641 h 819150"/>
                <a:gd name="connsiteX398" fmla="*/ 245613 w 333375"/>
                <a:gd name="connsiteY398" fmla="*/ 540945 h 819150"/>
                <a:gd name="connsiteX399" fmla="*/ 249299 w 333375"/>
                <a:gd name="connsiteY399" fmla="*/ 537259 h 819150"/>
                <a:gd name="connsiteX400" fmla="*/ 249299 w 333375"/>
                <a:gd name="connsiteY400" fmla="*/ 533563 h 819150"/>
                <a:gd name="connsiteX401" fmla="*/ 252985 w 333375"/>
                <a:gd name="connsiteY401" fmla="*/ 529877 h 819150"/>
                <a:gd name="connsiteX402" fmla="*/ 256681 w 333375"/>
                <a:gd name="connsiteY402" fmla="*/ 529877 h 819150"/>
                <a:gd name="connsiteX403" fmla="*/ 260367 w 333375"/>
                <a:gd name="connsiteY403" fmla="*/ 529877 h 819150"/>
                <a:gd name="connsiteX404" fmla="*/ 264053 w 333375"/>
                <a:gd name="connsiteY404" fmla="*/ 526181 h 819150"/>
                <a:gd name="connsiteX405" fmla="*/ 264053 w 333375"/>
                <a:gd name="connsiteY405" fmla="*/ 522495 h 819150"/>
                <a:gd name="connsiteX406" fmla="*/ 264053 w 333375"/>
                <a:gd name="connsiteY406" fmla="*/ 518799 h 819150"/>
                <a:gd name="connsiteX407" fmla="*/ 267749 w 333375"/>
                <a:gd name="connsiteY407" fmla="*/ 515113 h 819150"/>
                <a:gd name="connsiteX408" fmla="*/ 271435 w 333375"/>
                <a:gd name="connsiteY408" fmla="*/ 515113 h 819150"/>
                <a:gd name="connsiteX409" fmla="*/ 275121 w 333375"/>
                <a:gd name="connsiteY409" fmla="*/ 515113 h 819150"/>
                <a:gd name="connsiteX410" fmla="*/ 278817 w 333375"/>
                <a:gd name="connsiteY410" fmla="*/ 511427 h 819150"/>
                <a:gd name="connsiteX411" fmla="*/ 282503 w 333375"/>
                <a:gd name="connsiteY411" fmla="*/ 511427 h 819150"/>
                <a:gd name="connsiteX412" fmla="*/ 282503 w 333375"/>
                <a:gd name="connsiteY412" fmla="*/ 507731 h 819150"/>
                <a:gd name="connsiteX413" fmla="*/ 289885 w 333375"/>
                <a:gd name="connsiteY413" fmla="*/ 507731 h 819150"/>
                <a:gd name="connsiteX414" fmla="*/ 293571 w 333375"/>
                <a:gd name="connsiteY414" fmla="*/ 504045 h 819150"/>
                <a:gd name="connsiteX415" fmla="*/ 297258 w 333375"/>
                <a:gd name="connsiteY415" fmla="*/ 504045 h 819150"/>
                <a:gd name="connsiteX416" fmla="*/ 304639 w 333375"/>
                <a:gd name="connsiteY416" fmla="*/ 504045 h 819150"/>
                <a:gd name="connsiteX417" fmla="*/ 300944 w 333375"/>
                <a:gd name="connsiteY417" fmla="*/ 500350 h 819150"/>
                <a:gd name="connsiteX418" fmla="*/ 304639 w 333375"/>
                <a:gd name="connsiteY418" fmla="*/ 500350 h 819150"/>
                <a:gd name="connsiteX419" fmla="*/ 308326 w 333375"/>
                <a:gd name="connsiteY419" fmla="*/ 496663 h 819150"/>
                <a:gd name="connsiteX420" fmla="*/ 293571 w 333375"/>
                <a:gd name="connsiteY420" fmla="*/ 485586 h 819150"/>
                <a:gd name="connsiteX421" fmla="*/ 289885 w 333375"/>
                <a:gd name="connsiteY421" fmla="*/ 485586 h 819150"/>
                <a:gd name="connsiteX422" fmla="*/ 312012 w 333375"/>
                <a:gd name="connsiteY422" fmla="*/ 474518 h 819150"/>
                <a:gd name="connsiteX423" fmla="*/ 304639 w 333375"/>
                <a:gd name="connsiteY423" fmla="*/ 467136 h 819150"/>
                <a:gd name="connsiteX424" fmla="*/ 282503 w 333375"/>
                <a:gd name="connsiteY424" fmla="*/ 478204 h 819150"/>
                <a:gd name="connsiteX425" fmla="*/ 278817 w 333375"/>
                <a:gd name="connsiteY425" fmla="*/ 481900 h 819150"/>
                <a:gd name="connsiteX426" fmla="*/ 275121 w 333375"/>
                <a:gd name="connsiteY426" fmla="*/ 485586 h 819150"/>
                <a:gd name="connsiteX427" fmla="*/ 271435 w 333375"/>
                <a:gd name="connsiteY427" fmla="*/ 485586 h 819150"/>
                <a:gd name="connsiteX428" fmla="*/ 267749 w 333375"/>
                <a:gd name="connsiteY428" fmla="*/ 485586 h 819150"/>
                <a:gd name="connsiteX429" fmla="*/ 260367 w 333375"/>
                <a:gd name="connsiteY429" fmla="*/ 485586 h 819150"/>
                <a:gd name="connsiteX430" fmla="*/ 260367 w 333375"/>
                <a:gd name="connsiteY430" fmla="*/ 481900 h 819150"/>
                <a:gd name="connsiteX431" fmla="*/ 256681 w 333375"/>
                <a:gd name="connsiteY431" fmla="*/ 478204 h 819150"/>
                <a:gd name="connsiteX432" fmla="*/ 256681 w 333375"/>
                <a:gd name="connsiteY432" fmla="*/ 452372 h 819150"/>
                <a:gd name="connsiteX433" fmla="*/ 252985 w 333375"/>
                <a:gd name="connsiteY433" fmla="*/ 448686 h 819150"/>
                <a:gd name="connsiteX434" fmla="*/ 256681 w 333375"/>
                <a:gd name="connsiteY434" fmla="*/ 444990 h 819150"/>
                <a:gd name="connsiteX435" fmla="*/ 264053 w 333375"/>
                <a:gd name="connsiteY435" fmla="*/ 444990 h 819150"/>
                <a:gd name="connsiteX436" fmla="*/ 256681 w 333375"/>
                <a:gd name="connsiteY436" fmla="*/ 430227 h 819150"/>
                <a:gd name="connsiteX437" fmla="*/ 264053 w 333375"/>
                <a:gd name="connsiteY437" fmla="*/ 426540 h 819150"/>
                <a:gd name="connsiteX438" fmla="*/ 267749 w 333375"/>
                <a:gd name="connsiteY438" fmla="*/ 419158 h 819150"/>
                <a:gd name="connsiteX439" fmla="*/ 282503 w 333375"/>
                <a:gd name="connsiteY439" fmla="*/ 404395 h 819150"/>
                <a:gd name="connsiteX440" fmla="*/ 282503 w 333375"/>
                <a:gd name="connsiteY440" fmla="*/ 400709 h 819150"/>
                <a:gd name="connsiteX441" fmla="*/ 286189 w 333375"/>
                <a:gd name="connsiteY441" fmla="*/ 397013 h 819150"/>
                <a:gd name="connsiteX442" fmla="*/ 293571 w 333375"/>
                <a:gd name="connsiteY442" fmla="*/ 385945 h 819150"/>
                <a:gd name="connsiteX443" fmla="*/ 297258 w 333375"/>
                <a:gd name="connsiteY443" fmla="*/ 378563 h 819150"/>
                <a:gd name="connsiteX444" fmla="*/ 297258 w 333375"/>
                <a:gd name="connsiteY444" fmla="*/ 374867 h 819150"/>
                <a:gd name="connsiteX445" fmla="*/ 300944 w 333375"/>
                <a:gd name="connsiteY445" fmla="*/ 371181 h 819150"/>
                <a:gd name="connsiteX446" fmla="*/ 300944 w 333375"/>
                <a:gd name="connsiteY446" fmla="*/ 367495 h 819150"/>
                <a:gd name="connsiteX447" fmla="*/ 300944 w 333375"/>
                <a:gd name="connsiteY447" fmla="*/ 363799 h 819150"/>
                <a:gd name="connsiteX448" fmla="*/ 304639 w 333375"/>
                <a:gd name="connsiteY448" fmla="*/ 360113 h 819150"/>
                <a:gd name="connsiteX449" fmla="*/ 304639 w 333375"/>
                <a:gd name="connsiteY449" fmla="*/ 356417 h 819150"/>
                <a:gd name="connsiteX450" fmla="*/ 308326 w 333375"/>
                <a:gd name="connsiteY450" fmla="*/ 356417 h 819150"/>
                <a:gd name="connsiteX451" fmla="*/ 312012 w 333375"/>
                <a:gd name="connsiteY451" fmla="*/ 356417 h 819150"/>
                <a:gd name="connsiteX452" fmla="*/ 315707 w 333375"/>
                <a:gd name="connsiteY452" fmla="*/ 356417 h 819150"/>
                <a:gd name="connsiteX453" fmla="*/ 315707 w 333375"/>
                <a:gd name="connsiteY453" fmla="*/ 352731 h 819150"/>
                <a:gd name="connsiteX454" fmla="*/ 334148 w 333375"/>
                <a:gd name="connsiteY454" fmla="*/ 334272 h 819150"/>
                <a:gd name="connsiteX455" fmla="*/ 330462 w 333375"/>
                <a:gd name="connsiteY455" fmla="*/ 323204 h 819150"/>
                <a:gd name="connsiteX456" fmla="*/ 326775 w 333375"/>
                <a:gd name="connsiteY456" fmla="*/ 315822 h 819150"/>
                <a:gd name="connsiteX457" fmla="*/ 326775 w 333375"/>
                <a:gd name="connsiteY457" fmla="*/ 312136 h 819150"/>
                <a:gd name="connsiteX458" fmla="*/ 330462 w 333375"/>
                <a:gd name="connsiteY458" fmla="*/ 308440 h 819150"/>
                <a:gd name="connsiteX459" fmla="*/ 334148 w 333375"/>
                <a:gd name="connsiteY459" fmla="*/ 304754 h 819150"/>
                <a:gd name="connsiteX460" fmla="*/ 323080 w 333375"/>
                <a:gd name="connsiteY460" fmla="*/ 304754 h 819150"/>
                <a:gd name="connsiteX461" fmla="*/ 323080 w 333375"/>
                <a:gd name="connsiteY461" fmla="*/ 301058 h 819150"/>
                <a:gd name="connsiteX462" fmla="*/ 326775 w 333375"/>
                <a:gd name="connsiteY462" fmla="*/ 278912 h 819150"/>
                <a:gd name="connsiteX463" fmla="*/ 326775 w 333375"/>
                <a:gd name="connsiteY463" fmla="*/ 267844 h 819150"/>
                <a:gd name="connsiteX464" fmla="*/ 330462 w 333375"/>
                <a:gd name="connsiteY464" fmla="*/ 267844 h 819150"/>
                <a:gd name="connsiteX465" fmla="*/ 326775 w 333375"/>
                <a:gd name="connsiteY465" fmla="*/ 260462 h 819150"/>
                <a:gd name="connsiteX466" fmla="*/ 330462 w 333375"/>
                <a:gd name="connsiteY466" fmla="*/ 256776 h 819150"/>
                <a:gd name="connsiteX467" fmla="*/ 330462 w 333375"/>
                <a:gd name="connsiteY467" fmla="*/ 245699 h 819150"/>
                <a:gd name="connsiteX468" fmla="*/ 326775 w 333375"/>
                <a:gd name="connsiteY468" fmla="*/ 238317 h 819150"/>
                <a:gd name="connsiteX469" fmla="*/ 323080 w 333375"/>
                <a:gd name="connsiteY469" fmla="*/ 230935 h 819150"/>
                <a:gd name="connsiteX470" fmla="*/ 326775 w 333375"/>
                <a:gd name="connsiteY470" fmla="*/ 223563 h 819150"/>
                <a:gd name="connsiteX471" fmla="*/ 323080 w 333375"/>
                <a:gd name="connsiteY471" fmla="*/ 219867 h 819150"/>
                <a:gd name="connsiteX472" fmla="*/ 323080 w 333375"/>
                <a:gd name="connsiteY472" fmla="*/ 212485 h 819150"/>
                <a:gd name="connsiteX473" fmla="*/ 323080 w 333375"/>
                <a:gd name="connsiteY473" fmla="*/ 208799 h 819150"/>
                <a:gd name="connsiteX474" fmla="*/ 319394 w 333375"/>
                <a:gd name="connsiteY474" fmla="*/ 201417 h 819150"/>
                <a:gd name="connsiteX475" fmla="*/ 312012 w 333375"/>
                <a:gd name="connsiteY475" fmla="*/ 197721 h 819150"/>
                <a:gd name="connsiteX476" fmla="*/ 304639 w 333375"/>
                <a:gd name="connsiteY476" fmla="*/ 194035 h 819150"/>
                <a:gd name="connsiteX477" fmla="*/ 297258 w 333375"/>
                <a:gd name="connsiteY477" fmla="*/ 171890 h 819150"/>
                <a:gd name="connsiteX478" fmla="*/ 289885 w 333375"/>
                <a:gd name="connsiteY478" fmla="*/ 168203 h 819150"/>
                <a:gd name="connsiteX479" fmla="*/ 286189 w 333375"/>
                <a:gd name="connsiteY479" fmla="*/ 164508 h 819150"/>
                <a:gd name="connsiteX480" fmla="*/ 282503 w 333375"/>
                <a:gd name="connsiteY480" fmla="*/ 160821 h 819150"/>
                <a:gd name="connsiteX481" fmla="*/ 278817 w 333375"/>
                <a:gd name="connsiteY481" fmla="*/ 153439 h 819150"/>
                <a:gd name="connsiteX482" fmla="*/ 278817 w 333375"/>
                <a:gd name="connsiteY482" fmla="*/ 149744 h 819150"/>
                <a:gd name="connsiteX483" fmla="*/ 275121 w 333375"/>
                <a:gd name="connsiteY483" fmla="*/ 149744 h 819150"/>
                <a:gd name="connsiteX484" fmla="*/ 264053 w 333375"/>
                <a:gd name="connsiteY484" fmla="*/ 142362 h 819150"/>
                <a:gd name="connsiteX485" fmla="*/ 264053 w 333375"/>
                <a:gd name="connsiteY485" fmla="*/ 134980 h 819150"/>
                <a:gd name="connsiteX486" fmla="*/ 264053 w 333375"/>
                <a:gd name="connsiteY486" fmla="*/ 127608 h 819150"/>
                <a:gd name="connsiteX487" fmla="*/ 267749 w 333375"/>
                <a:gd name="connsiteY487" fmla="*/ 127608 h 819150"/>
                <a:gd name="connsiteX488" fmla="*/ 267749 w 333375"/>
                <a:gd name="connsiteY488" fmla="*/ 123912 h 819150"/>
                <a:gd name="connsiteX489" fmla="*/ 271435 w 333375"/>
                <a:gd name="connsiteY489" fmla="*/ 112844 h 819150"/>
                <a:gd name="connsiteX490" fmla="*/ 271435 w 333375"/>
                <a:gd name="connsiteY490" fmla="*/ 109148 h 819150"/>
                <a:gd name="connsiteX491" fmla="*/ 275121 w 333375"/>
                <a:gd name="connsiteY491" fmla="*/ 105462 h 819150"/>
                <a:gd name="connsiteX492" fmla="*/ 275121 w 333375"/>
                <a:gd name="connsiteY492" fmla="*/ 101766 h 819150"/>
                <a:gd name="connsiteX493" fmla="*/ 267749 w 333375"/>
                <a:gd name="connsiteY493" fmla="*/ 98080 h 819150"/>
                <a:gd name="connsiteX494" fmla="*/ 264053 w 333375"/>
                <a:gd name="connsiteY494" fmla="*/ 98080 h 819150"/>
                <a:gd name="connsiteX495" fmla="*/ 260367 w 333375"/>
                <a:gd name="connsiteY495" fmla="*/ 98080 h 819150"/>
                <a:gd name="connsiteX496" fmla="*/ 260367 w 333375"/>
                <a:gd name="connsiteY496" fmla="*/ 94384 h 819150"/>
                <a:gd name="connsiteX497" fmla="*/ 256681 w 333375"/>
                <a:gd name="connsiteY497" fmla="*/ 94384 h 819150"/>
                <a:gd name="connsiteX498" fmla="*/ 252985 w 333375"/>
                <a:gd name="connsiteY498" fmla="*/ 94384 h 819150"/>
                <a:gd name="connsiteX499" fmla="*/ 234545 w 333375"/>
                <a:gd name="connsiteY499" fmla="*/ 87003 h 819150"/>
                <a:gd name="connsiteX500" fmla="*/ 230859 w 333375"/>
                <a:gd name="connsiteY500" fmla="*/ 83316 h 819150"/>
                <a:gd name="connsiteX501" fmla="*/ 230859 w 333375"/>
                <a:gd name="connsiteY501" fmla="*/ 79630 h 819150"/>
                <a:gd name="connsiteX502" fmla="*/ 230859 w 333375"/>
                <a:gd name="connsiteY502" fmla="*/ 75935 h 819150"/>
                <a:gd name="connsiteX503" fmla="*/ 234545 w 333375"/>
                <a:gd name="connsiteY503" fmla="*/ 72248 h 819150"/>
                <a:gd name="connsiteX504" fmla="*/ 230859 w 333375"/>
                <a:gd name="connsiteY504" fmla="*/ 68553 h 819150"/>
                <a:gd name="connsiteX505" fmla="*/ 230859 w 333375"/>
                <a:gd name="connsiteY505" fmla="*/ 64867 h 819150"/>
                <a:gd name="connsiteX506" fmla="*/ 230859 w 333375"/>
                <a:gd name="connsiteY506" fmla="*/ 57485 h 819150"/>
                <a:gd name="connsiteX507" fmla="*/ 234545 w 333375"/>
                <a:gd name="connsiteY507" fmla="*/ 57485 h 819150"/>
                <a:gd name="connsiteX508" fmla="*/ 238231 w 333375"/>
                <a:gd name="connsiteY508" fmla="*/ 57485 h 819150"/>
                <a:gd name="connsiteX509" fmla="*/ 238231 w 333375"/>
                <a:gd name="connsiteY509" fmla="*/ 53789 h 819150"/>
                <a:gd name="connsiteX510" fmla="*/ 234545 w 333375"/>
                <a:gd name="connsiteY510" fmla="*/ 53789 h 819150"/>
                <a:gd name="connsiteX511" fmla="*/ 234545 w 333375"/>
                <a:gd name="connsiteY511" fmla="*/ 50103 h 819150"/>
                <a:gd name="connsiteX512" fmla="*/ 234545 w 333375"/>
                <a:gd name="connsiteY512" fmla="*/ 46407 h 819150"/>
                <a:gd name="connsiteX513" fmla="*/ 230859 w 333375"/>
                <a:gd name="connsiteY513" fmla="*/ 46407 h 819150"/>
                <a:gd name="connsiteX514" fmla="*/ 219791 w 333375"/>
                <a:gd name="connsiteY514" fmla="*/ 39025 h 819150"/>
                <a:gd name="connsiteX515" fmla="*/ 216095 w 333375"/>
                <a:gd name="connsiteY515" fmla="*/ 35339 h 819150"/>
                <a:gd name="connsiteX516" fmla="*/ 208723 w 333375"/>
                <a:gd name="connsiteY516" fmla="*/ 35339 h 819150"/>
                <a:gd name="connsiteX517" fmla="*/ 205027 w 333375"/>
                <a:gd name="connsiteY517" fmla="*/ 35339 h 819150"/>
                <a:gd name="connsiteX518" fmla="*/ 193959 w 333375"/>
                <a:gd name="connsiteY518" fmla="*/ 35339 h 819150"/>
                <a:gd name="connsiteX519" fmla="*/ 193959 w 333375"/>
                <a:gd name="connsiteY519" fmla="*/ 31653 h 819150"/>
                <a:gd name="connsiteX520" fmla="*/ 190273 w 333375"/>
                <a:gd name="connsiteY520" fmla="*/ 35339 h 819150"/>
                <a:gd name="connsiteX521" fmla="*/ 186587 w 333375"/>
                <a:gd name="connsiteY521" fmla="*/ 35339 h 819150"/>
                <a:gd name="connsiteX522" fmla="*/ 182891 w 333375"/>
                <a:gd name="connsiteY522" fmla="*/ 31653 h 819150"/>
                <a:gd name="connsiteX523" fmla="*/ 182891 w 333375"/>
                <a:gd name="connsiteY523" fmla="*/ 27957 h 819150"/>
                <a:gd name="connsiteX524" fmla="*/ 179205 w 333375"/>
                <a:gd name="connsiteY524" fmla="*/ 27957 h 819150"/>
                <a:gd name="connsiteX525" fmla="*/ 175518 w 333375"/>
                <a:gd name="connsiteY525" fmla="*/ 24271 h 819150"/>
                <a:gd name="connsiteX526" fmla="*/ 175518 w 333375"/>
                <a:gd name="connsiteY526" fmla="*/ 20575 h 819150"/>
                <a:gd name="connsiteX527" fmla="*/ 171823 w 333375"/>
                <a:gd name="connsiteY527" fmla="*/ 16889 h 819150"/>
                <a:gd name="connsiteX528" fmla="*/ 171823 w 333375"/>
                <a:gd name="connsiteY528" fmla="*/ 13193 h 819150"/>
                <a:gd name="connsiteX529" fmla="*/ 168137 w 333375"/>
                <a:gd name="connsiteY529" fmla="*/ 9507 h 819150"/>
                <a:gd name="connsiteX530" fmla="*/ 164450 w 333375"/>
                <a:gd name="connsiteY530" fmla="*/ 5812 h 819150"/>
                <a:gd name="connsiteX531" fmla="*/ 160755 w 333375"/>
                <a:gd name="connsiteY531" fmla="*/ 5812 h 819150"/>
                <a:gd name="connsiteX532" fmla="*/ 153382 w 333375"/>
                <a:gd name="connsiteY532" fmla="*/ 5812 h 8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Lst>
              <a:rect l="l" t="t" r="r" b="b"/>
              <a:pathLst>
                <a:path w="333375" h="819150">
                  <a:moveTo>
                    <a:pt x="153382" y="5812"/>
                  </a:moveTo>
                  <a:lnTo>
                    <a:pt x="149696" y="9507"/>
                  </a:lnTo>
                  <a:lnTo>
                    <a:pt x="153382" y="13193"/>
                  </a:lnTo>
                  <a:lnTo>
                    <a:pt x="153382" y="16889"/>
                  </a:lnTo>
                  <a:lnTo>
                    <a:pt x="153382" y="20575"/>
                  </a:lnTo>
                  <a:lnTo>
                    <a:pt x="149696" y="20575"/>
                  </a:lnTo>
                  <a:lnTo>
                    <a:pt x="153382" y="24271"/>
                  </a:lnTo>
                  <a:lnTo>
                    <a:pt x="157069" y="24271"/>
                  </a:lnTo>
                  <a:lnTo>
                    <a:pt x="157069" y="27957"/>
                  </a:lnTo>
                  <a:lnTo>
                    <a:pt x="157069" y="31653"/>
                  </a:lnTo>
                  <a:lnTo>
                    <a:pt x="160755" y="39025"/>
                  </a:lnTo>
                  <a:lnTo>
                    <a:pt x="160755" y="46407"/>
                  </a:lnTo>
                  <a:lnTo>
                    <a:pt x="164450" y="50103"/>
                  </a:lnTo>
                  <a:lnTo>
                    <a:pt x="171823" y="50103"/>
                  </a:lnTo>
                  <a:lnTo>
                    <a:pt x="179205" y="53789"/>
                  </a:lnTo>
                  <a:lnTo>
                    <a:pt x="186587" y="53789"/>
                  </a:lnTo>
                  <a:lnTo>
                    <a:pt x="190273" y="57485"/>
                  </a:lnTo>
                  <a:lnTo>
                    <a:pt x="193959" y="57485"/>
                  </a:lnTo>
                  <a:lnTo>
                    <a:pt x="197655" y="68553"/>
                  </a:lnTo>
                  <a:lnTo>
                    <a:pt x="197655" y="75935"/>
                  </a:lnTo>
                  <a:lnTo>
                    <a:pt x="197655" y="79630"/>
                  </a:lnTo>
                  <a:lnTo>
                    <a:pt x="201341" y="79630"/>
                  </a:lnTo>
                  <a:lnTo>
                    <a:pt x="201341" y="87003"/>
                  </a:lnTo>
                  <a:lnTo>
                    <a:pt x="201341" y="90698"/>
                  </a:lnTo>
                  <a:lnTo>
                    <a:pt x="201341" y="94384"/>
                  </a:lnTo>
                  <a:lnTo>
                    <a:pt x="201341" y="105462"/>
                  </a:lnTo>
                  <a:lnTo>
                    <a:pt x="205027" y="109148"/>
                  </a:lnTo>
                  <a:lnTo>
                    <a:pt x="205027" y="112844"/>
                  </a:lnTo>
                  <a:lnTo>
                    <a:pt x="216095" y="116530"/>
                  </a:lnTo>
                  <a:lnTo>
                    <a:pt x="219791" y="120226"/>
                  </a:lnTo>
                  <a:lnTo>
                    <a:pt x="223477" y="123912"/>
                  </a:lnTo>
                  <a:lnTo>
                    <a:pt x="227163" y="127608"/>
                  </a:lnTo>
                  <a:lnTo>
                    <a:pt x="227163" y="131294"/>
                  </a:lnTo>
                  <a:lnTo>
                    <a:pt x="230859" y="134980"/>
                  </a:lnTo>
                  <a:lnTo>
                    <a:pt x="230859" y="146058"/>
                  </a:lnTo>
                  <a:lnTo>
                    <a:pt x="230859" y="149744"/>
                  </a:lnTo>
                  <a:lnTo>
                    <a:pt x="234545" y="153439"/>
                  </a:lnTo>
                  <a:lnTo>
                    <a:pt x="238231" y="160821"/>
                  </a:lnTo>
                  <a:lnTo>
                    <a:pt x="238231" y="164508"/>
                  </a:lnTo>
                  <a:lnTo>
                    <a:pt x="238231" y="168203"/>
                  </a:lnTo>
                  <a:lnTo>
                    <a:pt x="238231" y="171890"/>
                  </a:lnTo>
                  <a:lnTo>
                    <a:pt x="238231" y="175585"/>
                  </a:lnTo>
                  <a:lnTo>
                    <a:pt x="241917" y="179271"/>
                  </a:lnTo>
                  <a:lnTo>
                    <a:pt x="238231" y="179271"/>
                  </a:lnTo>
                  <a:lnTo>
                    <a:pt x="234545" y="179271"/>
                  </a:lnTo>
                  <a:lnTo>
                    <a:pt x="234545" y="182957"/>
                  </a:lnTo>
                  <a:lnTo>
                    <a:pt x="227163" y="175585"/>
                  </a:lnTo>
                  <a:lnTo>
                    <a:pt x="223477" y="171890"/>
                  </a:lnTo>
                  <a:lnTo>
                    <a:pt x="219791" y="171890"/>
                  </a:lnTo>
                  <a:lnTo>
                    <a:pt x="219791" y="168203"/>
                  </a:lnTo>
                  <a:lnTo>
                    <a:pt x="212409" y="171890"/>
                  </a:lnTo>
                  <a:lnTo>
                    <a:pt x="205027" y="175585"/>
                  </a:lnTo>
                  <a:lnTo>
                    <a:pt x="193959" y="179271"/>
                  </a:lnTo>
                  <a:lnTo>
                    <a:pt x="186587" y="182957"/>
                  </a:lnTo>
                  <a:lnTo>
                    <a:pt x="179205" y="182957"/>
                  </a:lnTo>
                  <a:lnTo>
                    <a:pt x="171823" y="182957"/>
                  </a:lnTo>
                  <a:lnTo>
                    <a:pt x="164450" y="179271"/>
                  </a:lnTo>
                  <a:lnTo>
                    <a:pt x="153382" y="175585"/>
                  </a:lnTo>
                  <a:lnTo>
                    <a:pt x="138628" y="171890"/>
                  </a:lnTo>
                  <a:lnTo>
                    <a:pt x="142314" y="205103"/>
                  </a:lnTo>
                  <a:lnTo>
                    <a:pt x="146000" y="216181"/>
                  </a:lnTo>
                  <a:lnTo>
                    <a:pt x="146000" y="223563"/>
                  </a:lnTo>
                  <a:lnTo>
                    <a:pt x="149696" y="230935"/>
                  </a:lnTo>
                  <a:lnTo>
                    <a:pt x="157069" y="264158"/>
                  </a:lnTo>
                  <a:lnTo>
                    <a:pt x="157069" y="267844"/>
                  </a:lnTo>
                  <a:lnTo>
                    <a:pt x="171823" y="293676"/>
                  </a:lnTo>
                  <a:lnTo>
                    <a:pt x="179205" y="308440"/>
                  </a:lnTo>
                  <a:lnTo>
                    <a:pt x="186587" y="319517"/>
                  </a:lnTo>
                  <a:lnTo>
                    <a:pt x="179205" y="323204"/>
                  </a:lnTo>
                  <a:lnTo>
                    <a:pt x="168137" y="334272"/>
                  </a:lnTo>
                  <a:lnTo>
                    <a:pt x="160755" y="341654"/>
                  </a:lnTo>
                  <a:lnTo>
                    <a:pt x="157069" y="341654"/>
                  </a:lnTo>
                  <a:lnTo>
                    <a:pt x="153382" y="345349"/>
                  </a:lnTo>
                  <a:lnTo>
                    <a:pt x="149696" y="345349"/>
                  </a:lnTo>
                  <a:lnTo>
                    <a:pt x="138628" y="349035"/>
                  </a:lnTo>
                  <a:lnTo>
                    <a:pt x="109110" y="356417"/>
                  </a:lnTo>
                  <a:lnTo>
                    <a:pt x="105424" y="360113"/>
                  </a:lnTo>
                  <a:lnTo>
                    <a:pt x="101728" y="360113"/>
                  </a:lnTo>
                  <a:lnTo>
                    <a:pt x="94356" y="363799"/>
                  </a:lnTo>
                  <a:lnTo>
                    <a:pt x="75906" y="367495"/>
                  </a:lnTo>
                  <a:lnTo>
                    <a:pt x="72220" y="367495"/>
                  </a:lnTo>
                  <a:lnTo>
                    <a:pt x="57466" y="374867"/>
                  </a:lnTo>
                  <a:lnTo>
                    <a:pt x="46398" y="385945"/>
                  </a:lnTo>
                  <a:lnTo>
                    <a:pt x="42702" y="393327"/>
                  </a:lnTo>
                  <a:lnTo>
                    <a:pt x="35330" y="408090"/>
                  </a:lnTo>
                  <a:lnTo>
                    <a:pt x="31634" y="426540"/>
                  </a:lnTo>
                  <a:lnTo>
                    <a:pt x="31634" y="441304"/>
                  </a:lnTo>
                  <a:lnTo>
                    <a:pt x="20566" y="444990"/>
                  </a:lnTo>
                  <a:lnTo>
                    <a:pt x="16880" y="444990"/>
                  </a:lnTo>
                  <a:lnTo>
                    <a:pt x="5812" y="448686"/>
                  </a:lnTo>
                  <a:lnTo>
                    <a:pt x="13193" y="452372"/>
                  </a:lnTo>
                  <a:lnTo>
                    <a:pt x="42702" y="463450"/>
                  </a:lnTo>
                  <a:lnTo>
                    <a:pt x="46398" y="467136"/>
                  </a:lnTo>
                  <a:lnTo>
                    <a:pt x="46398" y="470822"/>
                  </a:lnTo>
                  <a:lnTo>
                    <a:pt x="50084" y="478204"/>
                  </a:lnTo>
                  <a:lnTo>
                    <a:pt x="53770" y="474518"/>
                  </a:lnTo>
                  <a:lnTo>
                    <a:pt x="57466" y="478204"/>
                  </a:lnTo>
                  <a:lnTo>
                    <a:pt x="61152" y="478204"/>
                  </a:lnTo>
                  <a:lnTo>
                    <a:pt x="64838" y="478204"/>
                  </a:lnTo>
                  <a:lnTo>
                    <a:pt x="72220" y="478204"/>
                  </a:lnTo>
                  <a:lnTo>
                    <a:pt x="75906" y="478204"/>
                  </a:lnTo>
                  <a:lnTo>
                    <a:pt x="79602" y="478204"/>
                  </a:lnTo>
                  <a:lnTo>
                    <a:pt x="86974" y="478204"/>
                  </a:lnTo>
                  <a:lnTo>
                    <a:pt x="90660" y="474518"/>
                  </a:lnTo>
                  <a:lnTo>
                    <a:pt x="94356" y="474518"/>
                  </a:lnTo>
                  <a:lnTo>
                    <a:pt x="98042" y="478204"/>
                  </a:lnTo>
                  <a:lnTo>
                    <a:pt x="105424" y="478204"/>
                  </a:lnTo>
                  <a:lnTo>
                    <a:pt x="109110" y="481900"/>
                  </a:lnTo>
                  <a:lnTo>
                    <a:pt x="109110" y="485586"/>
                  </a:lnTo>
                  <a:lnTo>
                    <a:pt x="112796" y="485586"/>
                  </a:lnTo>
                  <a:lnTo>
                    <a:pt x="109110" y="489281"/>
                  </a:lnTo>
                  <a:lnTo>
                    <a:pt x="105424" y="489281"/>
                  </a:lnTo>
                  <a:lnTo>
                    <a:pt x="105424" y="492968"/>
                  </a:lnTo>
                  <a:lnTo>
                    <a:pt x="109110" y="492968"/>
                  </a:lnTo>
                  <a:lnTo>
                    <a:pt x="109110" y="496663"/>
                  </a:lnTo>
                  <a:lnTo>
                    <a:pt x="109110" y="500350"/>
                  </a:lnTo>
                  <a:lnTo>
                    <a:pt x="109110" y="504045"/>
                  </a:lnTo>
                  <a:lnTo>
                    <a:pt x="112796" y="504045"/>
                  </a:lnTo>
                  <a:lnTo>
                    <a:pt x="112796" y="500350"/>
                  </a:lnTo>
                  <a:lnTo>
                    <a:pt x="116492" y="500350"/>
                  </a:lnTo>
                  <a:lnTo>
                    <a:pt x="120178" y="500350"/>
                  </a:lnTo>
                  <a:lnTo>
                    <a:pt x="120178" y="496663"/>
                  </a:lnTo>
                  <a:lnTo>
                    <a:pt x="123864" y="496663"/>
                  </a:lnTo>
                  <a:lnTo>
                    <a:pt x="127560" y="496663"/>
                  </a:lnTo>
                  <a:lnTo>
                    <a:pt x="127560" y="492968"/>
                  </a:lnTo>
                  <a:lnTo>
                    <a:pt x="134933" y="489281"/>
                  </a:lnTo>
                  <a:lnTo>
                    <a:pt x="134933" y="492968"/>
                  </a:lnTo>
                  <a:lnTo>
                    <a:pt x="138628" y="492968"/>
                  </a:lnTo>
                  <a:lnTo>
                    <a:pt x="138628" y="500350"/>
                  </a:lnTo>
                  <a:lnTo>
                    <a:pt x="149696" y="507731"/>
                  </a:lnTo>
                  <a:lnTo>
                    <a:pt x="146000" y="511427"/>
                  </a:lnTo>
                  <a:lnTo>
                    <a:pt x="142314" y="515113"/>
                  </a:lnTo>
                  <a:lnTo>
                    <a:pt x="142314" y="518799"/>
                  </a:lnTo>
                  <a:lnTo>
                    <a:pt x="134933" y="522495"/>
                  </a:lnTo>
                  <a:lnTo>
                    <a:pt x="131246" y="522495"/>
                  </a:lnTo>
                  <a:lnTo>
                    <a:pt x="131246" y="526181"/>
                  </a:lnTo>
                  <a:lnTo>
                    <a:pt x="127560" y="529877"/>
                  </a:lnTo>
                  <a:lnTo>
                    <a:pt x="123864" y="533563"/>
                  </a:lnTo>
                  <a:lnTo>
                    <a:pt x="127560" y="537259"/>
                  </a:lnTo>
                  <a:lnTo>
                    <a:pt x="134933" y="537259"/>
                  </a:lnTo>
                  <a:lnTo>
                    <a:pt x="138628" y="540945"/>
                  </a:lnTo>
                  <a:lnTo>
                    <a:pt x="138628" y="544641"/>
                  </a:lnTo>
                  <a:lnTo>
                    <a:pt x="134933" y="548327"/>
                  </a:lnTo>
                  <a:lnTo>
                    <a:pt x="134933" y="552023"/>
                  </a:lnTo>
                  <a:lnTo>
                    <a:pt x="131246" y="552023"/>
                  </a:lnTo>
                  <a:lnTo>
                    <a:pt x="127560" y="548327"/>
                  </a:lnTo>
                  <a:lnTo>
                    <a:pt x="123864" y="548327"/>
                  </a:lnTo>
                  <a:lnTo>
                    <a:pt x="120178" y="548327"/>
                  </a:lnTo>
                  <a:lnTo>
                    <a:pt x="120178" y="552023"/>
                  </a:lnTo>
                  <a:lnTo>
                    <a:pt x="120178" y="555709"/>
                  </a:lnTo>
                  <a:lnTo>
                    <a:pt x="123864" y="559395"/>
                  </a:lnTo>
                  <a:lnTo>
                    <a:pt x="123864" y="563091"/>
                  </a:lnTo>
                  <a:lnTo>
                    <a:pt x="120178" y="563091"/>
                  </a:lnTo>
                  <a:lnTo>
                    <a:pt x="120178" y="566777"/>
                  </a:lnTo>
                  <a:lnTo>
                    <a:pt x="123864" y="574159"/>
                  </a:lnTo>
                  <a:lnTo>
                    <a:pt x="120178" y="574159"/>
                  </a:lnTo>
                  <a:lnTo>
                    <a:pt x="120178" y="577854"/>
                  </a:lnTo>
                  <a:lnTo>
                    <a:pt x="116492" y="577854"/>
                  </a:lnTo>
                  <a:lnTo>
                    <a:pt x="109110" y="574159"/>
                  </a:lnTo>
                  <a:lnTo>
                    <a:pt x="105424" y="585236"/>
                  </a:lnTo>
                  <a:lnTo>
                    <a:pt x="105424" y="592618"/>
                  </a:lnTo>
                  <a:lnTo>
                    <a:pt x="101728" y="596304"/>
                  </a:lnTo>
                  <a:lnTo>
                    <a:pt x="101728" y="600000"/>
                  </a:lnTo>
                  <a:lnTo>
                    <a:pt x="105424" y="600000"/>
                  </a:lnTo>
                  <a:lnTo>
                    <a:pt x="109110" y="603686"/>
                  </a:lnTo>
                  <a:lnTo>
                    <a:pt x="109110" y="607373"/>
                  </a:lnTo>
                  <a:lnTo>
                    <a:pt x="105424" y="614754"/>
                  </a:lnTo>
                  <a:lnTo>
                    <a:pt x="105424" y="618450"/>
                  </a:lnTo>
                  <a:lnTo>
                    <a:pt x="105424" y="622136"/>
                  </a:lnTo>
                  <a:lnTo>
                    <a:pt x="105424" y="625832"/>
                  </a:lnTo>
                  <a:lnTo>
                    <a:pt x="101728" y="629518"/>
                  </a:lnTo>
                  <a:lnTo>
                    <a:pt x="98042" y="633214"/>
                  </a:lnTo>
                  <a:lnTo>
                    <a:pt x="94356" y="640596"/>
                  </a:lnTo>
                  <a:lnTo>
                    <a:pt x="90660" y="640596"/>
                  </a:lnTo>
                  <a:lnTo>
                    <a:pt x="86974" y="647977"/>
                  </a:lnTo>
                  <a:lnTo>
                    <a:pt x="83288" y="655350"/>
                  </a:lnTo>
                  <a:lnTo>
                    <a:pt x="83288" y="659046"/>
                  </a:lnTo>
                  <a:lnTo>
                    <a:pt x="86974" y="659046"/>
                  </a:lnTo>
                  <a:lnTo>
                    <a:pt x="90660" y="659046"/>
                  </a:lnTo>
                  <a:lnTo>
                    <a:pt x="94356" y="655350"/>
                  </a:lnTo>
                  <a:lnTo>
                    <a:pt x="98042" y="655350"/>
                  </a:lnTo>
                  <a:lnTo>
                    <a:pt x="101728" y="659046"/>
                  </a:lnTo>
                  <a:lnTo>
                    <a:pt x="101728" y="662732"/>
                  </a:lnTo>
                  <a:lnTo>
                    <a:pt x="94356" y="666428"/>
                  </a:lnTo>
                  <a:lnTo>
                    <a:pt x="94356" y="670114"/>
                  </a:lnTo>
                  <a:lnTo>
                    <a:pt x="94356" y="673809"/>
                  </a:lnTo>
                  <a:lnTo>
                    <a:pt x="86974" y="681191"/>
                  </a:lnTo>
                  <a:lnTo>
                    <a:pt x="86974" y="684877"/>
                  </a:lnTo>
                  <a:lnTo>
                    <a:pt x="83288" y="688573"/>
                  </a:lnTo>
                  <a:lnTo>
                    <a:pt x="86974" y="692259"/>
                  </a:lnTo>
                  <a:lnTo>
                    <a:pt x="83288" y="695955"/>
                  </a:lnTo>
                  <a:lnTo>
                    <a:pt x="79602" y="695955"/>
                  </a:lnTo>
                  <a:lnTo>
                    <a:pt x="75906" y="695955"/>
                  </a:lnTo>
                  <a:lnTo>
                    <a:pt x="72220" y="695955"/>
                  </a:lnTo>
                  <a:lnTo>
                    <a:pt x="68534" y="699641"/>
                  </a:lnTo>
                  <a:lnTo>
                    <a:pt x="68534" y="703327"/>
                  </a:lnTo>
                  <a:lnTo>
                    <a:pt x="68534" y="707023"/>
                  </a:lnTo>
                  <a:lnTo>
                    <a:pt x="61152" y="714405"/>
                  </a:lnTo>
                  <a:lnTo>
                    <a:pt x="61152" y="718091"/>
                  </a:lnTo>
                  <a:lnTo>
                    <a:pt x="57466" y="718091"/>
                  </a:lnTo>
                  <a:lnTo>
                    <a:pt x="53770" y="721787"/>
                  </a:lnTo>
                  <a:lnTo>
                    <a:pt x="50084" y="721787"/>
                  </a:lnTo>
                  <a:lnTo>
                    <a:pt x="50084" y="725473"/>
                  </a:lnTo>
                  <a:lnTo>
                    <a:pt x="46398" y="725473"/>
                  </a:lnTo>
                  <a:lnTo>
                    <a:pt x="42702" y="725473"/>
                  </a:lnTo>
                  <a:lnTo>
                    <a:pt x="46398" y="729169"/>
                  </a:lnTo>
                  <a:lnTo>
                    <a:pt x="42702" y="732855"/>
                  </a:lnTo>
                  <a:lnTo>
                    <a:pt x="42702" y="736551"/>
                  </a:lnTo>
                  <a:lnTo>
                    <a:pt x="42702" y="740237"/>
                  </a:lnTo>
                  <a:lnTo>
                    <a:pt x="42702" y="743932"/>
                  </a:lnTo>
                  <a:lnTo>
                    <a:pt x="42702" y="747619"/>
                  </a:lnTo>
                  <a:lnTo>
                    <a:pt x="42702" y="751305"/>
                  </a:lnTo>
                  <a:lnTo>
                    <a:pt x="42702" y="755000"/>
                  </a:lnTo>
                  <a:lnTo>
                    <a:pt x="46398" y="755000"/>
                  </a:lnTo>
                  <a:lnTo>
                    <a:pt x="46398" y="758687"/>
                  </a:lnTo>
                  <a:lnTo>
                    <a:pt x="46398" y="762382"/>
                  </a:lnTo>
                  <a:lnTo>
                    <a:pt x="50084" y="762382"/>
                  </a:lnTo>
                  <a:lnTo>
                    <a:pt x="50084" y="766069"/>
                  </a:lnTo>
                  <a:lnTo>
                    <a:pt x="53770" y="769764"/>
                  </a:lnTo>
                  <a:lnTo>
                    <a:pt x="57466" y="769764"/>
                  </a:lnTo>
                  <a:lnTo>
                    <a:pt x="61152" y="769764"/>
                  </a:lnTo>
                  <a:lnTo>
                    <a:pt x="61152" y="773450"/>
                  </a:lnTo>
                  <a:lnTo>
                    <a:pt x="68534" y="773450"/>
                  </a:lnTo>
                  <a:lnTo>
                    <a:pt x="72220" y="777146"/>
                  </a:lnTo>
                  <a:lnTo>
                    <a:pt x="72220" y="780832"/>
                  </a:lnTo>
                  <a:lnTo>
                    <a:pt x="68534" y="784528"/>
                  </a:lnTo>
                  <a:lnTo>
                    <a:pt x="72220" y="795596"/>
                  </a:lnTo>
                  <a:lnTo>
                    <a:pt x="72220" y="802978"/>
                  </a:lnTo>
                  <a:lnTo>
                    <a:pt x="64838" y="814046"/>
                  </a:lnTo>
                  <a:lnTo>
                    <a:pt x="64838" y="817742"/>
                  </a:lnTo>
                  <a:lnTo>
                    <a:pt x="68534" y="817742"/>
                  </a:lnTo>
                  <a:lnTo>
                    <a:pt x="72220" y="817742"/>
                  </a:lnTo>
                  <a:lnTo>
                    <a:pt x="75906" y="814046"/>
                  </a:lnTo>
                  <a:lnTo>
                    <a:pt x="79602" y="814046"/>
                  </a:lnTo>
                  <a:lnTo>
                    <a:pt x="83288" y="810360"/>
                  </a:lnTo>
                  <a:lnTo>
                    <a:pt x="83288" y="814046"/>
                  </a:lnTo>
                  <a:lnTo>
                    <a:pt x="86974" y="817742"/>
                  </a:lnTo>
                  <a:lnTo>
                    <a:pt x="90660" y="817742"/>
                  </a:lnTo>
                  <a:lnTo>
                    <a:pt x="94356" y="814046"/>
                  </a:lnTo>
                  <a:lnTo>
                    <a:pt x="94356" y="810360"/>
                  </a:lnTo>
                  <a:lnTo>
                    <a:pt x="98042" y="806664"/>
                  </a:lnTo>
                  <a:lnTo>
                    <a:pt x="105424" y="795596"/>
                  </a:lnTo>
                  <a:lnTo>
                    <a:pt x="112796" y="795596"/>
                  </a:lnTo>
                  <a:lnTo>
                    <a:pt x="112796" y="802978"/>
                  </a:lnTo>
                  <a:lnTo>
                    <a:pt x="116492" y="810360"/>
                  </a:lnTo>
                  <a:lnTo>
                    <a:pt x="120178" y="806664"/>
                  </a:lnTo>
                  <a:lnTo>
                    <a:pt x="127560" y="817742"/>
                  </a:lnTo>
                  <a:lnTo>
                    <a:pt x="131246" y="817742"/>
                  </a:lnTo>
                  <a:lnTo>
                    <a:pt x="134933" y="814046"/>
                  </a:lnTo>
                  <a:lnTo>
                    <a:pt x="138628" y="817742"/>
                  </a:lnTo>
                  <a:lnTo>
                    <a:pt x="142314" y="814046"/>
                  </a:lnTo>
                  <a:lnTo>
                    <a:pt x="146000" y="810360"/>
                  </a:lnTo>
                  <a:lnTo>
                    <a:pt x="146000" y="814046"/>
                  </a:lnTo>
                  <a:lnTo>
                    <a:pt x="146000" y="821428"/>
                  </a:lnTo>
                  <a:lnTo>
                    <a:pt x="149696" y="817742"/>
                  </a:lnTo>
                  <a:lnTo>
                    <a:pt x="153382" y="814046"/>
                  </a:lnTo>
                  <a:lnTo>
                    <a:pt x="153382" y="810360"/>
                  </a:lnTo>
                  <a:lnTo>
                    <a:pt x="157069" y="810360"/>
                  </a:lnTo>
                  <a:lnTo>
                    <a:pt x="160755" y="810360"/>
                  </a:lnTo>
                  <a:lnTo>
                    <a:pt x="168137" y="806664"/>
                  </a:lnTo>
                  <a:lnTo>
                    <a:pt x="168137" y="810360"/>
                  </a:lnTo>
                  <a:lnTo>
                    <a:pt x="168137" y="817742"/>
                  </a:lnTo>
                  <a:lnTo>
                    <a:pt x="175518" y="821428"/>
                  </a:lnTo>
                  <a:lnTo>
                    <a:pt x="175518" y="817742"/>
                  </a:lnTo>
                  <a:lnTo>
                    <a:pt x="179205" y="817742"/>
                  </a:lnTo>
                  <a:lnTo>
                    <a:pt x="182891" y="817742"/>
                  </a:lnTo>
                  <a:lnTo>
                    <a:pt x="182891" y="821428"/>
                  </a:lnTo>
                  <a:lnTo>
                    <a:pt x="190273" y="817742"/>
                  </a:lnTo>
                  <a:lnTo>
                    <a:pt x="193959" y="814046"/>
                  </a:lnTo>
                  <a:lnTo>
                    <a:pt x="197655" y="814046"/>
                  </a:lnTo>
                  <a:lnTo>
                    <a:pt x="201341" y="814046"/>
                  </a:lnTo>
                  <a:lnTo>
                    <a:pt x="205027" y="814046"/>
                  </a:lnTo>
                  <a:lnTo>
                    <a:pt x="208723" y="814046"/>
                  </a:lnTo>
                  <a:lnTo>
                    <a:pt x="212409" y="817742"/>
                  </a:lnTo>
                  <a:lnTo>
                    <a:pt x="219791" y="821428"/>
                  </a:lnTo>
                  <a:lnTo>
                    <a:pt x="223477" y="821428"/>
                  </a:lnTo>
                  <a:lnTo>
                    <a:pt x="223477" y="817742"/>
                  </a:lnTo>
                  <a:lnTo>
                    <a:pt x="230859" y="817742"/>
                  </a:lnTo>
                  <a:lnTo>
                    <a:pt x="234545" y="817742"/>
                  </a:lnTo>
                  <a:lnTo>
                    <a:pt x="234545" y="810360"/>
                  </a:lnTo>
                  <a:lnTo>
                    <a:pt x="238231" y="802978"/>
                  </a:lnTo>
                  <a:lnTo>
                    <a:pt x="227163" y="795596"/>
                  </a:lnTo>
                  <a:lnTo>
                    <a:pt x="223477" y="795596"/>
                  </a:lnTo>
                  <a:lnTo>
                    <a:pt x="219791" y="791910"/>
                  </a:lnTo>
                  <a:lnTo>
                    <a:pt x="219791" y="788214"/>
                  </a:lnTo>
                  <a:lnTo>
                    <a:pt x="216095" y="788214"/>
                  </a:lnTo>
                  <a:lnTo>
                    <a:pt x="212409" y="784528"/>
                  </a:lnTo>
                  <a:lnTo>
                    <a:pt x="212409" y="780832"/>
                  </a:lnTo>
                  <a:lnTo>
                    <a:pt x="212409" y="777146"/>
                  </a:lnTo>
                  <a:lnTo>
                    <a:pt x="216095" y="773450"/>
                  </a:lnTo>
                  <a:lnTo>
                    <a:pt x="219791" y="777146"/>
                  </a:lnTo>
                  <a:lnTo>
                    <a:pt x="227163" y="780832"/>
                  </a:lnTo>
                  <a:lnTo>
                    <a:pt x="230859" y="773450"/>
                  </a:lnTo>
                  <a:lnTo>
                    <a:pt x="234545" y="769764"/>
                  </a:lnTo>
                  <a:lnTo>
                    <a:pt x="234545" y="766069"/>
                  </a:lnTo>
                  <a:lnTo>
                    <a:pt x="238231" y="766069"/>
                  </a:lnTo>
                  <a:lnTo>
                    <a:pt x="234545" y="762382"/>
                  </a:lnTo>
                  <a:lnTo>
                    <a:pt x="234545" y="758687"/>
                  </a:lnTo>
                  <a:lnTo>
                    <a:pt x="230859" y="755000"/>
                  </a:lnTo>
                  <a:lnTo>
                    <a:pt x="230859" y="751305"/>
                  </a:lnTo>
                  <a:lnTo>
                    <a:pt x="230859" y="747619"/>
                  </a:lnTo>
                  <a:lnTo>
                    <a:pt x="234545" y="743932"/>
                  </a:lnTo>
                  <a:lnTo>
                    <a:pt x="241917" y="743932"/>
                  </a:lnTo>
                  <a:lnTo>
                    <a:pt x="245613" y="740237"/>
                  </a:lnTo>
                  <a:lnTo>
                    <a:pt x="249299" y="740237"/>
                  </a:lnTo>
                  <a:lnTo>
                    <a:pt x="249299" y="736551"/>
                  </a:lnTo>
                  <a:lnTo>
                    <a:pt x="252985" y="736551"/>
                  </a:lnTo>
                  <a:lnTo>
                    <a:pt x="252985" y="740237"/>
                  </a:lnTo>
                  <a:lnTo>
                    <a:pt x="260367" y="743932"/>
                  </a:lnTo>
                  <a:lnTo>
                    <a:pt x="260367" y="736551"/>
                  </a:lnTo>
                  <a:lnTo>
                    <a:pt x="260367" y="732855"/>
                  </a:lnTo>
                  <a:lnTo>
                    <a:pt x="264053" y="732855"/>
                  </a:lnTo>
                  <a:lnTo>
                    <a:pt x="264053" y="729169"/>
                  </a:lnTo>
                  <a:lnTo>
                    <a:pt x="267749" y="725473"/>
                  </a:lnTo>
                  <a:lnTo>
                    <a:pt x="267749" y="718091"/>
                  </a:lnTo>
                  <a:lnTo>
                    <a:pt x="264053" y="714405"/>
                  </a:lnTo>
                  <a:lnTo>
                    <a:pt x="264053" y="718091"/>
                  </a:lnTo>
                  <a:lnTo>
                    <a:pt x="260367" y="710709"/>
                  </a:lnTo>
                  <a:lnTo>
                    <a:pt x="260367" y="707023"/>
                  </a:lnTo>
                  <a:lnTo>
                    <a:pt x="260367" y="703327"/>
                  </a:lnTo>
                  <a:lnTo>
                    <a:pt x="264053" y="699641"/>
                  </a:lnTo>
                  <a:lnTo>
                    <a:pt x="264053" y="695955"/>
                  </a:lnTo>
                  <a:lnTo>
                    <a:pt x="267749" y="692259"/>
                  </a:lnTo>
                  <a:lnTo>
                    <a:pt x="267749" y="688573"/>
                  </a:lnTo>
                  <a:lnTo>
                    <a:pt x="264053" y="684877"/>
                  </a:lnTo>
                  <a:lnTo>
                    <a:pt x="260367" y="684877"/>
                  </a:lnTo>
                  <a:lnTo>
                    <a:pt x="256681" y="684877"/>
                  </a:lnTo>
                  <a:lnTo>
                    <a:pt x="249299" y="684877"/>
                  </a:lnTo>
                  <a:lnTo>
                    <a:pt x="249299" y="681191"/>
                  </a:lnTo>
                  <a:lnTo>
                    <a:pt x="249299" y="677496"/>
                  </a:lnTo>
                  <a:lnTo>
                    <a:pt x="245613" y="681191"/>
                  </a:lnTo>
                  <a:lnTo>
                    <a:pt x="241917" y="677496"/>
                  </a:lnTo>
                  <a:lnTo>
                    <a:pt x="230859" y="673809"/>
                  </a:lnTo>
                  <a:lnTo>
                    <a:pt x="230859" y="666428"/>
                  </a:lnTo>
                  <a:lnTo>
                    <a:pt x="230859" y="662732"/>
                  </a:lnTo>
                  <a:lnTo>
                    <a:pt x="223477" y="659046"/>
                  </a:lnTo>
                  <a:lnTo>
                    <a:pt x="227163" y="655350"/>
                  </a:lnTo>
                  <a:lnTo>
                    <a:pt x="230859" y="655350"/>
                  </a:lnTo>
                  <a:lnTo>
                    <a:pt x="230859" y="651664"/>
                  </a:lnTo>
                  <a:lnTo>
                    <a:pt x="234545" y="636900"/>
                  </a:lnTo>
                  <a:lnTo>
                    <a:pt x="230859" y="636900"/>
                  </a:lnTo>
                  <a:lnTo>
                    <a:pt x="216095" y="636900"/>
                  </a:lnTo>
                  <a:lnTo>
                    <a:pt x="212409" y="636900"/>
                  </a:lnTo>
                  <a:lnTo>
                    <a:pt x="208723" y="640596"/>
                  </a:lnTo>
                  <a:lnTo>
                    <a:pt x="205027" y="640596"/>
                  </a:lnTo>
                  <a:lnTo>
                    <a:pt x="201341" y="636900"/>
                  </a:lnTo>
                  <a:lnTo>
                    <a:pt x="201341" y="633214"/>
                  </a:lnTo>
                  <a:lnTo>
                    <a:pt x="197655" y="633214"/>
                  </a:lnTo>
                  <a:lnTo>
                    <a:pt x="190273" y="636900"/>
                  </a:lnTo>
                  <a:lnTo>
                    <a:pt x="186587" y="636900"/>
                  </a:lnTo>
                  <a:lnTo>
                    <a:pt x="182891" y="640596"/>
                  </a:lnTo>
                  <a:lnTo>
                    <a:pt x="179205" y="640596"/>
                  </a:lnTo>
                  <a:lnTo>
                    <a:pt x="175518" y="644282"/>
                  </a:lnTo>
                  <a:lnTo>
                    <a:pt x="171823" y="644282"/>
                  </a:lnTo>
                  <a:lnTo>
                    <a:pt x="168137" y="640596"/>
                  </a:lnTo>
                  <a:lnTo>
                    <a:pt x="175518" y="633214"/>
                  </a:lnTo>
                  <a:lnTo>
                    <a:pt x="175518" y="622136"/>
                  </a:lnTo>
                  <a:lnTo>
                    <a:pt x="171823" y="622136"/>
                  </a:lnTo>
                  <a:lnTo>
                    <a:pt x="168137" y="618450"/>
                  </a:lnTo>
                  <a:lnTo>
                    <a:pt x="168137" y="614754"/>
                  </a:lnTo>
                  <a:lnTo>
                    <a:pt x="164450" y="614754"/>
                  </a:lnTo>
                  <a:lnTo>
                    <a:pt x="164450" y="611068"/>
                  </a:lnTo>
                  <a:lnTo>
                    <a:pt x="160755" y="611068"/>
                  </a:lnTo>
                  <a:lnTo>
                    <a:pt x="160755" y="607373"/>
                  </a:lnTo>
                  <a:lnTo>
                    <a:pt x="160755" y="603686"/>
                  </a:lnTo>
                  <a:lnTo>
                    <a:pt x="160755" y="600000"/>
                  </a:lnTo>
                  <a:lnTo>
                    <a:pt x="160755" y="592618"/>
                  </a:lnTo>
                  <a:lnTo>
                    <a:pt x="157069" y="588923"/>
                  </a:lnTo>
                  <a:lnTo>
                    <a:pt x="153382" y="581541"/>
                  </a:lnTo>
                  <a:lnTo>
                    <a:pt x="157069" y="581541"/>
                  </a:lnTo>
                  <a:lnTo>
                    <a:pt x="164450" y="581541"/>
                  </a:lnTo>
                  <a:lnTo>
                    <a:pt x="168137" y="581541"/>
                  </a:lnTo>
                  <a:lnTo>
                    <a:pt x="168137" y="577854"/>
                  </a:lnTo>
                  <a:lnTo>
                    <a:pt x="175518" y="574159"/>
                  </a:lnTo>
                  <a:lnTo>
                    <a:pt x="179205" y="570473"/>
                  </a:lnTo>
                  <a:lnTo>
                    <a:pt x="179205" y="574159"/>
                  </a:lnTo>
                  <a:lnTo>
                    <a:pt x="186587" y="585236"/>
                  </a:lnTo>
                  <a:lnTo>
                    <a:pt x="190273" y="592618"/>
                  </a:lnTo>
                  <a:lnTo>
                    <a:pt x="190273" y="596304"/>
                  </a:lnTo>
                  <a:lnTo>
                    <a:pt x="193959" y="592618"/>
                  </a:lnTo>
                  <a:lnTo>
                    <a:pt x="197655" y="592618"/>
                  </a:lnTo>
                  <a:lnTo>
                    <a:pt x="197655" y="596304"/>
                  </a:lnTo>
                  <a:lnTo>
                    <a:pt x="201341" y="596304"/>
                  </a:lnTo>
                  <a:lnTo>
                    <a:pt x="201341" y="592618"/>
                  </a:lnTo>
                  <a:lnTo>
                    <a:pt x="205027" y="588923"/>
                  </a:lnTo>
                  <a:lnTo>
                    <a:pt x="205027" y="585236"/>
                  </a:lnTo>
                  <a:lnTo>
                    <a:pt x="208723" y="581541"/>
                  </a:lnTo>
                  <a:lnTo>
                    <a:pt x="208723" y="577854"/>
                  </a:lnTo>
                  <a:lnTo>
                    <a:pt x="208723" y="574159"/>
                  </a:lnTo>
                  <a:lnTo>
                    <a:pt x="212409" y="570473"/>
                  </a:lnTo>
                  <a:lnTo>
                    <a:pt x="212409" y="566777"/>
                  </a:lnTo>
                  <a:lnTo>
                    <a:pt x="216095" y="563091"/>
                  </a:lnTo>
                  <a:lnTo>
                    <a:pt x="216095" y="559395"/>
                  </a:lnTo>
                  <a:lnTo>
                    <a:pt x="219791" y="555709"/>
                  </a:lnTo>
                  <a:lnTo>
                    <a:pt x="227163" y="552023"/>
                  </a:lnTo>
                  <a:lnTo>
                    <a:pt x="230859" y="548327"/>
                  </a:lnTo>
                  <a:lnTo>
                    <a:pt x="238231" y="544641"/>
                  </a:lnTo>
                  <a:lnTo>
                    <a:pt x="241917" y="544641"/>
                  </a:lnTo>
                  <a:lnTo>
                    <a:pt x="245613" y="540945"/>
                  </a:lnTo>
                  <a:lnTo>
                    <a:pt x="249299" y="537259"/>
                  </a:lnTo>
                  <a:lnTo>
                    <a:pt x="249299" y="533563"/>
                  </a:lnTo>
                  <a:lnTo>
                    <a:pt x="252985" y="529877"/>
                  </a:lnTo>
                  <a:lnTo>
                    <a:pt x="256681" y="529877"/>
                  </a:lnTo>
                  <a:lnTo>
                    <a:pt x="260367" y="529877"/>
                  </a:lnTo>
                  <a:lnTo>
                    <a:pt x="264053" y="526181"/>
                  </a:lnTo>
                  <a:lnTo>
                    <a:pt x="264053" y="522495"/>
                  </a:lnTo>
                  <a:lnTo>
                    <a:pt x="264053" y="518799"/>
                  </a:lnTo>
                  <a:lnTo>
                    <a:pt x="267749" y="515113"/>
                  </a:lnTo>
                  <a:lnTo>
                    <a:pt x="271435" y="515113"/>
                  </a:lnTo>
                  <a:lnTo>
                    <a:pt x="275121" y="515113"/>
                  </a:lnTo>
                  <a:lnTo>
                    <a:pt x="278817" y="511427"/>
                  </a:lnTo>
                  <a:lnTo>
                    <a:pt x="282503" y="511427"/>
                  </a:lnTo>
                  <a:lnTo>
                    <a:pt x="282503" y="507731"/>
                  </a:lnTo>
                  <a:lnTo>
                    <a:pt x="289885" y="507731"/>
                  </a:lnTo>
                  <a:lnTo>
                    <a:pt x="293571" y="504045"/>
                  </a:lnTo>
                  <a:lnTo>
                    <a:pt x="297258" y="504045"/>
                  </a:lnTo>
                  <a:lnTo>
                    <a:pt x="304639" y="504045"/>
                  </a:lnTo>
                  <a:lnTo>
                    <a:pt x="300944" y="500350"/>
                  </a:lnTo>
                  <a:lnTo>
                    <a:pt x="304639" y="500350"/>
                  </a:lnTo>
                  <a:lnTo>
                    <a:pt x="308326" y="496663"/>
                  </a:lnTo>
                  <a:lnTo>
                    <a:pt x="293571" y="485586"/>
                  </a:lnTo>
                  <a:lnTo>
                    <a:pt x="289885" y="485586"/>
                  </a:lnTo>
                  <a:lnTo>
                    <a:pt x="312012" y="474518"/>
                  </a:lnTo>
                  <a:lnTo>
                    <a:pt x="304639" y="467136"/>
                  </a:lnTo>
                  <a:lnTo>
                    <a:pt x="282503" y="478204"/>
                  </a:lnTo>
                  <a:lnTo>
                    <a:pt x="278817" y="481900"/>
                  </a:lnTo>
                  <a:lnTo>
                    <a:pt x="275121" y="485586"/>
                  </a:lnTo>
                  <a:lnTo>
                    <a:pt x="271435" y="485586"/>
                  </a:lnTo>
                  <a:lnTo>
                    <a:pt x="267749" y="485586"/>
                  </a:lnTo>
                  <a:lnTo>
                    <a:pt x="260367" y="485586"/>
                  </a:lnTo>
                  <a:lnTo>
                    <a:pt x="260367" y="481900"/>
                  </a:lnTo>
                  <a:lnTo>
                    <a:pt x="256681" y="478204"/>
                  </a:lnTo>
                  <a:lnTo>
                    <a:pt x="256681" y="452372"/>
                  </a:lnTo>
                  <a:lnTo>
                    <a:pt x="252985" y="448686"/>
                  </a:lnTo>
                  <a:lnTo>
                    <a:pt x="256681" y="444990"/>
                  </a:lnTo>
                  <a:lnTo>
                    <a:pt x="264053" y="444990"/>
                  </a:lnTo>
                  <a:lnTo>
                    <a:pt x="256681" y="430227"/>
                  </a:lnTo>
                  <a:lnTo>
                    <a:pt x="264053" y="426540"/>
                  </a:lnTo>
                  <a:lnTo>
                    <a:pt x="267749" y="419158"/>
                  </a:lnTo>
                  <a:lnTo>
                    <a:pt x="282503" y="404395"/>
                  </a:lnTo>
                  <a:lnTo>
                    <a:pt x="282503" y="400709"/>
                  </a:lnTo>
                  <a:lnTo>
                    <a:pt x="286189" y="397013"/>
                  </a:lnTo>
                  <a:lnTo>
                    <a:pt x="293571" y="385945"/>
                  </a:lnTo>
                  <a:lnTo>
                    <a:pt x="297258" y="378563"/>
                  </a:lnTo>
                  <a:lnTo>
                    <a:pt x="297258" y="374867"/>
                  </a:lnTo>
                  <a:lnTo>
                    <a:pt x="300944" y="371181"/>
                  </a:lnTo>
                  <a:lnTo>
                    <a:pt x="300944" y="367495"/>
                  </a:lnTo>
                  <a:lnTo>
                    <a:pt x="300944" y="363799"/>
                  </a:lnTo>
                  <a:lnTo>
                    <a:pt x="304639" y="360113"/>
                  </a:lnTo>
                  <a:lnTo>
                    <a:pt x="304639" y="356417"/>
                  </a:lnTo>
                  <a:lnTo>
                    <a:pt x="308326" y="356417"/>
                  </a:lnTo>
                  <a:lnTo>
                    <a:pt x="312012" y="356417"/>
                  </a:lnTo>
                  <a:lnTo>
                    <a:pt x="315707" y="356417"/>
                  </a:lnTo>
                  <a:lnTo>
                    <a:pt x="315707" y="352731"/>
                  </a:lnTo>
                  <a:lnTo>
                    <a:pt x="334148" y="334272"/>
                  </a:lnTo>
                  <a:lnTo>
                    <a:pt x="330462" y="323204"/>
                  </a:lnTo>
                  <a:lnTo>
                    <a:pt x="326775" y="315822"/>
                  </a:lnTo>
                  <a:lnTo>
                    <a:pt x="326775" y="312136"/>
                  </a:lnTo>
                  <a:lnTo>
                    <a:pt x="330462" y="308440"/>
                  </a:lnTo>
                  <a:lnTo>
                    <a:pt x="334148" y="304754"/>
                  </a:lnTo>
                  <a:lnTo>
                    <a:pt x="323080" y="304754"/>
                  </a:lnTo>
                  <a:lnTo>
                    <a:pt x="323080" y="301058"/>
                  </a:lnTo>
                  <a:lnTo>
                    <a:pt x="326775" y="278912"/>
                  </a:lnTo>
                  <a:lnTo>
                    <a:pt x="326775" y="267844"/>
                  </a:lnTo>
                  <a:lnTo>
                    <a:pt x="330462" y="267844"/>
                  </a:lnTo>
                  <a:lnTo>
                    <a:pt x="326775" y="260462"/>
                  </a:lnTo>
                  <a:lnTo>
                    <a:pt x="330462" y="256776"/>
                  </a:lnTo>
                  <a:lnTo>
                    <a:pt x="330462" y="245699"/>
                  </a:lnTo>
                  <a:lnTo>
                    <a:pt x="326775" y="238317"/>
                  </a:lnTo>
                  <a:lnTo>
                    <a:pt x="323080" y="230935"/>
                  </a:lnTo>
                  <a:lnTo>
                    <a:pt x="326775" y="223563"/>
                  </a:lnTo>
                  <a:lnTo>
                    <a:pt x="323080" y="219867"/>
                  </a:lnTo>
                  <a:lnTo>
                    <a:pt x="323080" y="212485"/>
                  </a:lnTo>
                  <a:lnTo>
                    <a:pt x="323080" y="208799"/>
                  </a:lnTo>
                  <a:lnTo>
                    <a:pt x="319394" y="201417"/>
                  </a:lnTo>
                  <a:lnTo>
                    <a:pt x="312012" y="197721"/>
                  </a:lnTo>
                  <a:lnTo>
                    <a:pt x="304639" y="194035"/>
                  </a:lnTo>
                  <a:lnTo>
                    <a:pt x="297258" y="171890"/>
                  </a:lnTo>
                  <a:lnTo>
                    <a:pt x="289885" y="168203"/>
                  </a:lnTo>
                  <a:lnTo>
                    <a:pt x="286189" y="164508"/>
                  </a:lnTo>
                  <a:lnTo>
                    <a:pt x="282503" y="160821"/>
                  </a:lnTo>
                  <a:lnTo>
                    <a:pt x="278817" y="153439"/>
                  </a:lnTo>
                  <a:lnTo>
                    <a:pt x="278817" y="149744"/>
                  </a:lnTo>
                  <a:lnTo>
                    <a:pt x="275121" y="149744"/>
                  </a:lnTo>
                  <a:lnTo>
                    <a:pt x="264053" y="142362"/>
                  </a:lnTo>
                  <a:lnTo>
                    <a:pt x="264053" y="134980"/>
                  </a:lnTo>
                  <a:lnTo>
                    <a:pt x="264053" y="127608"/>
                  </a:lnTo>
                  <a:lnTo>
                    <a:pt x="267749" y="127608"/>
                  </a:lnTo>
                  <a:lnTo>
                    <a:pt x="267749" y="123912"/>
                  </a:lnTo>
                  <a:lnTo>
                    <a:pt x="271435" y="112844"/>
                  </a:lnTo>
                  <a:lnTo>
                    <a:pt x="271435" y="109148"/>
                  </a:lnTo>
                  <a:lnTo>
                    <a:pt x="275121" y="105462"/>
                  </a:lnTo>
                  <a:lnTo>
                    <a:pt x="275121" y="101766"/>
                  </a:lnTo>
                  <a:lnTo>
                    <a:pt x="267749" y="98080"/>
                  </a:lnTo>
                  <a:lnTo>
                    <a:pt x="264053" y="98080"/>
                  </a:lnTo>
                  <a:lnTo>
                    <a:pt x="260367" y="98080"/>
                  </a:lnTo>
                  <a:lnTo>
                    <a:pt x="260367" y="94384"/>
                  </a:lnTo>
                  <a:lnTo>
                    <a:pt x="256681" y="94384"/>
                  </a:lnTo>
                  <a:lnTo>
                    <a:pt x="252985" y="94384"/>
                  </a:lnTo>
                  <a:lnTo>
                    <a:pt x="234545" y="87003"/>
                  </a:lnTo>
                  <a:lnTo>
                    <a:pt x="230859" y="83316"/>
                  </a:lnTo>
                  <a:lnTo>
                    <a:pt x="230859" y="79630"/>
                  </a:lnTo>
                  <a:lnTo>
                    <a:pt x="230859" y="75935"/>
                  </a:lnTo>
                  <a:lnTo>
                    <a:pt x="234545" y="72248"/>
                  </a:lnTo>
                  <a:lnTo>
                    <a:pt x="230859" y="68553"/>
                  </a:lnTo>
                  <a:lnTo>
                    <a:pt x="230859" y="64867"/>
                  </a:lnTo>
                  <a:lnTo>
                    <a:pt x="230859" y="57485"/>
                  </a:lnTo>
                  <a:lnTo>
                    <a:pt x="234545" y="57485"/>
                  </a:lnTo>
                  <a:lnTo>
                    <a:pt x="238231" y="57485"/>
                  </a:lnTo>
                  <a:lnTo>
                    <a:pt x="238231" y="53789"/>
                  </a:lnTo>
                  <a:lnTo>
                    <a:pt x="234545" y="53789"/>
                  </a:lnTo>
                  <a:lnTo>
                    <a:pt x="234545" y="50103"/>
                  </a:lnTo>
                  <a:lnTo>
                    <a:pt x="234545" y="46407"/>
                  </a:lnTo>
                  <a:lnTo>
                    <a:pt x="230859" y="46407"/>
                  </a:lnTo>
                  <a:lnTo>
                    <a:pt x="219791" y="39025"/>
                  </a:lnTo>
                  <a:lnTo>
                    <a:pt x="216095" y="35339"/>
                  </a:lnTo>
                  <a:lnTo>
                    <a:pt x="208723" y="35339"/>
                  </a:lnTo>
                  <a:lnTo>
                    <a:pt x="205027" y="35339"/>
                  </a:lnTo>
                  <a:lnTo>
                    <a:pt x="193959" y="35339"/>
                  </a:lnTo>
                  <a:lnTo>
                    <a:pt x="193959" y="31653"/>
                  </a:lnTo>
                  <a:lnTo>
                    <a:pt x="190273" y="35339"/>
                  </a:lnTo>
                  <a:lnTo>
                    <a:pt x="186587" y="35339"/>
                  </a:lnTo>
                  <a:lnTo>
                    <a:pt x="182891" y="31653"/>
                  </a:lnTo>
                  <a:lnTo>
                    <a:pt x="182891" y="27957"/>
                  </a:lnTo>
                  <a:lnTo>
                    <a:pt x="179205" y="27957"/>
                  </a:lnTo>
                  <a:lnTo>
                    <a:pt x="175518" y="24271"/>
                  </a:lnTo>
                  <a:lnTo>
                    <a:pt x="175518" y="20575"/>
                  </a:lnTo>
                  <a:lnTo>
                    <a:pt x="171823" y="16889"/>
                  </a:lnTo>
                  <a:lnTo>
                    <a:pt x="171823" y="13193"/>
                  </a:lnTo>
                  <a:lnTo>
                    <a:pt x="168137" y="9507"/>
                  </a:lnTo>
                  <a:lnTo>
                    <a:pt x="164450" y="5812"/>
                  </a:lnTo>
                  <a:lnTo>
                    <a:pt x="160755" y="5812"/>
                  </a:lnTo>
                  <a:lnTo>
                    <a:pt x="153382" y="5812"/>
                  </a:lnTo>
                  <a:close/>
                </a:path>
              </a:pathLst>
            </a:custGeom>
            <a:solidFill>
              <a:srgbClr val="59943A"/>
            </a:solidFill>
            <a:ln w="12821" cap="flat">
              <a:solidFill>
                <a:schemeClr val="bg1"/>
              </a:solidFill>
              <a:prstDash val="solid"/>
              <a:round/>
            </a:ln>
          </p:spPr>
          <p:txBody>
            <a:bodyPr rot="0" spcFirstLastPara="0" vertOverflow="overflow" horzOverflow="overflow" vert="horz" wrap="square" lIns="180000" tIns="45720" rIns="91440" bIns="4572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76</a:t>
              </a:r>
            </a:p>
          </p:txBody>
        </p:sp>
        <p:sp>
          <p:nvSpPr>
            <p:cNvPr id="244" name="Freeform: Shape 243">
              <a:extLst>
                <a:ext uri="{FF2B5EF4-FFF2-40B4-BE49-F238E27FC236}">
                  <a16:creationId xmlns:a16="http://schemas.microsoft.com/office/drawing/2014/main" id="{D6054ACC-13EE-49CF-83CA-7AC74978A686}"/>
                </a:ext>
              </a:extLst>
            </p:cNvPr>
            <p:cNvSpPr/>
            <p:nvPr/>
          </p:nvSpPr>
          <p:spPr>
            <a:xfrm>
              <a:off x="5668563" y="3634360"/>
              <a:ext cx="584161" cy="476554"/>
            </a:xfrm>
            <a:custGeom>
              <a:avLst/>
              <a:gdLst>
                <a:gd name="connsiteX0" fmla="*/ 256678 w 361950"/>
                <a:gd name="connsiteY0" fmla="*/ 5812 h 295275"/>
                <a:gd name="connsiteX1" fmla="*/ 252982 w 361950"/>
                <a:gd name="connsiteY1" fmla="*/ 9502 h 295275"/>
                <a:gd name="connsiteX2" fmla="*/ 227160 w 361950"/>
                <a:gd name="connsiteY2" fmla="*/ 16882 h 295275"/>
                <a:gd name="connsiteX3" fmla="*/ 223474 w 361950"/>
                <a:gd name="connsiteY3" fmla="*/ 16882 h 295275"/>
                <a:gd name="connsiteX4" fmla="*/ 219788 w 361950"/>
                <a:gd name="connsiteY4" fmla="*/ 20573 h 295275"/>
                <a:gd name="connsiteX5" fmla="*/ 190270 w 361950"/>
                <a:gd name="connsiteY5" fmla="*/ 46407 h 295275"/>
                <a:gd name="connsiteX6" fmla="*/ 190270 w 361950"/>
                <a:gd name="connsiteY6" fmla="*/ 50098 h 295275"/>
                <a:gd name="connsiteX7" fmla="*/ 186584 w 361950"/>
                <a:gd name="connsiteY7" fmla="*/ 50098 h 295275"/>
                <a:gd name="connsiteX8" fmla="*/ 171820 w 361950"/>
                <a:gd name="connsiteY8" fmla="*/ 50098 h 295275"/>
                <a:gd name="connsiteX9" fmla="*/ 168134 w 361950"/>
                <a:gd name="connsiteY9" fmla="*/ 50098 h 295275"/>
                <a:gd name="connsiteX10" fmla="*/ 168134 w 361950"/>
                <a:gd name="connsiteY10" fmla="*/ 53788 h 295275"/>
                <a:gd name="connsiteX11" fmla="*/ 164448 w 361950"/>
                <a:gd name="connsiteY11" fmla="*/ 64860 h 295275"/>
                <a:gd name="connsiteX12" fmla="*/ 164448 w 361950"/>
                <a:gd name="connsiteY12" fmla="*/ 61170 h 295275"/>
                <a:gd name="connsiteX13" fmla="*/ 160761 w 361950"/>
                <a:gd name="connsiteY13" fmla="*/ 68551 h 295275"/>
                <a:gd name="connsiteX14" fmla="*/ 160761 w 361950"/>
                <a:gd name="connsiteY14" fmla="*/ 72242 h 295275"/>
                <a:gd name="connsiteX15" fmla="*/ 160761 w 361950"/>
                <a:gd name="connsiteY15" fmla="*/ 75932 h 295275"/>
                <a:gd name="connsiteX16" fmla="*/ 160761 w 361950"/>
                <a:gd name="connsiteY16" fmla="*/ 79623 h 295275"/>
                <a:gd name="connsiteX17" fmla="*/ 160761 w 361950"/>
                <a:gd name="connsiteY17" fmla="*/ 83313 h 295275"/>
                <a:gd name="connsiteX18" fmla="*/ 153380 w 361950"/>
                <a:gd name="connsiteY18" fmla="*/ 87004 h 295275"/>
                <a:gd name="connsiteX19" fmla="*/ 149693 w 361950"/>
                <a:gd name="connsiteY19" fmla="*/ 87004 h 295275"/>
                <a:gd name="connsiteX20" fmla="*/ 145998 w 361950"/>
                <a:gd name="connsiteY20" fmla="*/ 90695 h 295275"/>
                <a:gd name="connsiteX21" fmla="*/ 142312 w 361950"/>
                <a:gd name="connsiteY21" fmla="*/ 98075 h 295275"/>
                <a:gd name="connsiteX22" fmla="*/ 138625 w 361950"/>
                <a:gd name="connsiteY22" fmla="*/ 98075 h 295275"/>
                <a:gd name="connsiteX23" fmla="*/ 134930 w 361950"/>
                <a:gd name="connsiteY23" fmla="*/ 98075 h 295275"/>
                <a:gd name="connsiteX24" fmla="*/ 134930 w 361950"/>
                <a:gd name="connsiteY24" fmla="*/ 101765 h 295275"/>
                <a:gd name="connsiteX25" fmla="*/ 72217 w 361950"/>
                <a:gd name="connsiteY25" fmla="*/ 142362 h 295275"/>
                <a:gd name="connsiteX26" fmla="*/ 61149 w 361950"/>
                <a:gd name="connsiteY26" fmla="*/ 149743 h 295275"/>
                <a:gd name="connsiteX27" fmla="*/ 61149 w 361950"/>
                <a:gd name="connsiteY27" fmla="*/ 153434 h 295275"/>
                <a:gd name="connsiteX28" fmla="*/ 57460 w 361950"/>
                <a:gd name="connsiteY28" fmla="*/ 153434 h 295275"/>
                <a:gd name="connsiteX29" fmla="*/ 57460 w 361950"/>
                <a:gd name="connsiteY29" fmla="*/ 157125 h 295275"/>
                <a:gd name="connsiteX30" fmla="*/ 53771 w 361950"/>
                <a:gd name="connsiteY30" fmla="*/ 157125 h 295275"/>
                <a:gd name="connsiteX31" fmla="*/ 51580 w 361950"/>
                <a:gd name="connsiteY31" fmla="*/ 157125 h 295275"/>
                <a:gd name="connsiteX32" fmla="*/ 27947 w 361950"/>
                <a:gd name="connsiteY32" fmla="*/ 171887 h 295275"/>
                <a:gd name="connsiteX33" fmla="*/ 24257 w 361950"/>
                <a:gd name="connsiteY33" fmla="*/ 175578 h 295275"/>
                <a:gd name="connsiteX34" fmla="*/ 9501 w 361950"/>
                <a:gd name="connsiteY34" fmla="*/ 186648 h 295275"/>
                <a:gd name="connsiteX35" fmla="*/ 5812 w 361950"/>
                <a:gd name="connsiteY35" fmla="*/ 186648 h 295275"/>
                <a:gd name="connsiteX36" fmla="*/ 5812 w 361950"/>
                <a:gd name="connsiteY36" fmla="*/ 190339 h 295275"/>
                <a:gd name="connsiteX37" fmla="*/ 13190 w 361950"/>
                <a:gd name="connsiteY37" fmla="*/ 197723 h 295275"/>
                <a:gd name="connsiteX38" fmla="*/ 13190 w 361950"/>
                <a:gd name="connsiteY38" fmla="*/ 205105 h 295275"/>
                <a:gd name="connsiteX39" fmla="*/ 13190 w 361950"/>
                <a:gd name="connsiteY39" fmla="*/ 216173 h 295275"/>
                <a:gd name="connsiteX40" fmla="*/ 9501 w 361950"/>
                <a:gd name="connsiteY40" fmla="*/ 219869 h 295275"/>
                <a:gd name="connsiteX41" fmla="*/ 13190 w 361950"/>
                <a:gd name="connsiteY41" fmla="*/ 219869 h 295275"/>
                <a:gd name="connsiteX42" fmla="*/ 16879 w 361950"/>
                <a:gd name="connsiteY42" fmla="*/ 227241 h 295275"/>
                <a:gd name="connsiteX43" fmla="*/ 13190 w 361950"/>
                <a:gd name="connsiteY43" fmla="*/ 227241 h 295275"/>
                <a:gd name="connsiteX44" fmla="*/ 16879 w 361950"/>
                <a:gd name="connsiteY44" fmla="*/ 230937 h 295275"/>
                <a:gd name="connsiteX45" fmla="*/ 20568 w 361950"/>
                <a:gd name="connsiteY45" fmla="*/ 227241 h 295275"/>
                <a:gd name="connsiteX46" fmla="*/ 24257 w 361950"/>
                <a:gd name="connsiteY46" fmla="*/ 227241 h 295275"/>
                <a:gd name="connsiteX47" fmla="*/ 39014 w 361950"/>
                <a:gd name="connsiteY47" fmla="*/ 223555 h 295275"/>
                <a:gd name="connsiteX48" fmla="*/ 42703 w 361950"/>
                <a:gd name="connsiteY48" fmla="*/ 223555 h 295275"/>
                <a:gd name="connsiteX49" fmla="*/ 46392 w 361950"/>
                <a:gd name="connsiteY49" fmla="*/ 223555 h 295275"/>
                <a:gd name="connsiteX50" fmla="*/ 50082 w 361950"/>
                <a:gd name="connsiteY50" fmla="*/ 227241 h 295275"/>
                <a:gd name="connsiteX51" fmla="*/ 53771 w 361950"/>
                <a:gd name="connsiteY51" fmla="*/ 227241 h 295275"/>
                <a:gd name="connsiteX52" fmla="*/ 57460 w 361950"/>
                <a:gd name="connsiteY52" fmla="*/ 227241 h 295275"/>
                <a:gd name="connsiteX53" fmla="*/ 64838 w 361950"/>
                <a:gd name="connsiteY53" fmla="*/ 227241 h 295275"/>
                <a:gd name="connsiteX54" fmla="*/ 75903 w 361950"/>
                <a:gd name="connsiteY54" fmla="*/ 230937 h 295275"/>
                <a:gd name="connsiteX55" fmla="*/ 83285 w 361950"/>
                <a:gd name="connsiteY55" fmla="*/ 238319 h 295275"/>
                <a:gd name="connsiteX56" fmla="*/ 94353 w 361950"/>
                <a:gd name="connsiteY56" fmla="*/ 242005 h 295275"/>
                <a:gd name="connsiteX57" fmla="*/ 101725 w 361950"/>
                <a:gd name="connsiteY57" fmla="*/ 249387 h 295275"/>
                <a:gd name="connsiteX58" fmla="*/ 134930 w 361950"/>
                <a:gd name="connsiteY58" fmla="*/ 278914 h 295275"/>
                <a:gd name="connsiteX59" fmla="*/ 138625 w 361950"/>
                <a:gd name="connsiteY59" fmla="*/ 286296 h 295275"/>
                <a:gd name="connsiteX60" fmla="*/ 142312 w 361950"/>
                <a:gd name="connsiteY60" fmla="*/ 286296 h 295275"/>
                <a:gd name="connsiteX61" fmla="*/ 149693 w 361950"/>
                <a:gd name="connsiteY61" fmla="*/ 289982 h 295275"/>
                <a:gd name="connsiteX62" fmla="*/ 157066 w 361950"/>
                <a:gd name="connsiteY62" fmla="*/ 286296 h 295275"/>
                <a:gd name="connsiteX63" fmla="*/ 175516 w 361950"/>
                <a:gd name="connsiteY63" fmla="*/ 278914 h 295275"/>
                <a:gd name="connsiteX64" fmla="*/ 179202 w 361950"/>
                <a:gd name="connsiteY64" fmla="*/ 278914 h 295275"/>
                <a:gd name="connsiteX65" fmla="*/ 186584 w 361950"/>
                <a:gd name="connsiteY65" fmla="*/ 278914 h 295275"/>
                <a:gd name="connsiteX66" fmla="*/ 190270 w 361950"/>
                <a:gd name="connsiteY66" fmla="*/ 275219 h 295275"/>
                <a:gd name="connsiteX67" fmla="*/ 201338 w 361950"/>
                <a:gd name="connsiteY67" fmla="*/ 271532 h 295275"/>
                <a:gd name="connsiteX68" fmla="*/ 205024 w 361950"/>
                <a:gd name="connsiteY68" fmla="*/ 271532 h 295275"/>
                <a:gd name="connsiteX69" fmla="*/ 208720 w 361950"/>
                <a:gd name="connsiteY69" fmla="*/ 256769 h 295275"/>
                <a:gd name="connsiteX70" fmla="*/ 212406 w 361950"/>
                <a:gd name="connsiteY70" fmla="*/ 253082 h 295275"/>
                <a:gd name="connsiteX71" fmla="*/ 212406 w 361950"/>
                <a:gd name="connsiteY71" fmla="*/ 242005 h 295275"/>
                <a:gd name="connsiteX72" fmla="*/ 216092 w 361950"/>
                <a:gd name="connsiteY72" fmla="*/ 242005 h 295275"/>
                <a:gd name="connsiteX73" fmla="*/ 216092 w 361950"/>
                <a:gd name="connsiteY73" fmla="*/ 234623 h 295275"/>
                <a:gd name="connsiteX74" fmla="*/ 216092 w 361950"/>
                <a:gd name="connsiteY74" fmla="*/ 230937 h 295275"/>
                <a:gd name="connsiteX75" fmla="*/ 216092 w 361950"/>
                <a:gd name="connsiteY75" fmla="*/ 227241 h 295275"/>
                <a:gd name="connsiteX76" fmla="*/ 216092 w 361950"/>
                <a:gd name="connsiteY76" fmla="*/ 223555 h 295275"/>
                <a:gd name="connsiteX77" fmla="*/ 212406 w 361950"/>
                <a:gd name="connsiteY77" fmla="*/ 223555 h 295275"/>
                <a:gd name="connsiteX78" fmla="*/ 212406 w 361950"/>
                <a:gd name="connsiteY78" fmla="*/ 219869 h 295275"/>
                <a:gd name="connsiteX79" fmla="*/ 208720 w 361950"/>
                <a:gd name="connsiteY79" fmla="*/ 212487 h 295275"/>
                <a:gd name="connsiteX80" fmla="*/ 212406 w 361950"/>
                <a:gd name="connsiteY80" fmla="*/ 208791 h 295275"/>
                <a:gd name="connsiteX81" fmla="*/ 223474 w 361950"/>
                <a:gd name="connsiteY81" fmla="*/ 197723 h 295275"/>
                <a:gd name="connsiteX82" fmla="*/ 230856 w 361950"/>
                <a:gd name="connsiteY82" fmla="*/ 201409 h 295275"/>
                <a:gd name="connsiteX83" fmla="*/ 241914 w 361950"/>
                <a:gd name="connsiteY83" fmla="*/ 197723 h 295275"/>
                <a:gd name="connsiteX84" fmla="*/ 245610 w 361950"/>
                <a:gd name="connsiteY84" fmla="*/ 197723 h 295275"/>
                <a:gd name="connsiteX85" fmla="*/ 249296 w 361950"/>
                <a:gd name="connsiteY85" fmla="*/ 194027 h 295275"/>
                <a:gd name="connsiteX86" fmla="*/ 245610 w 361950"/>
                <a:gd name="connsiteY86" fmla="*/ 194027 h 295275"/>
                <a:gd name="connsiteX87" fmla="*/ 249296 w 361950"/>
                <a:gd name="connsiteY87" fmla="*/ 190339 h 295275"/>
                <a:gd name="connsiteX88" fmla="*/ 252982 w 361950"/>
                <a:gd name="connsiteY88" fmla="*/ 186648 h 295275"/>
                <a:gd name="connsiteX89" fmla="*/ 256678 w 361950"/>
                <a:gd name="connsiteY89" fmla="*/ 182958 h 295275"/>
                <a:gd name="connsiteX90" fmla="*/ 267746 w 361950"/>
                <a:gd name="connsiteY90" fmla="*/ 171887 h 295275"/>
                <a:gd name="connsiteX91" fmla="*/ 297255 w 361950"/>
                <a:gd name="connsiteY91" fmla="*/ 157125 h 295275"/>
                <a:gd name="connsiteX92" fmla="*/ 300950 w 361950"/>
                <a:gd name="connsiteY92" fmla="*/ 157125 h 295275"/>
                <a:gd name="connsiteX93" fmla="*/ 304637 w 361950"/>
                <a:gd name="connsiteY93" fmla="*/ 157125 h 295275"/>
                <a:gd name="connsiteX94" fmla="*/ 308323 w 361950"/>
                <a:gd name="connsiteY94" fmla="*/ 160815 h 295275"/>
                <a:gd name="connsiteX95" fmla="*/ 312009 w 361950"/>
                <a:gd name="connsiteY95" fmla="*/ 160815 h 295275"/>
                <a:gd name="connsiteX96" fmla="*/ 326773 w 361950"/>
                <a:gd name="connsiteY96" fmla="*/ 149743 h 295275"/>
                <a:gd name="connsiteX97" fmla="*/ 330459 w 361950"/>
                <a:gd name="connsiteY97" fmla="*/ 142362 h 295275"/>
                <a:gd name="connsiteX98" fmla="*/ 337841 w 361950"/>
                <a:gd name="connsiteY98" fmla="*/ 134981 h 295275"/>
                <a:gd name="connsiteX99" fmla="*/ 341527 w 361950"/>
                <a:gd name="connsiteY99" fmla="*/ 127600 h 295275"/>
                <a:gd name="connsiteX100" fmla="*/ 345213 w 361950"/>
                <a:gd name="connsiteY100" fmla="*/ 123909 h 295275"/>
                <a:gd name="connsiteX101" fmla="*/ 348909 w 361950"/>
                <a:gd name="connsiteY101" fmla="*/ 116528 h 295275"/>
                <a:gd name="connsiteX102" fmla="*/ 359977 w 361950"/>
                <a:gd name="connsiteY102" fmla="*/ 94385 h 295275"/>
                <a:gd name="connsiteX103" fmla="*/ 363663 w 361950"/>
                <a:gd name="connsiteY103" fmla="*/ 87004 h 295275"/>
                <a:gd name="connsiteX104" fmla="*/ 363663 w 361950"/>
                <a:gd name="connsiteY104" fmla="*/ 83313 h 295275"/>
                <a:gd name="connsiteX105" fmla="*/ 363663 w 361950"/>
                <a:gd name="connsiteY105" fmla="*/ 75932 h 295275"/>
                <a:gd name="connsiteX106" fmla="*/ 363663 w 361950"/>
                <a:gd name="connsiteY106" fmla="*/ 57479 h 295275"/>
                <a:gd name="connsiteX107" fmla="*/ 359977 w 361950"/>
                <a:gd name="connsiteY107" fmla="*/ 50098 h 295275"/>
                <a:gd name="connsiteX108" fmla="*/ 341527 w 361950"/>
                <a:gd name="connsiteY108" fmla="*/ 31645 h 295275"/>
                <a:gd name="connsiteX109" fmla="*/ 341527 w 361950"/>
                <a:gd name="connsiteY109" fmla="*/ 27954 h 295275"/>
                <a:gd name="connsiteX110" fmla="*/ 337841 w 361950"/>
                <a:gd name="connsiteY110" fmla="*/ 27954 h 295275"/>
                <a:gd name="connsiteX111" fmla="*/ 319391 w 361950"/>
                <a:gd name="connsiteY111" fmla="*/ 27954 h 295275"/>
                <a:gd name="connsiteX112" fmla="*/ 315705 w 361950"/>
                <a:gd name="connsiteY112" fmla="*/ 27954 h 295275"/>
                <a:gd name="connsiteX113" fmla="*/ 300950 w 361950"/>
                <a:gd name="connsiteY113" fmla="*/ 24264 h 295275"/>
                <a:gd name="connsiteX114" fmla="*/ 267746 w 361950"/>
                <a:gd name="connsiteY114" fmla="*/ 13193 h 295275"/>
                <a:gd name="connsiteX115" fmla="*/ 264051 w 361950"/>
                <a:gd name="connsiteY115" fmla="*/ 13193 h 295275"/>
                <a:gd name="connsiteX116" fmla="*/ 260364 w 361950"/>
                <a:gd name="connsiteY116" fmla="*/ 5812 h 295275"/>
                <a:gd name="connsiteX117" fmla="*/ 256678 w 361950"/>
                <a:gd name="connsiteY117" fmla="*/ 5812 h 295275"/>
                <a:gd name="connsiteX118" fmla="*/ 51580 w 361950"/>
                <a:gd name="connsiteY118" fmla="*/ 157125 h 295275"/>
                <a:gd name="connsiteX119" fmla="*/ 57460 w 361950"/>
                <a:gd name="connsiteY119" fmla="*/ 153434 h 295275"/>
                <a:gd name="connsiteX120" fmla="*/ 50082 w 361950"/>
                <a:gd name="connsiteY120" fmla="*/ 157125 h 295275"/>
                <a:gd name="connsiteX121" fmla="*/ 51580 w 361950"/>
                <a:gd name="connsiteY121" fmla="*/ 157125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361950" h="295275">
                  <a:moveTo>
                    <a:pt x="256678" y="5812"/>
                  </a:moveTo>
                  <a:lnTo>
                    <a:pt x="252982" y="9502"/>
                  </a:lnTo>
                  <a:lnTo>
                    <a:pt x="227160" y="16882"/>
                  </a:lnTo>
                  <a:lnTo>
                    <a:pt x="223474" y="16882"/>
                  </a:lnTo>
                  <a:lnTo>
                    <a:pt x="219788" y="20573"/>
                  </a:lnTo>
                  <a:lnTo>
                    <a:pt x="190270" y="46407"/>
                  </a:lnTo>
                  <a:lnTo>
                    <a:pt x="190270" y="50098"/>
                  </a:lnTo>
                  <a:lnTo>
                    <a:pt x="186584" y="50098"/>
                  </a:lnTo>
                  <a:lnTo>
                    <a:pt x="171820" y="50098"/>
                  </a:lnTo>
                  <a:lnTo>
                    <a:pt x="168134" y="50098"/>
                  </a:lnTo>
                  <a:lnTo>
                    <a:pt x="168134" y="53788"/>
                  </a:lnTo>
                  <a:lnTo>
                    <a:pt x="164448" y="64860"/>
                  </a:lnTo>
                  <a:lnTo>
                    <a:pt x="164448" y="61170"/>
                  </a:lnTo>
                  <a:lnTo>
                    <a:pt x="160761" y="68551"/>
                  </a:lnTo>
                  <a:lnTo>
                    <a:pt x="160761" y="72242"/>
                  </a:lnTo>
                  <a:lnTo>
                    <a:pt x="160761" y="75932"/>
                  </a:lnTo>
                  <a:lnTo>
                    <a:pt x="160761" y="79623"/>
                  </a:lnTo>
                  <a:lnTo>
                    <a:pt x="160761" y="83313"/>
                  </a:lnTo>
                  <a:lnTo>
                    <a:pt x="153380" y="87004"/>
                  </a:lnTo>
                  <a:lnTo>
                    <a:pt x="149693" y="87004"/>
                  </a:lnTo>
                  <a:lnTo>
                    <a:pt x="145998" y="90695"/>
                  </a:lnTo>
                  <a:lnTo>
                    <a:pt x="142312" y="98075"/>
                  </a:lnTo>
                  <a:lnTo>
                    <a:pt x="138625" y="98075"/>
                  </a:lnTo>
                  <a:lnTo>
                    <a:pt x="134930" y="98075"/>
                  </a:lnTo>
                  <a:lnTo>
                    <a:pt x="134930" y="101765"/>
                  </a:lnTo>
                  <a:lnTo>
                    <a:pt x="72217" y="142362"/>
                  </a:lnTo>
                  <a:lnTo>
                    <a:pt x="61149" y="149743"/>
                  </a:lnTo>
                  <a:lnTo>
                    <a:pt x="61149" y="153434"/>
                  </a:lnTo>
                  <a:lnTo>
                    <a:pt x="57460" y="153434"/>
                  </a:lnTo>
                  <a:lnTo>
                    <a:pt x="57460" y="157125"/>
                  </a:lnTo>
                  <a:lnTo>
                    <a:pt x="53771" y="157125"/>
                  </a:lnTo>
                  <a:lnTo>
                    <a:pt x="51580" y="157125"/>
                  </a:lnTo>
                  <a:lnTo>
                    <a:pt x="27947" y="171887"/>
                  </a:lnTo>
                  <a:lnTo>
                    <a:pt x="24257" y="175578"/>
                  </a:lnTo>
                  <a:lnTo>
                    <a:pt x="9501" y="186648"/>
                  </a:lnTo>
                  <a:lnTo>
                    <a:pt x="5812" y="186648"/>
                  </a:lnTo>
                  <a:lnTo>
                    <a:pt x="5812" y="190339"/>
                  </a:lnTo>
                  <a:lnTo>
                    <a:pt x="13190" y="197723"/>
                  </a:lnTo>
                  <a:lnTo>
                    <a:pt x="13190" y="205105"/>
                  </a:lnTo>
                  <a:lnTo>
                    <a:pt x="13190" y="216173"/>
                  </a:lnTo>
                  <a:lnTo>
                    <a:pt x="9501" y="219869"/>
                  </a:lnTo>
                  <a:lnTo>
                    <a:pt x="13190" y="219869"/>
                  </a:lnTo>
                  <a:lnTo>
                    <a:pt x="16879" y="227241"/>
                  </a:lnTo>
                  <a:lnTo>
                    <a:pt x="13190" y="227241"/>
                  </a:lnTo>
                  <a:lnTo>
                    <a:pt x="16879" y="230937"/>
                  </a:lnTo>
                  <a:lnTo>
                    <a:pt x="20568" y="227241"/>
                  </a:lnTo>
                  <a:lnTo>
                    <a:pt x="24257" y="227241"/>
                  </a:lnTo>
                  <a:lnTo>
                    <a:pt x="39014" y="223555"/>
                  </a:lnTo>
                  <a:lnTo>
                    <a:pt x="42703" y="223555"/>
                  </a:lnTo>
                  <a:lnTo>
                    <a:pt x="46392" y="223555"/>
                  </a:lnTo>
                  <a:lnTo>
                    <a:pt x="50082" y="227241"/>
                  </a:lnTo>
                  <a:lnTo>
                    <a:pt x="53771" y="227241"/>
                  </a:lnTo>
                  <a:lnTo>
                    <a:pt x="57460" y="227241"/>
                  </a:lnTo>
                  <a:lnTo>
                    <a:pt x="64838" y="227241"/>
                  </a:lnTo>
                  <a:lnTo>
                    <a:pt x="75903" y="230937"/>
                  </a:lnTo>
                  <a:lnTo>
                    <a:pt x="83285" y="238319"/>
                  </a:lnTo>
                  <a:lnTo>
                    <a:pt x="94353" y="242005"/>
                  </a:lnTo>
                  <a:lnTo>
                    <a:pt x="101725" y="249387"/>
                  </a:lnTo>
                  <a:lnTo>
                    <a:pt x="134930" y="278914"/>
                  </a:lnTo>
                  <a:lnTo>
                    <a:pt x="138625" y="286296"/>
                  </a:lnTo>
                  <a:lnTo>
                    <a:pt x="142312" y="286296"/>
                  </a:lnTo>
                  <a:lnTo>
                    <a:pt x="149693" y="289982"/>
                  </a:lnTo>
                  <a:lnTo>
                    <a:pt x="157066" y="286296"/>
                  </a:lnTo>
                  <a:lnTo>
                    <a:pt x="175516" y="278914"/>
                  </a:lnTo>
                  <a:lnTo>
                    <a:pt x="179202" y="278914"/>
                  </a:lnTo>
                  <a:lnTo>
                    <a:pt x="186584" y="278914"/>
                  </a:lnTo>
                  <a:lnTo>
                    <a:pt x="190270" y="275219"/>
                  </a:lnTo>
                  <a:lnTo>
                    <a:pt x="201338" y="271532"/>
                  </a:lnTo>
                  <a:lnTo>
                    <a:pt x="205024" y="271532"/>
                  </a:lnTo>
                  <a:lnTo>
                    <a:pt x="208720" y="256769"/>
                  </a:lnTo>
                  <a:lnTo>
                    <a:pt x="212406" y="253082"/>
                  </a:lnTo>
                  <a:lnTo>
                    <a:pt x="212406" y="242005"/>
                  </a:lnTo>
                  <a:lnTo>
                    <a:pt x="216092" y="242005"/>
                  </a:lnTo>
                  <a:lnTo>
                    <a:pt x="216092" y="234623"/>
                  </a:lnTo>
                  <a:lnTo>
                    <a:pt x="216092" y="230937"/>
                  </a:lnTo>
                  <a:lnTo>
                    <a:pt x="216092" y="227241"/>
                  </a:lnTo>
                  <a:lnTo>
                    <a:pt x="216092" y="223555"/>
                  </a:lnTo>
                  <a:lnTo>
                    <a:pt x="212406" y="223555"/>
                  </a:lnTo>
                  <a:lnTo>
                    <a:pt x="212406" y="219869"/>
                  </a:lnTo>
                  <a:lnTo>
                    <a:pt x="208720" y="212487"/>
                  </a:lnTo>
                  <a:lnTo>
                    <a:pt x="212406" y="208791"/>
                  </a:lnTo>
                  <a:lnTo>
                    <a:pt x="223474" y="197723"/>
                  </a:lnTo>
                  <a:lnTo>
                    <a:pt x="230856" y="201409"/>
                  </a:lnTo>
                  <a:lnTo>
                    <a:pt x="241914" y="197723"/>
                  </a:lnTo>
                  <a:lnTo>
                    <a:pt x="245610" y="197723"/>
                  </a:lnTo>
                  <a:lnTo>
                    <a:pt x="249296" y="194027"/>
                  </a:lnTo>
                  <a:lnTo>
                    <a:pt x="245610" y="194027"/>
                  </a:lnTo>
                  <a:lnTo>
                    <a:pt x="249296" y="190339"/>
                  </a:lnTo>
                  <a:lnTo>
                    <a:pt x="252982" y="186648"/>
                  </a:lnTo>
                  <a:lnTo>
                    <a:pt x="256678" y="182958"/>
                  </a:lnTo>
                  <a:lnTo>
                    <a:pt x="267746" y="171887"/>
                  </a:lnTo>
                  <a:lnTo>
                    <a:pt x="297255" y="157125"/>
                  </a:lnTo>
                  <a:lnTo>
                    <a:pt x="300950" y="157125"/>
                  </a:lnTo>
                  <a:lnTo>
                    <a:pt x="304637" y="157125"/>
                  </a:lnTo>
                  <a:lnTo>
                    <a:pt x="308323" y="160815"/>
                  </a:lnTo>
                  <a:lnTo>
                    <a:pt x="312009" y="160815"/>
                  </a:lnTo>
                  <a:lnTo>
                    <a:pt x="326773" y="149743"/>
                  </a:lnTo>
                  <a:lnTo>
                    <a:pt x="330459" y="142362"/>
                  </a:lnTo>
                  <a:lnTo>
                    <a:pt x="337841" y="134981"/>
                  </a:lnTo>
                  <a:lnTo>
                    <a:pt x="341527" y="127600"/>
                  </a:lnTo>
                  <a:lnTo>
                    <a:pt x="345213" y="123909"/>
                  </a:lnTo>
                  <a:lnTo>
                    <a:pt x="348909" y="116528"/>
                  </a:lnTo>
                  <a:lnTo>
                    <a:pt x="359977" y="94385"/>
                  </a:lnTo>
                  <a:lnTo>
                    <a:pt x="363663" y="87004"/>
                  </a:lnTo>
                  <a:lnTo>
                    <a:pt x="363663" y="83313"/>
                  </a:lnTo>
                  <a:lnTo>
                    <a:pt x="363663" y="75932"/>
                  </a:lnTo>
                  <a:lnTo>
                    <a:pt x="363663" y="57479"/>
                  </a:lnTo>
                  <a:lnTo>
                    <a:pt x="359977" y="50098"/>
                  </a:lnTo>
                  <a:lnTo>
                    <a:pt x="341527" y="31645"/>
                  </a:lnTo>
                  <a:lnTo>
                    <a:pt x="341527" y="27954"/>
                  </a:lnTo>
                  <a:lnTo>
                    <a:pt x="337841" y="27954"/>
                  </a:lnTo>
                  <a:lnTo>
                    <a:pt x="319391" y="27954"/>
                  </a:lnTo>
                  <a:lnTo>
                    <a:pt x="315705" y="27954"/>
                  </a:lnTo>
                  <a:lnTo>
                    <a:pt x="300950" y="24264"/>
                  </a:lnTo>
                  <a:lnTo>
                    <a:pt x="267746" y="13193"/>
                  </a:lnTo>
                  <a:lnTo>
                    <a:pt x="264051" y="13193"/>
                  </a:lnTo>
                  <a:lnTo>
                    <a:pt x="260364" y="5812"/>
                  </a:lnTo>
                  <a:lnTo>
                    <a:pt x="256678" y="5812"/>
                  </a:lnTo>
                  <a:close/>
                  <a:moveTo>
                    <a:pt x="51580" y="157125"/>
                  </a:moveTo>
                  <a:lnTo>
                    <a:pt x="57460" y="153434"/>
                  </a:lnTo>
                  <a:lnTo>
                    <a:pt x="50082" y="157125"/>
                  </a:lnTo>
                  <a:lnTo>
                    <a:pt x="51580" y="157125"/>
                  </a:lnTo>
                  <a:close/>
                </a:path>
              </a:pathLst>
            </a:custGeom>
            <a:solidFill>
              <a:srgbClr val="17722B"/>
            </a:solidFill>
            <a:ln w="12821" cap="flat">
              <a:solidFill>
                <a:schemeClr val="bg1"/>
              </a:solidFill>
              <a:prstDash val="solid"/>
              <a:round/>
            </a:ln>
          </p:spPr>
          <p:txBody>
            <a:bodyPr rot="0" spcFirstLastPara="0" vertOverflow="overflow" horzOverflow="overflow" vert="horz" wrap="square" lIns="216000" tIns="45720" rIns="91440" bIns="252000" numCol="1" spcCol="0" rtlCol="0" fromWordArt="0" anchor="ctr" anchorCtr="0" forceAA="0" compatLnSpc="1">
              <a:prstTxWarp prst="textNoShape">
                <a:avLst/>
              </a:prstTxWarp>
              <a:noAutofit/>
            </a:bodyPr>
            <a:lstStyle/>
            <a:p>
              <a:pPr marL="0" indent="0" algn="ctr">
                <a:buNone/>
              </a:pPr>
              <a:endParaRPr lang="nl-NL" sz="800" b="1" dirty="0">
                <a:solidFill>
                  <a:srgbClr val="FFFFFF"/>
                </a:solidFill>
                <a:latin typeface="+mj-lt"/>
                <a:cs typeface="Arial" panose="020B0604020202020204" pitchFamily="34" charset="0"/>
              </a:endParaRPr>
            </a:p>
          </p:txBody>
        </p:sp>
        <p:sp>
          <p:nvSpPr>
            <p:cNvPr id="245" name="Freeform: Shape 244">
              <a:extLst>
                <a:ext uri="{FF2B5EF4-FFF2-40B4-BE49-F238E27FC236}">
                  <a16:creationId xmlns:a16="http://schemas.microsoft.com/office/drawing/2014/main" id="{FA866AA8-E302-426F-9EA7-3A2360F51CC9}"/>
                </a:ext>
              </a:extLst>
            </p:cNvPr>
            <p:cNvSpPr/>
            <p:nvPr/>
          </p:nvSpPr>
          <p:spPr>
            <a:xfrm>
              <a:off x="6037715" y="3330587"/>
              <a:ext cx="338200" cy="307454"/>
            </a:xfrm>
            <a:custGeom>
              <a:avLst/>
              <a:gdLst>
                <a:gd name="connsiteX0" fmla="*/ 68524 w 209550"/>
                <a:gd name="connsiteY0" fmla="*/ 5812 h 190500"/>
                <a:gd name="connsiteX1" fmla="*/ 72220 w 209550"/>
                <a:gd name="connsiteY1" fmla="*/ 13193 h 190500"/>
                <a:gd name="connsiteX2" fmla="*/ 64838 w 209550"/>
                <a:gd name="connsiteY2" fmla="*/ 9503 h 190500"/>
                <a:gd name="connsiteX3" fmla="*/ 64838 w 209550"/>
                <a:gd name="connsiteY3" fmla="*/ 13193 h 190500"/>
                <a:gd name="connsiteX4" fmla="*/ 61152 w 209550"/>
                <a:gd name="connsiteY4" fmla="*/ 13193 h 190500"/>
                <a:gd name="connsiteX5" fmla="*/ 42702 w 209550"/>
                <a:gd name="connsiteY5" fmla="*/ 16883 h 190500"/>
                <a:gd name="connsiteX6" fmla="*/ 39016 w 209550"/>
                <a:gd name="connsiteY6" fmla="*/ 16883 h 190500"/>
                <a:gd name="connsiteX7" fmla="*/ 39016 w 209550"/>
                <a:gd name="connsiteY7" fmla="*/ 20574 h 190500"/>
                <a:gd name="connsiteX8" fmla="*/ 27948 w 209550"/>
                <a:gd name="connsiteY8" fmla="*/ 39027 h 190500"/>
                <a:gd name="connsiteX9" fmla="*/ 9498 w 209550"/>
                <a:gd name="connsiteY9" fmla="*/ 68552 h 190500"/>
                <a:gd name="connsiteX10" fmla="*/ 9498 w 209550"/>
                <a:gd name="connsiteY10" fmla="*/ 72242 h 190500"/>
                <a:gd name="connsiteX11" fmla="*/ 5812 w 209550"/>
                <a:gd name="connsiteY11" fmla="*/ 83314 h 190500"/>
                <a:gd name="connsiteX12" fmla="*/ 5812 w 209550"/>
                <a:gd name="connsiteY12" fmla="*/ 120219 h 190500"/>
                <a:gd name="connsiteX13" fmla="*/ 5812 w 209550"/>
                <a:gd name="connsiteY13" fmla="*/ 138672 h 190500"/>
                <a:gd name="connsiteX14" fmla="*/ 5812 w 209550"/>
                <a:gd name="connsiteY14" fmla="*/ 146054 h 190500"/>
                <a:gd name="connsiteX15" fmla="*/ 5812 w 209550"/>
                <a:gd name="connsiteY15" fmla="*/ 149744 h 190500"/>
                <a:gd name="connsiteX16" fmla="*/ 5812 w 209550"/>
                <a:gd name="connsiteY16" fmla="*/ 153435 h 190500"/>
                <a:gd name="connsiteX17" fmla="*/ 9498 w 209550"/>
                <a:gd name="connsiteY17" fmla="*/ 153435 h 190500"/>
                <a:gd name="connsiteX18" fmla="*/ 13184 w 209550"/>
                <a:gd name="connsiteY18" fmla="*/ 157125 h 190500"/>
                <a:gd name="connsiteX19" fmla="*/ 16880 w 209550"/>
                <a:gd name="connsiteY19" fmla="*/ 160816 h 190500"/>
                <a:gd name="connsiteX20" fmla="*/ 24252 w 209550"/>
                <a:gd name="connsiteY20" fmla="*/ 171888 h 190500"/>
                <a:gd name="connsiteX21" fmla="*/ 35320 w 209550"/>
                <a:gd name="connsiteY21" fmla="*/ 186649 h 190500"/>
                <a:gd name="connsiteX22" fmla="*/ 39016 w 209550"/>
                <a:gd name="connsiteY22" fmla="*/ 190340 h 190500"/>
                <a:gd name="connsiteX23" fmla="*/ 42702 w 209550"/>
                <a:gd name="connsiteY23" fmla="*/ 190340 h 190500"/>
                <a:gd name="connsiteX24" fmla="*/ 79592 w 209550"/>
                <a:gd name="connsiteY24" fmla="*/ 190340 h 190500"/>
                <a:gd name="connsiteX25" fmla="*/ 83278 w 209550"/>
                <a:gd name="connsiteY25" fmla="*/ 190340 h 190500"/>
                <a:gd name="connsiteX26" fmla="*/ 94346 w 209550"/>
                <a:gd name="connsiteY26" fmla="*/ 190340 h 190500"/>
                <a:gd name="connsiteX27" fmla="*/ 123864 w 209550"/>
                <a:gd name="connsiteY27" fmla="*/ 190340 h 190500"/>
                <a:gd name="connsiteX28" fmla="*/ 127551 w 209550"/>
                <a:gd name="connsiteY28" fmla="*/ 190340 h 190500"/>
                <a:gd name="connsiteX29" fmla="*/ 157069 w 209550"/>
                <a:gd name="connsiteY29" fmla="*/ 182959 h 190500"/>
                <a:gd name="connsiteX30" fmla="*/ 160755 w 209550"/>
                <a:gd name="connsiteY30" fmla="*/ 186649 h 190500"/>
                <a:gd name="connsiteX31" fmla="*/ 164441 w 209550"/>
                <a:gd name="connsiteY31" fmla="*/ 190340 h 190500"/>
                <a:gd name="connsiteX32" fmla="*/ 171823 w 209550"/>
                <a:gd name="connsiteY32" fmla="*/ 186649 h 190500"/>
                <a:gd name="connsiteX33" fmla="*/ 175509 w 209550"/>
                <a:gd name="connsiteY33" fmla="*/ 186649 h 190500"/>
                <a:gd name="connsiteX34" fmla="*/ 182891 w 209550"/>
                <a:gd name="connsiteY34" fmla="*/ 182959 h 190500"/>
                <a:gd name="connsiteX35" fmla="*/ 182891 w 209550"/>
                <a:gd name="connsiteY35" fmla="*/ 179269 h 190500"/>
                <a:gd name="connsiteX36" fmla="*/ 193959 w 209550"/>
                <a:gd name="connsiteY36" fmla="*/ 175578 h 190500"/>
                <a:gd name="connsiteX37" fmla="*/ 197645 w 209550"/>
                <a:gd name="connsiteY37" fmla="*/ 175578 h 190500"/>
                <a:gd name="connsiteX38" fmla="*/ 208713 w 209550"/>
                <a:gd name="connsiteY38" fmla="*/ 168197 h 190500"/>
                <a:gd name="connsiteX39" fmla="*/ 212409 w 209550"/>
                <a:gd name="connsiteY39" fmla="*/ 164507 h 190500"/>
                <a:gd name="connsiteX40" fmla="*/ 208713 w 209550"/>
                <a:gd name="connsiteY40" fmla="*/ 157125 h 190500"/>
                <a:gd name="connsiteX41" fmla="*/ 201341 w 209550"/>
                <a:gd name="connsiteY41" fmla="*/ 157125 h 190500"/>
                <a:gd name="connsiteX42" fmla="*/ 197645 w 209550"/>
                <a:gd name="connsiteY42" fmla="*/ 153435 h 190500"/>
                <a:gd name="connsiteX43" fmla="*/ 193959 w 209550"/>
                <a:gd name="connsiteY43" fmla="*/ 149744 h 190500"/>
                <a:gd name="connsiteX44" fmla="*/ 186577 w 209550"/>
                <a:gd name="connsiteY44" fmla="*/ 146054 h 190500"/>
                <a:gd name="connsiteX45" fmla="*/ 182891 w 209550"/>
                <a:gd name="connsiteY45" fmla="*/ 146054 h 190500"/>
                <a:gd name="connsiteX46" fmla="*/ 175509 w 209550"/>
                <a:gd name="connsiteY46" fmla="*/ 142363 h 190500"/>
                <a:gd name="connsiteX47" fmla="*/ 175509 w 209550"/>
                <a:gd name="connsiteY47" fmla="*/ 146054 h 190500"/>
                <a:gd name="connsiteX48" fmla="*/ 171823 w 209550"/>
                <a:gd name="connsiteY48" fmla="*/ 146054 h 190500"/>
                <a:gd name="connsiteX49" fmla="*/ 171823 w 209550"/>
                <a:gd name="connsiteY49" fmla="*/ 142363 h 190500"/>
                <a:gd name="connsiteX50" fmla="*/ 171823 w 209550"/>
                <a:gd name="connsiteY50" fmla="*/ 138672 h 190500"/>
                <a:gd name="connsiteX51" fmla="*/ 175509 w 209550"/>
                <a:gd name="connsiteY51" fmla="*/ 134982 h 190500"/>
                <a:gd name="connsiteX52" fmla="*/ 179205 w 209550"/>
                <a:gd name="connsiteY52" fmla="*/ 131291 h 190500"/>
                <a:gd name="connsiteX53" fmla="*/ 186577 w 209550"/>
                <a:gd name="connsiteY53" fmla="*/ 127600 h 190500"/>
                <a:gd name="connsiteX54" fmla="*/ 186577 w 209550"/>
                <a:gd name="connsiteY54" fmla="*/ 123910 h 190500"/>
                <a:gd name="connsiteX55" fmla="*/ 186577 w 209550"/>
                <a:gd name="connsiteY55" fmla="*/ 120219 h 190500"/>
                <a:gd name="connsiteX56" fmla="*/ 182891 w 209550"/>
                <a:gd name="connsiteY56" fmla="*/ 116529 h 190500"/>
                <a:gd name="connsiteX57" fmla="*/ 182891 w 209550"/>
                <a:gd name="connsiteY57" fmla="*/ 112838 h 190500"/>
                <a:gd name="connsiteX58" fmla="*/ 179205 w 209550"/>
                <a:gd name="connsiteY58" fmla="*/ 109147 h 190500"/>
                <a:gd name="connsiteX59" fmla="*/ 175509 w 209550"/>
                <a:gd name="connsiteY59" fmla="*/ 109147 h 190500"/>
                <a:gd name="connsiteX60" fmla="*/ 175509 w 209550"/>
                <a:gd name="connsiteY60" fmla="*/ 105457 h 190500"/>
                <a:gd name="connsiteX61" fmla="*/ 168137 w 209550"/>
                <a:gd name="connsiteY61" fmla="*/ 90695 h 190500"/>
                <a:gd name="connsiteX62" fmla="*/ 164441 w 209550"/>
                <a:gd name="connsiteY62" fmla="*/ 79623 h 190500"/>
                <a:gd name="connsiteX63" fmla="*/ 157069 w 209550"/>
                <a:gd name="connsiteY63" fmla="*/ 72242 h 190500"/>
                <a:gd name="connsiteX64" fmla="*/ 153373 w 209550"/>
                <a:gd name="connsiteY64" fmla="*/ 72242 h 190500"/>
                <a:gd name="connsiteX65" fmla="*/ 149687 w 209550"/>
                <a:gd name="connsiteY65" fmla="*/ 68552 h 190500"/>
                <a:gd name="connsiteX66" fmla="*/ 146001 w 209550"/>
                <a:gd name="connsiteY66" fmla="*/ 61171 h 190500"/>
                <a:gd name="connsiteX67" fmla="*/ 134932 w 209550"/>
                <a:gd name="connsiteY67" fmla="*/ 57480 h 190500"/>
                <a:gd name="connsiteX68" fmla="*/ 131246 w 209550"/>
                <a:gd name="connsiteY68" fmla="*/ 53789 h 190500"/>
                <a:gd name="connsiteX69" fmla="*/ 123864 w 209550"/>
                <a:gd name="connsiteY69" fmla="*/ 53789 h 190500"/>
                <a:gd name="connsiteX70" fmla="*/ 116483 w 209550"/>
                <a:gd name="connsiteY70" fmla="*/ 53789 h 190500"/>
                <a:gd name="connsiteX71" fmla="*/ 116483 w 209550"/>
                <a:gd name="connsiteY71" fmla="*/ 50099 h 190500"/>
                <a:gd name="connsiteX72" fmla="*/ 112796 w 209550"/>
                <a:gd name="connsiteY72" fmla="*/ 46408 h 190500"/>
                <a:gd name="connsiteX73" fmla="*/ 109110 w 209550"/>
                <a:gd name="connsiteY73" fmla="*/ 42717 h 190500"/>
                <a:gd name="connsiteX74" fmla="*/ 105414 w 209550"/>
                <a:gd name="connsiteY74" fmla="*/ 35336 h 190500"/>
                <a:gd name="connsiteX75" fmla="*/ 101728 w 209550"/>
                <a:gd name="connsiteY75" fmla="*/ 39027 h 190500"/>
                <a:gd name="connsiteX76" fmla="*/ 101728 w 209550"/>
                <a:gd name="connsiteY76" fmla="*/ 35336 h 190500"/>
                <a:gd name="connsiteX77" fmla="*/ 98042 w 209550"/>
                <a:gd name="connsiteY77" fmla="*/ 27955 h 190500"/>
                <a:gd name="connsiteX78" fmla="*/ 83278 w 209550"/>
                <a:gd name="connsiteY78" fmla="*/ 9503 h 190500"/>
                <a:gd name="connsiteX79" fmla="*/ 79592 w 209550"/>
                <a:gd name="connsiteY79" fmla="*/ 9503 h 190500"/>
                <a:gd name="connsiteX80" fmla="*/ 68524 w 209550"/>
                <a:gd name="connsiteY80" fmla="*/ 5812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209550" h="190500">
                  <a:moveTo>
                    <a:pt x="68524" y="5812"/>
                  </a:moveTo>
                  <a:lnTo>
                    <a:pt x="72220" y="13193"/>
                  </a:lnTo>
                  <a:lnTo>
                    <a:pt x="64838" y="9503"/>
                  </a:lnTo>
                  <a:lnTo>
                    <a:pt x="64838" y="13193"/>
                  </a:lnTo>
                  <a:lnTo>
                    <a:pt x="61152" y="13193"/>
                  </a:lnTo>
                  <a:lnTo>
                    <a:pt x="42702" y="16883"/>
                  </a:lnTo>
                  <a:lnTo>
                    <a:pt x="39016" y="16883"/>
                  </a:lnTo>
                  <a:lnTo>
                    <a:pt x="39016" y="20574"/>
                  </a:lnTo>
                  <a:lnTo>
                    <a:pt x="27948" y="39027"/>
                  </a:lnTo>
                  <a:lnTo>
                    <a:pt x="9498" y="68552"/>
                  </a:lnTo>
                  <a:lnTo>
                    <a:pt x="9498" y="72242"/>
                  </a:lnTo>
                  <a:lnTo>
                    <a:pt x="5812" y="83314"/>
                  </a:lnTo>
                  <a:lnTo>
                    <a:pt x="5812" y="120219"/>
                  </a:lnTo>
                  <a:lnTo>
                    <a:pt x="5812" y="138672"/>
                  </a:lnTo>
                  <a:lnTo>
                    <a:pt x="5812" y="146054"/>
                  </a:lnTo>
                  <a:lnTo>
                    <a:pt x="5812" y="149744"/>
                  </a:lnTo>
                  <a:lnTo>
                    <a:pt x="5812" y="153435"/>
                  </a:lnTo>
                  <a:lnTo>
                    <a:pt x="9498" y="153435"/>
                  </a:lnTo>
                  <a:lnTo>
                    <a:pt x="13184" y="157125"/>
                  </a:lnTo>
                  <a:lnTo>
                    <a:pt x="16880" y="160816"/>
                  </a:lnTo>
                  <a:lnTo>
                    <a:pt x="24252" y="171888"/>
                  </a:lnTo>
                  <a:lnTo>
                    <a:pt x="35320" y="186649"/>
                  </a:lnTo>
                  <a:lnTo>
                    <a:pt x="39016" y="190340"/>
                  </a:lnTo>
                  <a:lnTo>
                    <a:pt x="42702" y="190340"/>
                  </a:lnTo>
                  <a:lnTo>
                    <a:pt x="79592" y="190340"/>
                  </a:lnTo>
                  <a:lnTo>
                    <a:pt x="83278" y="190340"/>
                  </a:lnTo>
                  <a:lnTo>
                    <a:pt x="94346" y="190340"/>
                  </a:lnTo>
                  <a:lnTo>
                    <a:pt x="123864" y="190340"/>
                  </a:lnTo>
                  <a:lnTo>
                    <a:pt x="127551" y="190340"/>
                  </a:lnTo>
                  <a:lnTo>
                    <a:pt x="157069" y="182959"/>
                  </a:lnTo>
                  <a:lnTo>
                    <a:pt x="160755" y="186649"/>
                  </a:lnTo>
                  <a:lnTo>
                    <a:pt x="164441" y="190340"/>
                  </a:lnTo>
                  <a:lnTo>
                    <a:pt x="171823" y="186649"/>
                  </a:lnTo>
                  <a:lnTo>
                    <a:pt x="175509" y="186649"/>
                  </a:lnTo>
                  <a:lnTo>
                    <a:pt x="182891" y="182959"/>
                  </a:lnTo>
                  <a:lnTo>
                    <a:pt x="182891" y="179269"/>
                  </a:lnTo>
                  <a:lnTo>
                    <a:pt x="193959" y="175578"/>
                  </a:lnTo>
                  <a:lnTo>
                    <a:pt x="197645" y="175578"/>
                  </a:lnTo>
                  <a:lnTo>
                    <a:pt x="208713" y="168197"/>
                  </a:lnTo>
                  <a:lnTo>
                    <a:pt x="212409" y="164507"/>
                  </a:lnTo>
                  <a:lnTo>
                    <a:pt x="208713" y="157125"/>
                  </a:lnTo>
                  <a:lnTo>
                    <a:pt x="201341" y="157125"/>
                  </a:lnTo>
                  <a:lnTo>
                    <a:pt x="197645" y="153435"/>
                  </a:lnTo>
                  <a:lnTo>
                    <a:pt x="193959" y="149744"/>
                  </a:lnTo>
                  <a:lnTo>
                    <a:pt x="186577" y="146054"/>
                  </a:lnTo>
                  <a:lnTo>
                    <a:pt x="182891" y="146054"/>
                  </a:lnTo>
                  <a:lnTo>
                    <a:pt x="175509" y="142363"/>
                  </a:lnTo>
                  <a:lnTo>
                    <a:pt x="175509" y="146054"/>
                  </a:lnTo>
                  <a:lnTo>
                    <a:pt x="171823" y="146054"/>
                  </a:lnTo>
                  <a:lnTo>
                    <a:pt x="171823" y="142363"/>
                  </a:lnTo>
                  <a:lnTo>
                    <a:pt x="171823" y="138672"/>
                  </a:lnTo>
                  <a:lnTo>
                    <a:pt x="175509" y="134982"/>
                  </a:lnTo>
                  <a:lnTo>
                    <a:pt x="179205" y="131291"/>
                  </a:lnTo>
                  <a:lnTo>
                    <a:pt x="186577" y="127600"/>
                  </a:lnTo>
                  <a:lnTo>
                    <a:pt x="186577" y="123910"/>
                  </a:lnTo>
                  <a:lnTo>
                    <a:pt x="186577" y="120219"/>
                  </a:lnTo>
                  <a:lnTo>
                    <a:pt x="182891" y="116529"/>
                  </a:lnTo>
                  <a:lnTo>
                    <a:pt x="182891" y="112838"/>
                  </a:lnTo>
                  <a:lnTo>
                    <a:pt x="179205" y="109147"/>
                  </a:lnTo>
                  <a:lnTo>
                    <a:pt x="175509" y="109147"/>
                  </a:lnTo>
                  <a:lnTo>
                    <a:pt x="175509" y="105457"/>
                  </a:lnTo>
                  <a:lnTo>
                    <a:pt x="168137" y="90695"/>
                  </a:lnTo>
                  <a:lnTo>
                    <a:pt x="164441" y="79623"/>
                  </a:lnTo>
                  <a:lnTo>
                    <a:pt x="157069" y="72242"/>
                  </a:lnTo>
                  <a:lnTo>
                    <a:pt x="153373" y="72242"/>
                  </a:lnTo>
                  <a:lnTo>
                    <a:pt x="149687" y="68552"/>
                  </a:lnTo>
                  <a:lnTo>
                    <a:pt x="146001" y="61171"/>
                  </a:lnTo>
                  <a:lnTo>
                    <a:pt x="134932" y="57480"/>
                  </a:lnTo>
                  <a:lnTo>
                    <a:pt x="131246" y="53789"/>
                  </a:lnTo>
                  <a:lnTo>
                    <a:pt x="123864" y="53789"/>
                  </a:lnTo>
                  <a:lnTo>
                    <a:pt x="116483" y="53789"/>
                  </a:lnTo>
                  <a:lnTo>
                    <a:pt x="116483" y="50099"/>
                  </a:lnTo>
                  <a:lnTo>
                    <a:pt x="112796" y="46408"/>
                  </a:lnTo>
                  <a:lnTo>
                    <a:pt x="109110" y="42717"/>
                  </a:lnTo>
                  <a:lnTo>
                    <a:pt x="105414" y="35336"/>
                  </a:lnTo>
                  <a:lnTo>
                    <a:pt x="101728" y="39027"/>
                  </a:lnTo>
                  <a:lnTo>
                    <a:pt x="101728" y="35336"/>
                  </a:lnTo>
                  <a:lnTo>
                    <a:pt x="98042" y="27955"/>
                  </a:lnTo>
                  <a:lnTo>
                    <a:pt x="83278" y="9503"/>
                  </a:lnTo>
                  <a:lnTo>
                    <a:pt x="79592" y="9503"/>
                  </a:lnTo>
                  <a:lnTo>
                    <a:pt x="68524" y="5812"/>
                  </a:lnTo>
                  <a:close/>
                </a:path>
              </a:pathLst>
            </a:custGeom>
            <a:solidFill>
              <a:srgbClr val="17722B"/>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46" name="Freeform: Shape 245">
              <a:extLst>
                <a:ext uri="{FF2B5EF4-FFF2-40B4-BE49-F238E27FC236}">
                  <a16:creationId xmlns:a16="http://schemas.microsoft.com/office/drawing/2014/main" id="{FA8DE6F5-5393-4604-8A43-448A829B3A81}"/>
                </a:ext>
              </a:extLst>
            </p:cNvPr>
            <p:cNvSpPr/>
            <p:nvPr/>
          </p:nvSpPr>
          <p:spPr>
            <a:xfrm>
              <a:off x="6144894" y="3640315"/>
              <a:ext cx="30745" cy="30745"/>
            </a:xfrm>
            <a:custGeom>
              <a:avLst/>
              <a:gdLst>
                <a:gd name="connsiteX0" fmla="*/ 9498 w 19050"/>
                <a:gd name="connsiteY0" fmla="*/ 5812 h 19050"/>
                <a:gd name="connsiteX1" fmla="*/ 13184 w 19050"/>
                <a:gd name="connsiteY1" fmla="*/ 5812 h 19050"/>
                <a:gd name="connsiteX2" fmla="*/ 16870 w 19050"/>
                <a:gd name="connsiteY2" fmla="*/ 5812 h 19050"/>
                <a:gd name="connsiteX3" fmla="*/ 16870 w 19050"/>
                <a:gd name="connsiteY3" fmla="*/ 5812 h 19050"/>
                <a:gd name="connsiteX4" fmla="*/ 20566 w 19050"/>
                <a:gd name="connsiteY4" fmla="*/ 9503 h 19050"/>
                <a:gd name="connsiteX5" fmla="*/ 16870 w 19050"/>
                <a:gd name="connsiteY5" fmla="*/ 13193 h 19050"/>
                <a:gd name="connsiteX6" fmla="*/ 16870 w 19050"/>
                <a:gd name="connsiteY6" fmla="*/ 13193 h 19050"/>
                <a:gd name="connsiteX7" fmla="*/ 13184 w 19050"/>
                <a:gd name="connsiteY7" fmla="*/ 13193 h 19050"/>
                <a:gd name="connsiteX8" fmla="*/ 13184 w 19050"/>
                <a:gd name="connsiteY8" fmla="*/ 13193 h 19050"/>
                <a:gd name="connsiteX9" fmla="*/ 13184 w 19050"/>
                <a:gd name="connsiteY9" fmla="*/ 13193 h 19050"/>
                <a:gd name="connsiteX10" fmla="*/ 13184 w 19050"/>
                <a:gd name="connsiteY10" fmla="*/ 16883 h 19050"/>
                <a:gd name="connsiteX11" fmla="*/ 13184 w 19050"/>
                <a:gd name="connsiteY11" fmla="*/ 16883 h 19050"/>
                <a:gd name="connsiteX12" fmla="*/ 13184 w 19050"/>
                <a:gd name="connsiteY12" fmla="*/ 16883 h 19050"/>
                <a:gd name="connsiteX13" fmla="*/ 9498 w 19050"/>
                <a:gd name="connsiteY13" fmla="*/ 13193 h 19050"/>
                <a:gd name="connsiteX14" fmla="*/ 9498 w 19050"/>
                <a:gd name="connsiteY14" fmla="*/ 13193 h 19050"/>
                <a:gd name="connsiteX15" fmla="*/ 9498 w 19050"/>
                <a:gd name="connsiteY15" fmla="*/ 9503 h 19050"/>
                <a:gd name="connsiteX16" fmla="*/ 5812 w 19050"/>
                <a:gd name="connsiteY16" fmla="*/ 9503 h 19050"/>
                <a:gd name="connsiteX17" fmla="*/ 5812 w 19050"/>
                <a:gd name="connsiteY17" fmla="*/ 5812 h 19050"/>
                <a:gd name="connsiteX18" fmla="*/ 9498 w 19050"/>
                <a:gd name="connsiteY18" fmla="*/ 5812 h 19050"/>
                <a:gd name="connsiteX19" fmla="*/ 9498 w 19050"/>
                <a:gd name="connsiteY19"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050" h="19050">
                  <a:moveTo>
                    <a:pt x="9498" y="5812"/>
                  </a:moveTo>
                  <a:lnTo>
                    <a:pt x="13184" y="5812"/>
                  </a:lnTo>
                  <a:lnTo>
                    <a:pt x="16870" y="5812"/>
                  </a:lnTo>
                  <a:lnTo>
                    <a:pt x="16870" y="5812"/>
                  </a:lnTo>
                  <a:lnTo>
                    <a:pt x="20566" y="9503"/>
                  </a:lnTo>
                  <a:lnTo>
                    <a:pt x="16870" y="13193"/>
                  </a:lnTo>
                  <a:lnTo>
                    <a:pt x="16870" y="13193"/>
                  </a:lnTo>
                  <a:lnTo>
                    <a:pt x="13184" y="13193"/>
                  </a:lnTo>
                  <a:lnTo>
                    <a:pt x="13184" y="13193"/>
                  </a:lnTo>
                  <a:lnTo>
                    <a:pt x="13184" y="13193"/>
                  </a:lnTo>
                  <a:lnTo>
                    <a:pt x="13184" y="16883"/>
                  </a:lnTo>
                  <a:lnTo>
                    <a:pt x="13184" y="16883"/>
                  </a:lnTo>
                  <a:lnTo>
                    <a:pt x="13184" y="16883"/>
                  </a:lnTo>
                  <a:lnTo>
                    <a:pt x="9498" y="13193"/>
                  </a:lnTo>
                  <a:lnTo>
                    <a:pt x="9498" y="13193"/>
                  </a:lnTo>
                  <a:lnTo>
                    <a:pt x="9498" y="9503"/>
                  </a:lnTo>
                  <a:lnTo>
                    <a:pt x="5812" y="9503"/>
                  </a:lnTo>
                  <a:lnTo>
                    <a:pt x="5812" y="5812"/>
                  </a:lnTo>
                  <a:lnTo>
                    <a:pt x="9498" y="5812"/>
                  </a:lnTo>
                  <a:lnTo>
                    <a:pt x="9498" y="5812"/>
                  </a:lnTo>
                  <a:close/>
                </a:path>
              </a:pathLst>
            </a:custGeom>
            <a:solidFill>
              <a:schemeClr val="accent3">
                <a:lumMod val="20000"/>
                <a:lumOff val="80000"/>
              </a:schemeClr>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47" name="Freeform: Shape 246">
              <a:extLst>
                <a:ext uri="{FF2B5EF4-FFF2-40B4-BE49-F238E27FC236}">
                  <a16:creationId xmlns:a16="http://schemas.microsoft.com/office/drawing/2014/main" id="{AC8335FC-7DD9-452A-B4C3-4ABF7A606285}"/>
                </a:ext>
              </a:extLst>
            </p:cNvPr>
            <p:cNvSpPr/>
            <p:nvPr/>
          </p:nvSpPr>
          <p:spPr>
            <a:xfrm>
              <a:off x="5793597" y="3527144"/>
              <a:ext cx="153727" cy="230591"/>
            </a:xfrm>
            <a:custGeom>
              <a:avLst/>
              <a:gdLst>
                <a:gd name="connsiteX0" fmla="*/ 9498 w 95250"/>
                <a:gd name="connsiteY0" fmla="*/ 5812 h 142875"/>
                <a:gd name="connsiteX1" fmla="*/ 9498 w 95250"/>
                <a:gd name="connsiteY1" fmla="*/ 5812 h 142875"/>
                <a:gd name="connsiteX2" fmla="*/ 16880 w 95250"/>
                <a:gd name="connsiteY2" fmla="*/ 5812 h 142875"/>
                <a:gd name="connsiteX3" fmla="*/ 42702 w 95250"/>
                <a:gd name="connsiteY3" fmla="*/ 16883 h 142875"/>
                <a:gd name="connsiteX4" fmla="*/ 46388 w 95250"/>
                <a:gd name="connsiteY4" fmla="*/ 20574 h 142875"/>
                <a:gd name="connsiteX5" fmla="*/ 64838 w 95250"/>
                <a:gd name="connsiteY5" fmla="*/ 39027 h 142875"/>
                <a:gd name="connsiteX6" fmla="*/ 72220 w 95250"/>
                <a:gd name="connsiteY6" fmla="*/ 50099 h 142875"/>
                <a:gd name="connsiteX7" fmla="*/ 72220 w 95250"/>
                <a:gd name="connsiteY7" fmla="*/ 53789 h 142875"/>
                <a:gd name="connsiteX8" fmla="*/ 90660 w 95250"/>
                <a:gd name="connsiteY8" fmla="*/ 83314 h 142875"/>
                <a:gd name="connsiteX9" fmla="*/ 98042 w 95250"/>
                <a:gd name="connsiteY9" fmla="*/ 101766 h 142875"/>
                <a:gd name="connsiteX10" fmla="*/ 98042 w 95250"/>
                <a:gd name="connsiteY10" fmla="*/ 105457 h 142875"/>
                <a:gd name="connsiteX11" fmla="*/ 94346 w 95250"/>
                <a:gd name="connsiteY11" fmla="*/ 105457 h 142875"/>
                <a:gd name="connsiteX12" fmla="*/ 90660 w 95250"/>
                <a:gd name="connsiteY12" fmla="*/ 109148 h 142875"/>
                <a:gd name="connsiteX13" fmla="*/ 83288 w 95250"/>
                <a:gd name="connsiteY13" fmla="*/ 112838 h 142875"/>
                <a:gd name="connsiteX14" fmla="*/ 79592 w 95250"/>
                <a:gd name="connsiteY14" fmla="*/ 127601 h 142875"/>
                <a:gd name="connsiteX15" fmla="*/ 75906 w 95250"/>
                <a:gd name="connsiteY15" fmla="*/ 134982 h 142875"/>
                <a:gd name="connsiteX16" fmla="*/ 79592 w 95250"/>
                <a:gd name="connsiteY16" fmla="*/ 134982 h 142875"/>
                <a:gd name="connsiteX17" fmla="*/ 79592 w 95250"/>
                <a:gd name="connsiteY17" fmla="*/ 134982 h 142875"/>
                <a:gd name="connsiteX18" fmla="*/ 75906 w 95250"/>
                <a:gd name="connsiteY18" fmla="*/ 142363 h 142875"/>
                <a:gd name="connsiteX19" fmla="*/ 75906 w 95250"/>
                <a:gd name="connsiteY19" fmla="*/ 134982 h 142875"/>
                <a:gd name="connsiteX20" fmla="*/ 75906 w 95250"/>
                <a:gd name="connsiteY20" fmla="*/ 134982 h 142875"/>
                <a:gd name="connsiteX21" fmla="*/ 79592 w 95250"/>
                <a:gd name="connsiteY21" fmla="*/ 127601 h 142875"/>
                <a:gd name="connsiteX22" fmla="*/ 83288 w 95250"/>
                <a:gd name="connsiteY22" fmla="*/ 112838 h 142875"/>
                <a:gd name="connsiteX23" fmla="*/ 86974 w 95250"/>
                <a:gd name="connsiteY23" fmla="*/ 109148 h 142875"/>
                <a:gd name="connsiteX24" fmla="*/ 94346 w 95250"/>
                <a:gd name="connsiteY24" fmla="*/ 105457 h 142875"/>
                <a:gd name="connsiteX25" fmla="*/ 98042 w 95250"/>
                <a:gd name="connsiteY25" fmla="*/ 105457 h 142875"/>
                <a:gd name="connsiteX26" fmla="*/ 98042 w 95250"/>
                <a:gd name="connsiteY26" fmla="*/ 101766 h 142875"/>
                <a:gd name="connsiteX27" fmla="*/ 90660 w 95250"/>
                <a:gd name="connsiteY27" fmla="*/ 83314 h 142875"/>
                <a:gd name="connsiteX28" fmla="*/ 64838 w 95250"/>
                <a:gd name="connsiteY28" fmla="*/ 39027 h 142875"/>
                <a:gd name="connsiteX29" fmla="*/ 46388 w 95250"/>
                <a:gd name="connsiteY29" fmla="*/ 20574 h 142875"/>
                <a:gd name="connsiteX30" fmla="*/ 42702 w 95250"/>
                <a:gd name="connsiteY30" fmla="*/ 16883 h 142875"/>
                <a:gd name="connsiteX31" fmla="*/ 20566 w 95250"/>
                <a:gd name="connsiteY31" fmla="*/ 5812 h 142875"/>
                <a:gd name="connsiteX32" fmla="*/ 16880 w 95250"/>
                <a:gd name="connsiteY32" fmla="*/ 13193 h 142875"/>
                <a:gd name="connsiteX33" fmla="*/ 16880 w 95250"/>
                <a:gd name="connsiteY33" fmla="*/ 13193 h 142875"/>
                <a:gd name="connsiteX34" fmla="*/ 13193 w 95250"/>
                <a:gd name="connsiteY34" fmla="*/ 13193 h 142875"/>
                <a:gd name="connsiteX35" fmla="*/ 9498 w 95250"/>
                <a:gd name="connsiteY35" fmla="*/ 13193 h 142875"/>
                <a:gd name="connsiteX36" fmla="*/ 5812 w 95250"/>
                <a:gd name="connsiteY36" fmla="*/ 13193 h 142875"/>
                <a:gd name="connsiteX37" fmla="*/ 9498 w 95250"/>
                <a:gd name="connsiteY37" fmla="*/ 13193 h 142875"/>
                <a:gd name="connsiteX38" fmla="*/ 13193 w 95250"/>
                <a:gd name="connsiteY38" fmla="*/ 9503 h 142875"/>
                <a:gd name="connsiteX39" fmla="*/ 16880 w 95250"/>
                <a:gd name="connsiteY39" fmla="*/ 5812 h 142875"/>
                <a:gd name="connsiteX40" fmla="*/ 13193 w 95250"/>
                <a:gd name="connsiteY40" fmla="*/ 5812 h 142875"/>
                <a:gd name="connsiteX41" fmla="*/ 13193 w 95250"/>
                <a:gd name="connsiteY41" fmla="*/ 5812 h 142875"/>
                <a:gd name="connsiteX42" fmla="*/ 9498 w 95250"/>
                <a:gd name="connsiteY42" fmla="*/ 5812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5250" h="142875">
                  <a:moveTo>
                    <a:pt x="9498" y="5812"/>
                  </a:moveTo>
                  <a:lnTo>
                    <a:pt x="9498" y="5812"/>
                  </a:lnTo>
                  <a:lnTo>
                    <a:pt x="16880" y="5812"/>
                  </a:lnTo>
                  <a:lnTo>
                    <a:pt x="42702" y="16883"/>
                  </a:lnTo>
                  <a:lnTo>
                    <a:pt x="46388" y="20574"/>
                  </a:lnTo>
                  <a:lnTo>
                    <a:pt x="64838" y="39027"/>
                  </a:lnTo>
                  <a:lnTo>
                    <a:pt x="72220" y="50099"/>
                  </a:lnTo>
                  <a:lnTo>
                    <a:pt x="72220" y="53789"/>
                  </a:lnTo>
                  <a:lnTo>
                    <a:pt x="90660" y="83314"/>
                  </a:lnTo>
                  <a:lnTo>
                    <a:pt x="98042" y="101766"/>
                  </a:lnTo>
                  <a:lnTo>
                    <a:pt x="98042" y="105457"/>
                  </a:lnTo>
                  <a:lnTo>
                    <a:pt x="94346" y="105457"/>
                  </a:lnTo>
                  <a:lnTo>
                    <a:pt x="90660" y="109148"/>
                  </a:lnTo>
                  <a:lnTo>
                    <a:pt x="83288" y="112838"/>
                  </a:lnTo>
                  <a:lnTo>
                    <a:pt x="79592" y="127601"/>
                  </a:lnTo>
                  <a:lnTo>
                    <a:pt x="75906" y="134982"/>
                  </a:lnTo>
                  <a:lnTo>
                    <a:pt x="79592" y="134982"/>
                  </a:lnTo>
                  <a:lnTo>
                    <a:pt x="79592" y="134982"/>
                  </a:lnTo>
                  <a:lnTo>
                    <a:pt x="75906" y="142363"/>
                  </a:lnTo>
                  <a:lnTo>
                    <a:pt x="75906" y="134982"/>
                  </a:lnTo>
                  <a:lnTo>
                    <a:pt x="75906" y="134982"/>
                  </a:lnTo>
                  <a:lnTo>
                    <a:pt x="79592" y="127601"/>
                  </a:lnTo>
                  <a:lnTo>
                    <a:pt x="83288" y="112838"/>
                  </a:lnTo>
                  <a:lnTo>
                    <a:pt x="86974" y="109148"/>
                  </a:lnTo>
                  <a:lnTo>
                    <a:pt x="94346" y="105457"/>
                  </a:lnTo>
                  <a:lnTo>
                    <a:pt x="98042" y="105457"/>
                  </a:lnTo>
                  <a:lnTo>
                    <a:pt x="98042" y="101766"/>
                  </a:lnTo>
                  <a:lnTo>
                    <a:pt x="90660" y="83314"/>
                  </a:lnTo>
                  <a:lnTo>
                    <a:pt x="64838" y="39027"/>
                  </a:lnTo>
                  <a:lnTo>
                    <a:pt x="46388" y="20574"/>
                  </a:lnTo>
                  <a:lnTo>
                    <a:pt x="42702" y="16883"/>
                  </a:lnTo>
                  <a:lnTo>
                    <a:pt x="20566" y="5812"/>
                  </a:lnTo>
                  <a:lnTo>
                    <a:pt x="16880" y="13193"/>
                  </a:lnTo>
                  <a:lnTo>
                    <a:pt x="16880" y="13193"/>
                  </a:lnTo>
                  <a:lnTo>
                    <a:pt x="13193" y="13193"/>
                  </a:lnTo>
                  <a:lnTo>
                    <a:pt x="9498" y="13193"/>
                  </a:lnTo>
                  <a:lnTo>
                    <a:pt x="5812" y="13193"/>
                  </a:lnTo>
                  <a:lnTo>
                    <a:pt x="9498" y="13193"/>
                  </a:lnTo>
                  <a:lnTo>
                    <a:pt x="13193" y="9503"/>
                  </a:lnTo>
                  <a:lnTo>
                    <a:pt x="16880" y="5812"/>
                  </a:lnTo>
                  <a:lnTo>
                    <a:pt x="13193" y="5812"/>
                  </a:lnTo>
                  <a:lnTo>
                    <a:pt x="13193" y="5812"/>
                  </a:lnTo>
                  <a:lnTo>
                    <a:pt x="9498" y="5812"/>
                  </a:lnTo>
                  <a:close/>
                </a:path>
              </a:pathLst>
            </a:custGeom>
            <a:solidFill>
              <a:schemeClr val="accent3">
                <a:lumMod val="20000"/>
                <a:lumOff val="80000"/>
              </a:schemeClr>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48" name="Freeform: Shape 247">
              <a:extLst>
                <a:ext uri="{FF2B5EF4-FFF2-40B4-BE49-F238E27FC236}">
                  <a16:creationId xmlns:a16="http://schemas.microsoft.com/office/drawing/2014/main" id="{76F6963F-E4CE-4FC6-8046-B1E1A190CCE8}"/>
                </a:ext>
              </a:extLst>
            </p:cNvPr>
            <p:cNvSpPr/>
            <p:nvPr/>
          </p:nvSpPr>
          <p:spPr>
            <a:xfrm>
              <a:off x="5710240" y="3032771"/>
              <a:ext cx="138355" cy="107609"/>
            </a:xfrm>
            <a:custGeom>
              <a:avLst/>
              <a:gdLst>
                <a:gd name="connsiteX0" fmla="*/ 5812 w 85725"/>
                <a:gd name="connsiteY0" fmla="*/ 68551 h 66675"/>
                <a:gd name="connsiteX1" fmla="*/ 20568 w 85725"/>
                <a:gd name="connsiteY1" fmla="*/ 53789 h 66675"/>
                <a:gd name="connsiteX2" fmla="*/ 24258 w 85725"/>
                <a:gd name="connsiteY2" fmla="*/ 50098 h 66675"/>
                <a:gd name="connsiteX3" fmla="*/ 64843 w 85725"/>
                <a:gd name="connsiteY3" fmla="*/ 13192 h 66675"/>
                <a:gd name="connsiteX4" fmla="*/ 68529 w 85725"/>
                <a:gd name="connsiteY4" fmla="*/ 13192 h 66675"/>
                <a:gd name="connsiteX5" fmla="*/ 79597 w 85725"/>
                <a:gd name="connsiteY5" fmla="*/ 9502 h 66675"/>
                <a:gd name="connsiteX6" fmla="*/ 83283 w 85725"/>
                <a:gd name="connsiteY6" fmla="*/ 9502 h 66675"/>
                <a:gd name="connsiteX7" fmla="*/ 83283 w 85725"/>
                <a:gd name="connsiteY7" fmla="*/ 9502 h 66675"/>
                <a:gd name="connsiteX8" fmla="*/ 83283 w 85725"/>
                <a:gd name="connsiteY8" fmla="*/ 9502 h 66675"/>
                <a:gd name="connsiteX9" fmla="*/ 83283 w 85725"/>
                <a:gd name="connsiteY9" fmla="*/ 5812 h 66675"/>
                <a:gd name="connsiteX10" fmla="*/ 83283 w 85725"/>
                <a:gd name="connsiteY10" fmla="*/ 9502 h 66675"/>
                <a:gd name="connsiteX11" fmla="*/ 86969 w 85725"/>
                <a:gd name="connsiteY11" fmla="*/ 13192 h 66675"/>
                <a:gd name="connsiteX12" fmla="*/ 83283 w 85725"/>
                <a:gd name="connsiteY12" fmla="*/ 9502 h 66675"/>
                <a:gd name="connsiteX13" fmla="*/ 79597 w 85725"/>
                <a:gd name="connsiteY13" fmla="*/ 9502 h 66675"/>
                <a:gd name="connsiteX14" fmla="*/ 79597 w 85725"/>
                <a:gd name="connsiteY14" fmla="*/ 9502 h 66675"/>
                <a:gd name="connsiteX15" fmla="*/ 72215 w 85725"/>
                <a:gd name="connsiteY15" fmla="*/ 13192 h 66675"/>
                <a:gd name="connsiteX16" fmla="*/ 64843 w 85725"/>
                <a:gd name="connsiteY16" fmla="*/ 13192 h 66675"/>
                <a:gd name="connsiteX17" fmla="*/ 31636 w 85725"/>
                <a:gd name="connsiteY17" fmla="*/ 46407 h 66675"/>
                <a:gd name="connsiteX18" fmla="*/ 27947 w 85725"/>
                <a:gd name="connsiteY18" fmla="*/ 50098 h 66675"/>
                <a:gd name="connsiteX19" fmla="*/ 27947 w 85725"/>
                <a:gd name="connsiteY19" fmla="*/ 50098 h 66675"/>
                <a:gd name="connsiteX20" fmla="*/ 24258 w 85725"/>
                <a:gd name="connsiteY20" fmla="*/ 50098 h 66675"/>
                <a:gd name="connsiteX21" fmla="*/ 20568 w 85725"/>
                <a:gd name="connsiteY21" fmla="*/ 53789 h 66675"/>
                <a:gd name="connsiteX22" fmla="*/ 5812 w 85725"/>
                <a:gd name="connsiteY22" fmla="*/ 68551 h 66675"/>
                <a:gd name="connsiteX23" fmla="*/ 5812 w 85725"/>
                <a:gd name="connsiteY23" fmla="*/ 68551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725" h="66675">
                  <a:moveTo>
                    <a:pt x="5812" y="68551"/>
                  </a:moveTo>
                  <a:lnTo>
                    <a:pt x="20568" y="53789"/>
                  </a:lnTo>
                  <a:lnTo>
                    <a:pt x="24258" y="50098"/>
                  </a:lnTo>
                  <a:lnTo>
                    <a:pt x="64843" y="13192"/>
                  </a:lnTo>
                  <a:lnTo>
                    <a:pt x="68529" y="13192"/>
                  </a:lnTo>
                  <a:lnTo>
                    <a:pt x="79597" y="9502"/>
                  </a:lnTo>
                  <a:lnTo>
                    <a:pt x="83283" y="9502"/>
                  </a:lnTo>
                  <a:lnTo>
                    <a:pt x="83283" y="9502"/>
                  </a:lnTo>
                  <a:lnTo>
                    <a:pt x="83283" y="9502"/>
                  </a:lnTo>
                  <a:lnTo>
                    <a:pt x="83283" y="5812"/>
                  </a:lnTo>
                  <a:lnTo>
                    <a:pt x="83283" y="9502"/>
                  </a:lnTo>
                  <a:lnTo>
                    <a:pt x="86969" y="13192"/>
                  </a:lnTo>
                  <a:lnTo>
                    <a:pt x="83283" y="9502"/>
                  </a:lnTo>
                  <a:lnTo>
                    <a:pt x="79597" y="9502"/>
                  </a:lnTo>
                  <a:lnTo>
                    <a:pt x="79597" y="9502"/>
                  </a:lnTo>
                  <a:lnTo>
                    <a:pt x="72215" y="13192"/>
                  </a:lnTo>
                  <a:lnTo>
                    <a:pt x="64843" y="13192"/>
                  </a:lnTo>
                  <a:lnTo>
                    <a:pt x="31636" y="46407"/>
                  </a:lnTo>
                  <a:lnTo>
                    <a:pt x="27947" y="50098"/>
                  </a:lnTo>
                  <a:lnTo>
                    <a:pt x="27947" y="50098"/>
                  </a:lnTo>
                  <a:lnTo>
                    <a:pt x="24258" y="50098"/>
                  </a:lnTo>
                  <a:lnTo>
                    <a:pt x="20568" y="53789"/>
                  </a:lnTo>
                  <a:lnTo>
                    <a:pt x="5812" y="68551"/>
                  </a:lnTo>
                  <a:lnTo>
                    <a:pt x="5812" y="68551"/>
                  </a:lnTo>
                  <a:close/>
                </a:path>
              </a:pathLst>
            </a:custGeom>
            <a:solidFill>
              <a:schemeClr val="accent3">
                <a:lumMod val="20000"/>
                <a:lumOff val="80000"/>
              </a:schemeClr>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49" name="Freeform: Shape 248">
              <a:extLst>
                <a:ext uri="{FF2B5EF4-FFF2-40B4-BE49-F238E27FC236}">
                  <a16:creationId xmlns:a16="http://schemas.microsoft.com/office/drawing/2014/main" id="{08C47FEF-F174-4C63-AE31-8CF28B61060E}"/>
                </a:ext>
              </a:extLst>
            </p:cNvPr>
            <p:cNvSpPr/>
            <p:nvPr/>
          </p:nvSpPr>
          <p:spPr>
            <a:xfrm>
              <a:off x="5859085" y="3032771"/>
              <a:ext cx="30745" cy="46118"/>
            </a:xfrm>
            <a:custGeom>
              <a:avLst/>
              <a:gdLst>
                <a:gd name="connsiteX0" fmla="*/ 9507 w 19050"/>
                <a:gd name="connsiteY0" fmla="*/ 16883 h 28575"/>
                <a:gd name="connsiteX1" fmla="*/ 9507 w 19050"/>
                <a:gd name="connsiteY1" fmla="*/ 13192 h 28575"/>
                <a:gd name="connsiteX2" fmla="*/ 5812 w 19050"/>
                <a:gd name="connsiteY2" fmla="*/ 5812 h 28575"/>
                <a:gd name="connsiteX3" fmla="*/ 5812 w 19050"/>
                <a:gd name="connsiteY3" fmla="*/ 5812 h 28575"/>
                <a:gd name="connsiteX4" fmla="*/ 9507 w 19050"/>
                <a:gd name="connsiteY4" fmla="*/ 5812 h 28575"/>
                <a:gd name="connsiteX5" fmla="*/ 9507 w 19050"/>
                <a:gd name="connsiteY5" fmla="*/ 9502 h 28575"/>
                <a:gd name="connsiteX6" fmla="*/ 13193 w 19050"/>
                <a:gd name="connsiteY6" fmla="*/ 9502 h 28575"/>
                <a:gd name="connsiteX7" fmla="*/ 16880 w 19050"/>
                <a:gd name="connsiteY7" fmla="*/ 9502 h 28575"/>
                <a:gd name="connsiteX8" fmla="*/ 16880 w 19050"/>
                <a:gd name="connsiteY8" fmla="*/ 13192 h 28575"/>
                <a:gd name="connsiteX9" fmla="*/ 16880 w 19050"/>
                <a:gd name="connsiteY9" fmla="*/ 16883 h 28575"/>
                <a:gd name="connsiteX10" fmla="*/ 20575 w 19050"/>
                <a:gd name="connsiteY10" fmla="*/ 16883 h 28575"/>
                <a:gd name="connsiteX11" fmla="*/ 20575 w 19050"/>
                <a:gd name="connsiteY11" fmla="*/ 20573 h 28575"/>
                <a:gd name="connsiteX12" fmla="*/ 20575 w 19050"/>
                <a:gd name="connsiteY12" fmla="*/ 20573 h 28575"/>
                <a:gd name="connsiteX13" fmla="*/ 20575 w 19050"/>
                <a:gd name="connsiteY13" fmla="*/ 24264 h 28575"/>
                <a:gd name="connsiteX14" fmla="*/ 16880 w 19050"/>
                <a:gd name="connsiteY14" fmla="*/ 24264 h 28575"/>
                <a:gd name="connsiteX15" fmla="*/ 13193 w 19050"/>
                <a:gd name="connsiteY15" fmla="*/ 20573 h 28575"/>
                <a:gd name="connsiteX16" fmla="*/ 9507 w 19050"/>
                <a:gd name="connsiteY16" fmla="*/ 16883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50" h="28575">
                  <a:moveTo>
                    <a:pt x="9507" y="16883"/>
                  </a:moveTo>
                  <a:lnTo>
                    <a:pt x="9507" y="13192"/>
                  </a:lnTo>
                  <a:lnTo>
                    <a:pt x="5812" y="5812"/>
                  </a:lnTo>
                  <a:lnTo>
                    <a:pt x="5812" y="5812"/>
                  </a:lnTo>
                  <a:lnTo>
                    <a:pt x="9507" y="5812"/>
                  </a:lnTo>
                  <a:lnTo>
                    <a:pt x="9507" y="9502"/>
                  </a:lnTo>
                  <a:lnTo>
                    <a:pt x="13193" y="9502"/>
                  </a:lnTo>
                  <a:lnTo>
                    <a:pt x="16880" y="9502"/>
                  </a:lnTo>
                  <a:lnTo>
                    <a:pt x="16880" y="13192"/>
                  </a:lnTo>
                  <a:lnTo>
                    <a:pt x="16880" y="16883"/>
                  </a:lnTo>
                  <a:lnTo>
                    <a:pt x="20575" y="16883"/>
                  </a:lnTo>
                  <a:lnTo>
                    <a:pt x="20575" y="20573"/>
                  </a:lnTo>
                  <a:lnTo>
                    <a:pt x="20575" y="20573"/>
                  </a:lnTo>
                  <a:lnTo>
                    <a:pt x="20575" y="24264"/>
                  </a:lnTo>
                  <a:lnTo>
                    <a:pt x="16880" y="24264"/>
                  </a:lnTo>
                  <a:lnTo>
                    <a:pt x="13193" y="20573"/>
                  </a:lnTo>
                  <a:lnTo>
                    <a:pt x="9507" y="16883"/>
                  </a:lnTo>
                  <a:close/>
                </a:path>
              </a:pathLst>
            </a:custGeom>
            <a:solidFill>
              <a:schemeClr val="accent3">
                <a:lumMod val="20000"/>
                <a:lumOff val="80000"/>
              </a:schemeClr>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50" name="Freeform: Shape 249">
              <a:extLst>
                <a:ext uri="{FF2B5EF4-FFF2-40B4-BE49-F238E27FC236}">
                  <a16:creationId xmlns:a16="http://schemas.microsoft.com/office/drawing/2014/main" id="{29AE3118-36EA-4746-A8AA-74272382D6D1}"/>
                </a:ext>
              </a:extLst>
            </p:cNvPr>
            <p:cNvSpPr/>
            <p:nvPr/>
          </p:nvSpPr>
          <p:spPr>
            <a:xfrm>
              <a:off x="6484277" y="2520529"/>
              <a:ext cx="830125" cy="814752"/>
            </a:xfrm>
            <a:custGeom>
              <a:avLst/>
              <a:gdLst>
                <a:gd name="connsiteX0" fmla="*/ 275121 w 514350"/>
                <a:gd name="connsiteY0" fmla="*/ 5812 h 504825"/>
                <a:gd name="connsiteX1" fmla="*/ 267740 w 514350"/>
                <a:gd name="connsiteY1" fmla="*/ 9502 h 504825"/>
                <a:gd name="connsiteX2" fmla="*/ 238222 w 514350"/>
                <a:gd name="connsiteY2" fmla="*/ 13193 h 504825"/>
                <a:gd name="connsiteX3" fmla="*/ 234535 w 514350"/>
                <a:gd name="connsiteY3" fmla="*/ 16883 h 504825"/>
                <a:gd name="connsiteX4" fmla="*/ 223467 w 514350"/>
                <a:gd name="connsiteY4" fmla="*/ 20574 h 504825"/>
                <a:gd name="connsiteX5" fmla="*/ 219781 w 514350"/>
                <a:gd name="connsiteY5" fmla="*/ 20574 h 504825"/>
                <a:gd name="connsiteX6" fmla="*/ 216095 w 514350"/>
                <a:gd name="connsiteY6" fmla="*/ 24264 h 504825"/>
                <a:gd name="connsiteX7" fmla="*/ 208713 w 514350"/>
                <a:gd name="connsiteY7" fmla="*/ 24264 h 504825"/>
                <a:gd name="connsiteX8" fmla="*/ 201331 w 514350"/>
                <a:gd name="connsiteY8" fmla="*/ 31645 h 504825"/>
                <a:gd name="connsiteX9" fmla="*/ 197645 w 514350"/>
                <a:gd name="connsiteY9" fmla="*/ 31645 h 504825"/>
                <a:gd name="connsiteX10" fmla="*/ 193959 w 514350"/>
                <a:gd name="connsiteY10" fmla="*/ 31645 h 504825"/>
                <a:gd name="connsiteX11" fmla="*/ 190263 w 514350"/>
                <a:gd name="connsiteY11" fmla="*/ 31645 h 504825"/>
                <a:gd name="connsiteX12" fmla="*/ 182891 w 514350"/>
                <a:gd name="connsiteY12" fmla="*/ 35336 h 504825"/>
                <a:gd name="connsiteX13" fmla="*/ 175509 w 514350"/>
                <a:gd name="connsiteY13" fmla="*/ 39027 h 504825"/>
                <a:gd name="connsiteX14" fmla="*/ 171823 w 514350"/>
                <a:gd name="connsiteY14" fmla="*/ 35336 h 504825"/>
                <a:gd name="connsiteX15" fmla="*/ 168127 w 514350"/>
                <a:gd name="connsiteY15" fmla="*/ 39027 h 504825"/>
                <a:gd name="connsiteX16" fmla="*/ 149687 w 514350"/>
                <a:gd name="connsiteY16" fmla="*/ 39027 h 504825"/>
                <a:gd name="connsiteX17" fmla="*/ 138619 w 514350"/>
                <a:gd name="connsiteY17" fmla="*/ 42717 h 504825"/>
                <a:gd name="connsiteX18" fmla="*/ 123864 w 514350"/>
                <a:gd name="connsiteY18" fmla="*/ 46408 h 504825"/>
                <a:gd name="connsiteX19" fmla="*/ 116483 w 514350"/>
                <a:gd name="connsiteY19" fmla="*/ 46408 h 504825"/>
                <a:gd name="connsiteX20" fmla="*/ 109101 w 514350"/>
                <a:gd name="connsiteY20" fmla="*/ 50098 h 504825"/>
                <a:gd name="connsiteX21" fmla="*/ 101728 w 514350"/>
                <a:gd name="connsiteY21" fmla="*/ 50098 h 504825"/>
                <a:gd name="connsiteX22" fmla="*/ 90660 w 514350"/>
                <a:gd name="connsiteY22" fmla="*/ 53789 h 504825"/>
                <a:gd name="connsiteX23" fmla="*/ 79592 w 514350"/>
                <a:gd name="connsiteY23" fmla="*/ 57480 h 504825"/>
                <a:gd name="connsiteX24" fmla="*/ 75906 w 514350"/>
                <a:gd name="connsiteY24" fmla="*/ 61170 h 504825"/>
                <a:gd name="connsiteX25" fmla="*/ 75906 w 514350"/>
                <a:gd name="connsiteY25" fmla="*/ 64861 h 504825"/>
                <a:gd name="connsiteX26" fmla="*/ 68524 w 514350"/>
                <a:gd name="connsiteY26" fmla="*/ 68551 h 504825"/>
                <a:gd name="connsiteX27" fmla="*/ 64838 w 514350"/>
                <a:gd name="connsiteY27" fmla="*/ 64861 h 504825"/>
                <a:gd name="connsiteX28" fmla="*/ 61142 w 514350"/>
                <a:gd name="connsiteY28" fmla="*/ 61170 h 504825"/>
                <a:gd name="connsiteX29" fmla="*/ 42702 w 514350"/>
                <a:gd name="connsiteY29" fmla="*/ 50098 h 504825"/>
                <a:gd name="connsiteX30" fmla="*/ 39006 w 514350"/>
                <a:gd name="connsiteY30" fmla="*/ 50098 h 504825"/>
                <a:gd name="connsiteX31" fmla="*/ 24252 w 514350"/>
                <a:gd name="connsiteY31" fmla="*/ 57480 h 504825"/>
                <a:gd name="connsiteX32" fmla="*/ 24252 w 514350"/>
                <a:gd name="connsiteY32" fmla="*/ 53789 h 504825"/>
                <a:gd name="connsiteX33" fmla="*/ 20566 w 514350"/>
                <a:gd name="connsiteY33" fmla="*/ 53789 h 504825"/>
                <a:gd name="connsiteX34" fmla="*/ 20566 w 514350"/>
                <a:gd name="connsiteY34" fmla="*/ 57480 h 504825"/>
                <a:gd name="connsiteX35" fmla="*/ 16870 w 514350"/>
                <a:gd name="connsiteY35" fmla="*/ 57480 h 504825"/>
                <a:gd name="connsiteX36" fmla="*/ 16870 w 514350"/>
                <a:gd name="connsiteY36" fmla="*/ 53789 h 504825"/>
                <a:gd name="connsiteX37" fmla="*/ 13184 w 514350"/>
                <a:gd name="connsiteY37" fmla="*/ 57480 h 504825"/>
                <a:gd name="connsiteX38" fmla="*/ 16870 w 514350"/>
                <a:gd name="connsiteY38" fmla="*/ 61170 h 504825"/>
                <a:gd name="connsiteX39" fmla="*/ 20566 w 514350"/>
                <a:gd name="connsiteY39" fmla="*/ 61170 h 504825"/>
                <a:gd name="connsiteX40" fmla="*/ 24252 w 514350"/>
                <a:gd name="connsiteY40" fmla="*/ 64861 h 504825"/>
                <a:gd name="connsiteX41" fmla="*/ 27938 w 514350"/>
                <a:gd name="connsiteY41" fmla="*/ 64861 h 504825"/>
                <a:gd name="connsiteX42" fmla="*/ 31634 w 514350"/>
                <a:gd name="connsiteY42" fmla="*/ 68551 h 504825"/>
                <a:gd name="connsiteX43" fmla="*/ 35320 w 514350"/>
                <a:gd name="connsiteY43" fmla="*/ 68551 h 504825"/>
                <a:gd name="connsiteX44" fmla="*/ 35320 w 514350"/>
                <a:gd name="connsiteY44" fmla="*/ 72242 h 504825"/>
                <a:gd name="connsiteX45" fmla="*/ 31634 w 514350"/>
                <a:gd name="connsiteY45" fmla="*/ 72242 h 504825"/>
                <a:gd name="connsiteX46" fmla="*/ 27938 w 514350"/>
                <a:gd name="connsiteY46" fmla="*/ 72242 h 504825"/>
                <a:gd name="connsiteX47" fmla="*/ 24252 w 514350"/>
                <a:gd name="connsiteY47" fmla="*/ 72242 h 504825"/>
                <a:gd name="connsiteX48" fmla="*/ 24252 w 514350"/>
                <a:gd name="connsiteY48" fmla="*/ 68551 h 504825"/>
                <a:gd name="connsiteX49" fmla="*/ 16870 w 514350"/>
                <a:gd name="connsiteY49" fmla="*/ 64861 h 504825"/>
                <a:gd name="connsiteX50" fmla="*/ 16870 w 514350"/>
                <a:gd name="connsiteY50" fmla="*/ 61170 h 504825"/>
                <a:gd name="connsiteX51" fmla="*/ 9498 w 514350"/>
                <a:gd name="connsiteY51" fmla="*/ 61170 h 504825"/>
                <a:gd name="connsiteX52" fmla="*/ 5812 w 514350"/>
                <a:gd name="connsiteY52" fmla="*/ 68551 h 504825"/>
                <a:gd name="connsiteX53" fmla="*/ 9498 w 514350"/>
                <a:gd name="connsiteY53" fmla="*/ 68551 h 504825"/>
                <a:gd name="connsiteX54" fmla="*/ 13184 w 514350"/>
                <a:gd name="connsiteY54" fmla="*/ 72242 h 504825"/>
                <a:gd name="connsiteX55" fmla="*/ 16870 w 514350"/>
                <a:gd name="connsiteY55" fmla="*/ 72242 h 504825"/>
                <a:gd name="connsiteX56" fmla="*/ 16870 w 514350"/>
                <a:gd name="connsiteY56" fmla="*/ 75933 h 504825"/>
                <a:gd name="connsiteX57" fmla="*/ 13184 w 514350"/>
                <a:gd name="connsiteY57" fmla="*/ 79623 h 504825"/>
                <a:gd name="connsiteX58" fmla="*/ 9498 w 514350"/>
                <a:gd name="connsiteY58" fmla="*/ 75933 h 504825"/>
                <a:gd name="connsiteX59" fmla="*/ 9498 w 514350"/>
                <a:gd name="connsiteY59" fmla="*/ 79623 h 504825"/>
                <a:gd name="connsiteX60" fmla="*/ 13184 w 514350"/>
                <a:gd name="connsiteY60" fmla="*/ 83314 h 504825"/>
                <a:gd name="connsiteX61" fmla="*/ 16870 w 514350"/>
                <a:gd name="connsiteY61" fmla="*/ 83314 h 504825"/>
                <a:gd name="connsiteX62" fmla="*/ 20566 w 514350"/>
                <a:gd name="connsiteY62" fmla="*/ 83314 h 504825"/>
                <a:gd name="connsiteX63" fmla="*/ 24252 w 514350"/>
                <a:gd name="connsiteY63" fmla="*/ 83314 h 504825"/>
                <a:gd name="connsiteX64" fmla="*/ 27938 w 514350"/>
                <a:gd name="connsiteY64" fmla="*/ 83314 h 504825"/>
                <a:gd name="connsiteX65" fmla="*/ 31634 w 514350"/>
                <a:gd name="connsiteY65" fmla="*/ 83314 h 504825"/>
                <a:gd name="connsiteX66" fmla="*/ 31634 w 514350"/>
                <a:gd name="connsiteY66" fmla="*/ 87005 h 504825"/>
                <a:gd name="connsiteX67" fmla="*/ 24252 w 514350"/>
                <a:gd name="connsiteY67" fmla="*/ 87005 h 504825"/>
                <a:gd name="connsiteX68" fmla="*/ 20566 w 514350"/>
                <a:gd name="connsiteY68" fmla="*/ 87005 h 504825"/>
                <a:gd name="connsiteX69" fmla="*/ 20566 w 514350"/>
                <a:gd name="connsiteY69" fmla="*/ 90695 h 504825"/>
                <a:gd name="connsiteX70" fmla="*/ 24252 w 514350"/>
                <a:gd name="connsiteY70" fmla="*/ 90695 h 504825"/>
                <a:gd name="connsiteX71" fmla="*/ 27938 w 514350"/>
                <a:gd name="connsiteY71" fmla="*/ 90695 h 504825"/>
                <a:gd name="connsiteX72" fmla="*/ 31634 w 514350"/>
                <a:gd name="connsiteY72" fmla="*/ 90695 h 504825"/>
                <a:gd name="connsiteX73" fmla="*/ 35320 w 514350"/>
                <a:gd name="connsiteY73" fmla="*/ 87005 h 504825"/>
                <a:gd name="connsiteX74" fmla="*/ 35320 w 514350"/>
                <a:gd name="connsiteY74" fmla="*/ 90695 h 504825"/>
                <a:gd name="connsiteX75" fmla="*/ 35320 w 514350"/>
                <a:gd name="connsiteY75" fmla="*/ 94385 h 504825"/>
                <a:gd name="connsiteX76" fmla="*/ 31634 w 514350"/>
                <a:gd name="connsiteY76" fmla="*/ 94385 h 504825"/>
                <a:gd name="connsiteX77" fmla="*/ 35320 w 514350"/>
                <a:gd name="connsiteY77" fmla="*/ 98075 h 504825"/>
                <a:gd name="connsiteX78" fmla="*/ 39006 w 514350"/>
                <a:gd name="connsiteY78" fmla="*/ 94385 h 504825"/>
                <a:gd name="connsiteX79" fmla="*/ 42702 w 514350"/>
                <a:gd name="connsiteY79" fmla="*/ 94385 h 504825"/>
                <a:gd name="connsiteX80" fmla="*/ 42702 w 514350"/>
                <a:gd name="connsiteY80" fmla="*/ 98075 h 504825"/>
                <a:gd name="connsiteX81" fmla="*/ 39006 w 514350"/>
                <a:gd name="connsiteY81" fmla="*/ 101766 h 504825"/>
                <a:gd name="connsiteX82" fmla="*/ 31634 w 514350"/>
                <a:gd name="connsiteY82" fmla="*/ 101766 h 504825"/>
                <a:gd name="connsiteX83" fmla="*/ 31634 w 514350"/>
                <a:gd name="connsiteY83" fmla="*/ 105457 h 504825"/>
                <a:gd name="connsiteX84" fmla="*/ 35320 w 514350"/>
                <a:gd name="connsiteY84" fmla="*/ 109147 h 504825"/>
                <a:gd name="connsiteX85" fmla="*/ 39006 w 514350"/>
                <a:gd name="connsiteY85" fmla="*/ 105457 h 504825"/>
                <a:gd name="connsiteX86" fmla="*/ 42702 w 514350"/>
                <a:gd name="connsiteY86" fmla="*/ 105457 h 504825"/>
                <a:gd name="connsiteX87" fmla="*/ 46388 w 514350"/>
                <a:gd name="connsiteY87" fmla="*/ 105457 h 504825"/>
                <a:gd name="connsiteX88" fmla="*/ 50074 w 514350"/>
                <a:gd name="connsiteY88" fmla="*/ 105457 h 504825"/>
                <a:gd name="connsiteX89" fmla="*/ 53770 w 514350"/>
                <a:gd name="connsiteY89" fmla="*/ 109147 h 504825"/>
                <a:gd name="connsiteX90" fmla="*/ 57456 w 514350"/>
                <a:gd name="connsiteY90" fmla="*/ 109147 h 504825"/>
                <a:gd name="connsiteX91" fmla="*/ 57456 w 514350"/>
                <a:gd name="connsiteY91" fmla="*/ 131291 h 504825"/>
                <a:gd name="connsiteX92" fmla="*/ 57456 w 514350"/>
                <a:gd name="connsiteY92" fmla="*/ 134981 h 504825"/>
                <a:gd name="connsiteX93" fmla="*/ 61142 w 514350"/>
                <a:gd name="connsiteY93" fmla="*/ 134981 h 504825"/>
                <a:gd name="connsiteX94" fmla="*/ 61142 w 514350"/>
                <a:gd name="connsiteY94" fmla="*/ 138672 h 504825"/>
                <a:gd name="connsiteX95" fmla="*/ 57456 w 514350"/>
                <a:gd name="connsiteY95" fmla="*/ 138672 h 504825"/>
                <a:gd name="connsiteX96" fmla="*/ 53770 w 514350"/>
                <a:gd name="connsiteY96" fmla="*/ 142363 h 504825"/>
                <a:gd name="connsiteX97" fmla="*/ 53770 w 514350"/>
                <a:gd name="connsiteY97" fmla="*/ 146053 h 504825"/>
                <a:gd name="connsiteX98" fmla="*/ 50074 w 514350"/>
                <a:gd name="connsiteY98" fmla="*/ 149744 h 504825"/>
                <a:gd name="connsiteX99" fmla="*/ 46388 w 514350"/>
                <a:gd name="connsiteY99" fmla="*/ 149744 h 504825"/>
                <a:gd name="connsiteX100" fmla="*/ 42702 w 514350"/>
                <a:gd name="connsiteY100" fmla="*/ 153435 h 504825"/>
                <a:gd name="connsiteX101" fmla="*/ 42702 w 514350"/>
                <a:gd name="connsiteY101" fmla="*/ 157125 h 504825"/>
                <a:gd name="connsiteX102" fmla="*/ 42702 w 514350"/>
                <a:gd name="connsiteY102" fmla="*/ 160816 h 504825"/>
                <a:gd name="connsiteX103" fmla="*/ 42702 w 514350"/>
                <a:gd name="connsiteY103" fmla="*/ 164506 h 504825"/>
                <a:gd name="connsiteX104" fmla="*/ 46388 w 514350"/>
                <a:gd name="connsiteY104" fmla="*/ 164506 h 504825"/>
                <a:gd name="connsiteX105" fmla="*/ 42702 w 514350"/>
                <a:gd name="connsiteY105" fmla="*/ 168197 h 504825"/>
                <a:gd name="connsiteX106" fmla="*/ 39006 w 514350"/>
                <a:gd name="connsiteY106" fmla="*/ 168197 h 504825"/>
                <a:gd name="connsiteX107" fmla="*/ 39006 w 514350"/>
                <a:gd name="connsiteY107" fmla="*/ 171888 h 504825"/>
                <a:gd name="connsiteX108" fmla="*/ 35320 w 514350"/>
                <a:gd name="connsiteY108" fmla="*/ 175578 h 504825"/>
                <a:gd name="connsiteX109" fmla="*/ 35320 w 514350"/>
                <a:gd name="connsiteY109" fmla="*/ 179268 h 504825"/>
                <a:gd name="connsiteX110" fmla="*/ 35320 w 514350"/>
                <a:gd name="connsiteY110" fmla="*/ 182958 h 504825"/>
                <a:gd name="connsiteX111" fmla="*/ 31634 w 514350"/>
                <a:gd name="connsiteY111" fmla="*/ 186649 h 504825"/>
                <a:gd name="connsiteX112" fmla="*/ 27938 w 514350"/>
                <a:gd name="connsiteY112" fmla="*/ 190340 h 504825"/>
                <a:gd name="connsiteX113" fmla="*/ 24252 w 514350"/>
                <a:gd name="connsiteY113" fmla="*/ 194030 h 504825"/>
                <a:gd name="connsiteX114" fmla="*/ 24252 w 514350"/>
                <a:gd name="connsiteY114" fmla="*/ 197721 h 504825"/>
                <a:gd name="connsiteX115" fmla="*/ 27938 w 514350"/>
                <a:gd name="connsiteY115" fmla="*/ 197721 h 504825"/>
                <a:gd name="connsiteX116" fmla="*/ 31634 w 514350"/>
                <a:gd name="connsiteY116" fmla="*/ 197721 h 504825"/>
                <a:gd name="connsiteX117" fmla="*/ 31634 w 514350"/>
                <a:gd name="connsiteY117" fmla="*/ 205102 h 504825"/>
                <a:gd name="connsiteX118" fmla="*/ 31634 w 514350"/>
                <a:gd name="connsiteY118" fmla="*/ 208793 h 504825"/>
                <a:gd name="connsiteX119" fmla="*/ 31634 w 514350"/>
                <a:gd name="connsiteY119" fmla="*/ 212483 h 504825"/>
                <a:gd name="connsiteX120" fmla="*/ 27938 w 514350"/>
                <a:gd name="connsiteY120" fmla="*/ 219865 h 504825"/>
                <a:gd name="connsiteX121" fmla="*/ 24252 w 514350"/>
                <a:gd name="connsiteY121" fmla="*/ 223555 h 504825"/>
                <a:gd name="connsiteX122" fmla="*/ 20566 w 514350"/>
                <a:gd name="connsiteY122" fmla="*/ 223555 h 504825"/>
                <a:gd name="connsiteX123" fmla="*/ 16870 w 514350"/>
                <a:gd name="connsiteY123" fmla="*/ 227246 h 504825"/>
                <a:gd name="connsiteX124" fmla="*/ 16870 w 514350"/>
                <a:gd name="connsiteY124" fmla="*/ 230936 h 504825"/>
                <a:gd name="connsiteX125" fmla="*/ 13184 w 514350"/>
                <a:gd name="connsiteY125" fmla="*/ 238318 h 504825"/>
                <a:gd name="connsiteX126" fmla="*/ 9498 w 514350"/>
                <a:gd name="connsiteY126" fmla="*/ 242008 h 504825"/>
                <a:gd name="connsiteX127" fmla="*/ 9498 w 514350"/>
                <a:gd name="connsiteY127" fmla="*/ 249389 h 504825"/>
                <a:gd name="connsiteX128" fmla="*/ 9498 w 514350"/>
                <a:gd name="connsiteY128" fmla="*/ 256771 h 504825"/>
                <a:gd name="connsiteX129" fmla="*/ 9498 w 514350"/>
                <a:gd name="connsiteY129" fmla="*/ 260461 h 504825"/>
                <a:gd name="connsiteX130" fmla="*/ 9498 w 514350"/>
                <a:gd name="connsiteY130" fmla="*/ 275223 h 504825"/>
                <a:gd name="connsiteX131" fmla="*/ 13184 w 514350"/>
                <a:gd name="connsiteY131" fmla="*/ 278913 h 504825"/>
                <a:gd name="connsiteX132" fmla="*/ 16870 w 514350"/>
                <a:gd name="connsiteY132" fmla="*/ 282604 h 504825"/>
                <a:gd name="connsiteX133" fmla="*/ 20566 w 514350"/>
                <a:gd name="connsiteY133" fmla="*/ 289985 h 504825"/>
                <a:gd name="connsiteX134" fmla="*/ 24252 w 514350"/>
                <a:gd name="connsiteY134" fmla="*/ 289985 h 504825"/>
                <a:gd name="connsiteX135" fmla="*/ 31634 w 514350"/>
                <a:gd name="connsiteY135" fmla="*/ 289985 h 504825"/>
                <a:gd name="connsiteX136" fmla="*/ 39006 w 514350"/>
                <a:gd name="connsiteY136" fmla="*/ 289985 h 504825"/>
                <a:gd name="connsiteX137" fmla="*/ 46388 w 514350"/>
                <a:gd name="connsiteY137" fmla="*/ 289985 h 504825"/>
                <a:gd name="connsiteX138" fmla="*/ 50074 w 514350"/>
                <a:gd name="connsiteY138" fmla="*/ 289985 h 504825"/>
                <a:gd name="connsiteX139" fmla="*/ 53770 w 514350"/>
                <a:gd name="connsiteY139" fmla="*/ 293676 h 504825"/>
                <a:gd name="connsiteX140" fmla="*/ 61142 w 514350"/>
                <a:gd name="connsiteY140" fmla="*/ 297366 h 504825"/>
                <a:gd name="connsiteX141" fmla="*/ 64838 w 514350"/>
                <a:gd name="connsiteY141" fmla="*/ 301057 h 504825"/>
                <a:gd name="connsiteX142" fmla="*/ 64838 w 514350"/>
                <a:gd name="connsiteY142" fmla="*/ 304748 h 504825"/>
                <a:gd name="connsiteX143" fmla="*/ 75906 w 514350"/>
                <a:gd name="connsiteY143" fmla="*/ 308438 h 504825"/>
                <a:gd name="connsiteX144" fmla="*/ 86974 w 514350"/>
                <a:gd name="connsiteY144" fmla="*/ 312129 h 504825"/>
                <a:gd name="connsiteX145" fmla="*/ 90660 w 514350"/>
                <a:gd name="connsiteY145" fmla="*/ 312129 h 504825"/>
                <a:gd name="connsiteX146" fmla="*/ 94346 w 514350"/>
                <a:gd name="connsiteY146" fmla="*/ 297366 h 504825"/>
                <a:gd name="connsiteX147" fmla="*/ 98033 w 514350"/>
                <a:gd name="connsiteY147" fmla="*/ 297366 h 504825"/>
                <a:gd name="connsiteX148" fmla="*/ 98033 w 514350"/>
                <a:gd name="connsiteY148" fmla="*/ 286295 h 504825"/>
                <a:gd name="connsiteX149" fmla="*/ 98033 w 514350"/>
                <a:gd name="connsiteY149" fmla="*/ 282604 h 504825"/>
                <a:gd name="connsiteX150" fmla="*/ 105414 w 514350"/>
                <a:gd name="connsiteY150" fmla="*/ 264151 h 504825"/>
                <a:gd name="connsiteX151" fmla="*/ 105414 w 514350"/>
                <a:gd name="connsiteY151" fmla="*/ 260461 h 504825"/>
                <a:gd name="connsiteX152" fmla="*/ 109101 w 514350"/>
                <a:gd name="connsiteY152" fmla="*/ 256771 h 504825"/>
                <a:gd name="connsiteX153" fmla="*/ 112796 w 514350"/>
                <a:gd name="connsiteY153" fmla="*/ 249389 h 504825"/>
                <a:gd name="connsiteX154" fmla="*/ 116483 w 514350"/>
                <a:gd name="connsiteY154" fmla="*/ 245699 h 504825"/>
                <a:gd name="connsiteX155" fmla="*/ 116483 w 514350"/>
                <a:gd name="connsiteY155" fmla="*/ 242008 h 504825"/>
                <a:gd name="connsiteX156" fmla="*/ 120169 w 514350"/>
                <a:gd name="connsiteY156" fmla="*/ 238318 h 504825"/>
                <a:gd name="connsiteX157" fmla="*/ 127551 w 514350"/>
                <a:gd name="connsiteY157" fmla="*/ 234627 h 504825"/>
                <a:gd name="connsiteX158" fmla="*/ 134932 w 514350"/>
                <a:gd name="connsiteY158" fmla="*/ 230936 h 504825"/>
                <a:gd name="connsiteX159" fmla="*/ 134932 w 514350"/>
                <a:gd name="connsiteY159" fmla="*/ 227246 h 504825"/>
                <a:gd name="connsiteX160" fmla="*/ 138619 w 514350"/>
                <a:gd name="connsiteY160" fmla="*/ 223555 h 504825"/>
                <a:gd name="connsiteX161" fmla="*/ 146001 w 514350"/>
                <a:gd name="connsiteY161" fmla="*/ 219865 h 504825"/>
                <a:gd name="connsiteX162" fmla="*/ 153373 w 514350"/>
                <a:gd name="connsiteY162" fmla="*/ 219865 h 504825"/>
                <a:gd name="connsiteX163" fmla="*/ 157069 w 514350"/>
                <a:gd name="connsiteY163" fmla="*/ 219865 h 504825"/>
                <a:gd name="connsiteX164" fmla="*/ 160755 w 514350"/>
                <a:gd name="connsiteY164" fmla="*/ 223555 h 504825"/>
                <a:gd name="connsiteX165" fmla="*/ 164441 w 514350"/>
                <a:gd name="connsiteY165" fmla="*/ 219865 h 504825"/>
                <a:gd name="connsiteX166" fmla="*/ 168127 w 514350"/>
                <a:gd name="connsiteY166" fmla="*/ 223555 h 504825"/>
                <a:gd name="connsiteX167" fmla="*/ 175509 w 514350"/>
                <a:gd name="connsiteY167" fmla="*/ 223555 h 504825"/>
                <a:gd name="connsiteX168" fmla="*/ 179195 w 514350"/>
                <a:gd name="connsiteY168" fmla="*/ 234627 h 504825"/>
                <a:gd name="connsiteX169" fmla="*/ 182891 w 514350"/>
                <a:gd name="connsiteY169" fmla="*/ 238318 h 504825"/>
                <a:gd name="connsiteX170" fmla="*/ 186577 w 514350"/>
                <a:gd name="connsiteY170" fmla="*/ 234627 h 504825"/>
                <a:gd name="connsiteX171" fmla="*/ 190263 w 514350"/>
                <a:gd name="connsiteY171" fmla="*/ 245699 h 504825"/>
                <a:gd name="connsiteX172" fmla="*/ 190263 w 514350"/>
                <a:gd name="connsiteY172" fmla="*/ 249389 h 504825"/>
                <a:gd name="connsiteX173" fmla="*/ 193959 w 514350"/>
                <a:gd name="connsiteY173" fmla="*/ 253080 h 504825"/>
                <a:gd name="connsiteX174" fmla="*/ 201331 w 514350"/>
                <a:gd name="connsiteY174" fmla="*/ 249389 h 504825"/>
                <a:gd name="connsiteX175" fmla="*/ 201331 w 514350"/>
                <a:gd name="connsiteY175" fmla="*/ 253080 h 504825"/>
                <a:gd name="connsiteX176" fmla="*/ 201331 w 514350"/>
                <a:gd name="connsiteY176" fmla="*/ 256771 h 504825"/>
                <a:gd name="connsiteX177" fmla="*/ 205027 w 514350"/>
                <a:gd name="connsiteY177" fmla="*/ 260461 h 504825"/>
                <a:gd name="connsiteX178" fmla="*/ 205027 w 514350"/>
                <a:gd name="connsiteY178" fmla="*/ 264151 h 504825"/>
                <a:gd name="connsiteX179" fmla="*/ 212399 w 514350"/>
                <a:gd name="connsiteY179" fmla="*/ 264151 h 504825"/>
                <a:gd name="connsiteX180" fmla="*/ 212399 w 514350"/>
                <a:gd name="connsiteY180" fmla="*/ 267842 h 504825"/>
                <a:gd name="connsiteX181" fmla="*/ 216095 w 514350"/>
                <a:gd name="connsiteY181" fmla="*/ 271532 h 504825"/>
                <a:gd name="connsiteX182" fmla="*/ 219781 w 514350"/>
                <a:gd name="connsiteY182" fmla="*/ 275223 h 504825"/>
                <a:gd name="connsiteX183" fmla="*/ 223467 w 514350"/>
                <a:gd name="connsiteY183" fmla="*/ 278913 h 504825"/>
                <a:gd name="connsiteX184" fmla="*/ 223467 w 514350"/>
                <a:gd name="connsiteY184" fmla="*/ 282604 h 504825"/>
                <a:gd name="connsiteX185" fmla="*/ 227163 w 514350"/>
                <a:gd name="connsiteY185" fmla="*/ 282604 h 504825"/>
                <a:gd name="connsiteX186" fmla="*/ 223467 w 514350"/>
                <a:gd name="connsiteY186" fmla="*/ 286295 h 504825"/>
                <a:gd name="connsiteX187" fmla="*/ 227163 w 514350"/>
                <a:gd name="connsiteY187" fmla="*/ 289985 h 504825"/>
                <a:gd name="connsiteX188" fmla="*/ 227163 w 514350"/>
                <a:gd name="connsiteY188" fmla="*/ 293676 h 504825"/>
                <a:gd name="connsiteX189" fmla="*/ 245603 w 514350"/>
                <a:gd name="connsiteY189" fmla="*/ 286295 h 504825"/>
                <a:gd name="connsiteX190" fmla="*/ 249290 w 514350"/>
                <a:gd name="connsiteY190" fmla="*/ 286295 h 504825"/>
                <a:gd name="connsiteX191" fmla="*/ 256672 w 514350"/>
                <a:gd name="connsiteY191" fmla="*/ 282604 h 504825"/>
                <a:gd name="connsiteX192" fmla="*/ 267740 w 514350"/>
                <a:gd name="connsiteY192" fmla="*/ 282604 h 504825"/>
                <a:gd name="connsiteX193" fmla="*/ 271426 w 514350"/>
                <a:gd name="connsiteY193" fmla="*/ 282604 h 504825"/>
                <a:gd name="connsiteX194" fmla="*/ 275121 w 514350"/>
                <a:gd name="connsiteY194" fmla="*/ 282604 h 504825"/>
                <a:gd name="connsiteX195" fmla="*/ 278808 w 514350"/>
                <a:gd name="connsiteY195" fmla="*/ 286295 h 504825"/>
                <a:gd name="connsiteX196" fmla="*/ 282494 w 514350"/>
                <a:gd name="connsiteY196" fmla="*/ 286295 h 504825"/>
                <a:gd name="connsiteX197" fmla="*/ 282494 w 514350"/>
                <a:gd name="connsiteY197" fmla="*/ 289985 h 504825"/>
                <a:gd name="connsiteX198" fmla="*/ 297258 w 514350"/>
                <a:gd name="connsiteY198" fmla="*/ 301057 h 504825"/>
                <a:gd name="connsiteX199" fmla="*/ 300944 w 514350"/>
                <a:gd name="connsiteY199" fmla="*/ 308438 h 504825"/>
                <a:gd name="connsiteX200" fmla="*/ 315698 w 514350"/>
                <a:gd name="connsiteY200" fmla="*/ 319510 h 504825"/>
                <a:gd name="connsiteX201" fmla="*/ 315698 w 514350"/>
                <a:gd name="connsiteY201" fmla="*/ 323201 h 504825"/>
                <a:gd name="connsiteX202" fmla="*/ 326766 w 514350"/>
                <a:gd name="connsiteY202" fmla="*/ 334273 h 504825"/>
                <a:gd name="connsiteX203" fmla="*/ 337834 w 514350"/>
                <a:gd name="connsiteY203" fmla="*/ 345344 h 504825"/>
                <a:gd name="connsiteX204" fmla="*/ 356284 w 514350"/>
                <a:gd name="connsiteY204" fmla="*/ 363796 h 504825"/>
                <a:gd name="connsiteX205" fmla="*/ 359970 w 514350"/>
                <a:gd name="connsiteY205" fmla="*/ 367487 h 504825"/>
                <a:gd name="connsiteX206" fmla="*/ 367352 w 514350"/>
                <a:gd name="connsiteY206" fmla="*/ 374868 h 504825"/>
                <a:gd name="connsiteX207" fmla="*/ 374724 w 514350"/>
                <a:gd name="connsiteY207" fmla="*/ 382249 h 504825"/>
                <a:gd name="connsiteX208" fmla="*/ 378410 w 514350"/>
                <a:gd name="connsiteY208" fmla="*/ 385940 h 504825"/>
                <a:gd name="connsiteX209" fmla="*/ 378410 w 514350"/>
                <a:gd name="connsiteY209" fmla="*/ 389631 h 504825"/>
                <a:gd name="connsiteX210" fmla="*/ 382106 w 514350"/>
                <a:gd name="connsiteY210" fmla="*/ 393321 h 504825"/>
                <a:gd name="connsiteX211" fmla="*/ 385792 w 514350"/>
                <a:gd name="connsiteY211" fmla="*/ 397012 h 504825"/>
                <a:gd name="connsiteX212" fmla="*/ 389479 w 514350"/>
                <a:gd name="connsiteY212" fmla="*/ 404393 h 504825"/>
                <a:gd name="connsiteX213" fmla="*/ 393174 w 514350"/>
                <a:gd name="connsiteY213" fmla="*/ 411774 h 504825"/>
                <a:gd name="connsiteX214" fmla="*/ 396861 w 514350"/>
                <a:gd name="connsiteY214" fmla="*/ 411774 h 504825"/>
                <a:gd name="connsiteX215" fmla="*/ 396861 w 514350"/>
                <a:gd name="connsiteY215" fmla="*/ 415465 h 504825"/>
                <a:gd name="connsiteX216" fmla="*/ 400547 w 514350"/>
                <a:gd name="connsiteY216" fmla="*/ 415465 h 504825"/>
                <a:gd name="connsiteX217" fmla="*/ 407928 w 514350"/>
                <a:gd name="connsiteY217" fmla="*/ 426537 h 504825"/>
                <a:gd name="connsiteX218" fmla="*/ 411615 w 514350"/>
                <a:gd name="connsiteY218" fmla="*/ 433917 h 504825"/>
                <a:gd name="connsiteX219" fmla="*/ 415310 w 514350"/>
                <a:gd name="connsiteY219" fmla="*/ 437608 h 504825"/>
                <a:gd name="connsiteX220" fmla="*/ 418997 w 514350"/>
                <a:gd name="connsiteY220" fmla="*/ 441298 h 504825"/>
                <a:gd name="connsiteX221" fmla="*/ 426378 w 514350"/>
                <a:gd name="connsiteY221" fmla="*/ 441298 h 504825"/>
                <a:gd name="connsiteX222" fmla="*/ 426378 w 514350"/>
                <a:gd name="connsiteY222" fmla="*/ 448680 h 504825"/>
                <a:gd name="connsiteX223" fmla="*/ 422683 w 514350"/>
                <a:gd name="connsiteY223" fmla="*/ 452370 h 504825"/>
                <a:gd name="connsiteX224" fmla="*/ 415310 w 514350"/>
                <a:gd name="connsiteY224" fmla="*/ 474514 h 504825"/>
                <a:gd name="connsiteX225" fmla="*/ 415310 w 514350"/>
                <a:gd name="connsiteY225" fmla="*/ 478204 h 504825"/>
                <a:gd name="connsiteX226" fmla="*/ 426378 w 514350"/>
                <a:gd name="connsiteY226" fmla="*/ 478204 h 504825"/>
                <a:gd name="connsiteX227" fmla="*/ 426378 w 514350"/>
                <a:gd name="connsiteY227" fmla="*/ 481895 h 504825"/>
                <a:gd name="connsiteX228" fmla="*/ 430065 w 514350"/>
                <a:gd name="connsiteY228" fmla="*/ 481895 h 504825"/>
                <a:gd name="connsiteX229" fmla="*/ 437447 w 514350"/>
                <a:gd name="connsiteY229" fmla="*/ 492967 h 504825"/>
                <a:gd name="connsiteX230" fmla="*/ 441133 w 514350"/>
                <a:gd name="connsiteY230" fmla="*/ 496657 h 504825"/>
                <a:gd name="connsiteX231" fmla="*/ 444819 w 514350"/>
                <a:gd name="connsiteY231" fmla="*/ 492967 h 504825"/>
                <a:gd name="connsiteX232" fmla="*/ 444819 w 514350"/>
                <a:gd name="connsiteY232" fmla="*/ 496657 h 504825"/>
                <a:gd name="connsiteX233" fmla="*/ 441133 w 514350"/>
                <a:gd name="connsiteY233" fmla="*/ 496657 h 504825"/>
                <a:gd name="connsiteX234" fmla="*/ 441133 w 514350"/>
                <a:gd name="connsiteY234" fmla="*/ 504039 h 504825"/>
                <a:gd name="connsiteX235" fmla="*/ 452201 w 514350"/>
                <a:gd name="connsiteY235" fmla="*/ 504039 h 504825"/>
                <a:gd name="connsiteX236" fmla="*/ 448505 w 514350"/>
                <a:gd name="connsiteY236" fmla="*/ 496657 h 504825"/>
                <a:gd name="connsiteX237" fmla="*/ 448505 w 514350"/>
                <a:gd name="connsiteY237" fmla="*/ 492967 h 504825"/>
                <a:gd name="connsiteX238" fmla="*/ 455887 w 514350"/>
                <a:gd name="connsiteY238" fmla="*/ 481895 h 504825"/>
                <a:gd name="connsiteX239" fmla="*/ 478023 w 514350"/>
                <a:gd name="connsiteY239" fmla="*/ 444989 h 504825"/>
                <a:gd name="connsiteX240" fmla="*/ 492777 w 514350"/>
                <a:gd name="connsiteY240" fmla="*/ 419156 h 504825"/>
                <a:gd name="connsiteX241" fmla="*/ 500159 w 514350"/>
                <a:gd name="connsiteY241" fmla="*/ 389631 h 504825"/>
                <a:gd name="connsiteX242" fmla="*/ 503845 w 514350"/>
                <a:gd name="connsiteY242" fmla="*/ 371178 h 504825"/>
                <a:gd name="connsiteX243" fmla="*/ 507541 w 514350"/>
                <a:gd name="connsiteY243" fmla="*/ 367487 h 504825"/>
                <a:gd name="connsiteX244" fmla="*/ 507541 w 514350"/>
                <a:gd name="connsiteY244" fmla="*/ 363796 h 504825"/>
                <a:gd name="connsiteX245" fmla="*/ 500159 w 514350"/>
                <a:gd name="connsiteY245" fmla="*/ 330582 h 504825"/>
                <a:gd name="connsiteX246" fmla="*/ 500159 w 514350"/>
                <a:gd name="connsiteY246" fmla="*/ 312129 h 504825"/>
                <a:gd name="connsiteX247" fmla="*/ 500159 w 514350"/>
                <a:gd name="connsiteY247" fmla="*/ 308438 h 504825"/>
                <a:gd name="connsiteX248" fmla="*/ 500159 w 514350"/>
                <a:gd name="connsiteY248" fmla="*/ 282604 h 504825"/>
                <a:gd name="connsiteX249" fmla="*/ 489091 w 514350"/>
                <a:gd name="connsiteY249" fmla="*/ 275223 h 504825"/>
                <a:gd name="connsiteX250" fmla="*/ 489091 w 514350"/>
                <a:gd name="connsiteY250" fmla="*/ 267842 h 504825"/>
                <a:gd name="connsiteX251" fmla="*/ 489091 w 514350"/>
                <a:gd name="connsiteY251" fmla="*/ 264151 h 504825"/>
                <a:gd name="connsiteX252" fmla="*/ 489091 w 514350"/>
                <a:gd name="connsiteY252" fmla="*/ 260461 h 504825"/>
                <a:gd name="connsiteX253" fmla="*/ 492777 w 514350"/>
                <a:gd name="connsiteY253" fmla="*/ 256771 h 504825"/>
                <a:gd name="connsiteX254" fmla="*/ 492777 w 514350"/>
                <a:gd name="connsiteY254" fmla="*/ 249389 h 504825"/>
                <a:gd name="connsiteX255" fmla="*/ 492777 w 514350"/>
                <a:gd name="connsiteY255" fmla="*/ 245699 h 504825"/>
                <a:gd name="connsiteX256" fmla="*/ 496473 w 514350"/>
                <a:gd name="connsiteY256" fmla="*/ 234627 h 504825"/>
                <a:gd name="connsiteX257" fmla="*/ 500159 w 514350"/>
                <a:gd name="connsiteY257" fmla="*/ 234627 h 504825"/>
                <a:gd name="connsiteX258" fmla="*/ 503845 w 514350"/>
                <a:gd name="connsiteY258" fmla="*/ 230936 h 504825"/>
                <a:gd name="connsiteX259" fmla="*/ 511227 w 514350"/>
                <a:gd name="connsiteY259" fmla="*/ 230936 h 504825"/>
                <a:gd name="connsiteX260" fmla="*/ 503845 w 514350"/>
                <a:gd name="connsiteY260" fmla="*/ 227246 h 504825"/>
                <a:gd name="connsiteX261" fmla="*/ 500159 w 514350"/>
                <a:gd name="connsiteY261" fmla="*/ 223555 h 504825"/>
                <a:gd name="connsiteX262" fmla="*/ 503845 w 514350"/>
                <a:gd name="connsiteY262" fmla="*/ 219865 h 504825"/>
                <a:gd name="connsiteX263" fmla="*/ 503845 w 514350"/>
                <a:gd name="connsiteY263" fmla="*/ 216174 h 504825"/>
                <a:gd name="connsiteX264" fmla="*/ 503845 w 514350"/>
                <a:gd name="connsiteY264" fmla="*/ 201412 h 504825"/>
                <a:gd name="connsiteX265" fmla="*/ 500159 w 514350"/>
                <a:gd name="connsiteY265" fmla="*/ 190340 h 504825"/>
                <a:gd name="connsiteX266" fmla="*/ 500159 w 514350"/>
                <a:gd name="connsiteY266" fmla="*/ 186649 h 504825"/>
                <a:gd name="connsiteX267" fmla="*/ 496473 w 514350"/>
                <a:gd name="connsiteY267" fmla="*/ 186649 h 504825"/>
                <a:gd name="connsiteX268" fmla="*/ 485405 w 514350"/>
                <a:gd name="connsiteY268" fmla="*/ 182958 h 504825"/>
                <a:gd name="connsiteX269" fmla="*/ 481709 w 514350"/>
                <a:gd name="connsiteY269" fmla="*/ 182958 h 504825"/>
                <a:gd name="connsiteX270" fmla="*/ 481709 w 514350"/>
                <a:gd name="connsiteY270" fmla="*/ 179268 h 504825"/>
                <a:gd name="connsiteX271" fmla="*/ 478023 w 514350"/>
                <a:gd name="connsiteY271" fmla="*/ 179268 h 504825"/>
                <a:gd name="connsiteX272" fmla="*/ 474337 w 514350"/>
                <a:gd name="connsiteY272" fmla="*/ 179268 h 504825"/>
                <a:gd name="connsiteX273" fmla="*/ 470641 w 514350"/>
                <a:gd name="connsiteY273" fmla="*/ 179268 h 504825"/>
                <a:gd name="connsiteX274" fmla="*/ 466955 w 514350"/>
                <a:gd name="connsiteY274" fmla="*/ 179268 h 504825"/>
                <a:gd name="connsiteX275" fmla="*/ 466955 w 514350"/>
                <a:gd name="connsiteY275" fmla="*/ 175578 h 504825"/>
                <a:gd name="connsiteX276" fmla="*/ 463269 w 514350"/>
                <a:gd name="connsiteY276" fmla="*/ 175578 h 504825"/>
                <a:gd name="connsiteX277" fmla="*/ 459573 w 514350"/>
                <a:gd name="connsiteY277" fmla="*/ 175578 h 504825"/>
                <a:gd name="connsiteX278" fmla="*/ 452201 w 514350"/>
                <a:gd name="connsiteY278" fmla="*/ 175578 h 504825"/>
                <a:gd name="connsiteX279" fmla="*/ 448505 w 514350"/>
                <a:gd name="connsiteY279" fmla="*/ 171888 h 504825"/>
                <a:gd name="connsiteX280" fmla="*/ 444819 w 514350"/>
                <a:gd name="connsiteY280" fmla="*/ 171888 h 504825"/>
                <a:gd name="connsiteX281" fmla="*/ 441133 w 514350"/>
                <a:gd name="connsiteY281" fmla="*/ 168197 h 504825"/>
                <a:gd name="connsiteX282" fmla="*/ 437447 w 514350"/>
                <a:gd name="connsiteY282" fmla="*/ 164506 h 504825"/>
                <a:gd name="connsiteX283" fmla="*/ 437447 w 514350"/>
                <a:gd name="connsiteY283" fmla="*/ 160816 h 504825"/>
                <a:gd name="connsiteX284" fmla="*/ 437447 w 514350"/>
                <a:gd name="connsiteY284" fmla="*/ 153435 h 504825"/>
                <a:gd name="connsiteX285" fmla="*/ 441133 w 514350"/>
                <a:gd name="connsiteY285" fmla="*/ 149744 h 504825"/>
                <a:gd name="connsiteX286" fmla="*/ 437447 w 514350"/>
                <a:gd name="connsiteY286" fmla="*/ 142363 h 504825"/>
                <a:gd name="connsiteX287" fmla="*/ 437447 w 514350"/>
                <a:gd name="connsiteY287" fmla="*/ 138672 h 504825"/>
                <a:gd name="connsiteX288" fmla="*/ 441133 w 514350"/>
                <a:gd name="connsiteY288" fmla="*/ 138672 h 504825"/>
                <a:gd name="connsiteX289" fmla="*/ 444819 w 514350"/>
                <a:gd name="connsiteY289" fmla="*/ 131291 h 504825"/>
                <a:gd name="connsiteX290" fmla="*/ 444819 w 514350"/>
                <a:gd name="connsiteY290" fmla="*/ 127600 h 504825"/>
                <a:gd name="connsiteX291" fmla="*/ 437447 w 514350"/>
                <a:gd name="connsiteY291" fmla="*/ 131291 h 504825"/>
                <a:gd name="connsiteX292" fmla="*/ 433751 w 514350"/>
                <a:gd name="connsiteY292" fmla="*/ 134981 h 504825"/>
                <a:gd name="connsiteX293" fmla="*/ 422683 w 514350"/>
                <a:gd name="connsiteY293" fmla="*/ 134981 h 504825"/>
                <a:gd name="connsiteX294" fmla="*/ 418997 w 514350"/>
                <a:gd name="connsiteY294" fmla="*/ 134981 h 504825"/>
                <a:gd name="connsiteX295" fmla="*/ 415310 w 514350"/>
                <a:gd name="connsiteY295" fmla="*/ 134981 h 504825"/>
                <a:gd name="connsiteX296" fmla="*/ 411615 w 514350"/>
                <a:gd name="connsiteY296" fmla="*/ 134981 h 504825"/>
                <a:gd name="connsiteX297" fmla="*/ 404242 w 514350"/>
                <a:gd name="connsiteY297" fmla="*/ 131291 h 504825"/>
                <a:gd name="connsiteX298" fmla="*/ 404242 w 514350"/>
                <a:gd name="connsiteY298" fmla="*/ 127600 h 504825"/>
                <a:gd name="connsiteX299" fmla="*/ 400547 w 514350"/>
                <a:gd name="connsiteY299" fmla="*/ 127600 h 504825"/>
                <a:gd name="connsiteX300" fmla="*/ 396861 w 514350"/>
                <a:gd name="connsiteY300" fmla="*/ 127600 h 504825"/>
                <a:gd name="connsiteX301" fmla="*/ 389479 w 514350"/>
                <a:gd name="connsiteY301" fmla="*/ 123910 h 504825"/>
                <a:gd name="connsiteX302" fmla="*/ 382106 w 514350"/>
                <a:gd name="connsiteY302" fmla="*/ 120219 h 504825"/>
                <a:gd name="connsiteX303" fmla="*/ 382106 w 514350"/>
                <a:gd name="connsiteY303" fmla="*/ 123910 h 504825"/>
                <a:gd name="connsiteX304" fmla="*/ 374724 w 514350"/>
                <a:gd name="connsiteY304" fmla="*/ 120219 h 504825"/>
                <a:gd name="connsiteX305" fmla="*/ 367352 w 514350"/>
                <a:gd name="connsiteY305" fmla="*/ 116528 h 504825"/>
                <a:gd name="connsiteX306" fmla="*/ 363656 w 514350"/>
                <a:gd name="connsiteY306" fmla="*/ 116528 h 504825"/>
                <a:gd name="connsiteX307" fmla="*/ 363656 w 514350"/>
                <a:gd name="connsiteY307" fmla="*/ 112838 h 504825"/>
                <a:gd name="connsiteX308" fmla="*/ 367352 w 514350"/>
                <a:gd name="connsiteY308" fmla="*/ 112838 h 504825"/>
                <a:gd name="connsiteX309" fmla="*/ 363656 w 514350"/>
                <a:gd name="connsiteY309" fmla="*/ 109147 h 504825"/>
                <a:gd name="connsiteX310" fmla="*/ 356284 w 514350"/>
                <a:gd name="connsiteY310" fmla="*/ 101766 h 504825"/>
                <a:gd name="connsiteX311" fmla="*/ 352588 w 514350"/>
                <a:gd name="connsiteY311" fmla="*/ 101766 h 504825"/>
                <a:gd name="connsiteX312" fmla="*/ 348902 w 514350"/>
                <a:gd name="connsiteY312" fmla="*/ 98075 h 504825"/>
                <a:gd name="connsiteX313" fmla="*/ 348902 w 514350"/>
                <a:gd name="connsiteY313" fmla="*/ 94385 h 504825"/>
                <a:gd name="connsiteX314" fmla="*/ 348902 w 514350"/>
                <a:gd name="connsiteY314" fmla="*/ 87005 h 504825"/>
                <a:gd name="connsiteX315" fmla="*/ 348902 w 514350"/>
                <a:gd name="connsiteY315" fmla="*/ 79623 h 504825"/>
                <a:gd name="connsiteX316" fmla="*/ 345216 w 514350"/>
                <a:gd name="connsiteY316" fmla="*/ 75933 h 504825"/>
                <a:gd name="connsiteX317" fmla="*/ 345216 w 514350"/>
                <a:gd name="connsiteY317" fmla="*/ 72242 h 504825"/>
                <a:gd name="connsiteX318" fmla="*/ 345216 w 514350"/>
                <a:gd name="connsiteY318" fmla="*/ 68551 h 504825"/>
                <a:gd name="connsiteX319" fmla="*/ 345216 w 514350"/>
                <a:gd name="connsiteY319" fmla="*/ 61170 h 504825"/>
                <a:gd name="connsiteX320" fmla="*/ 341520 w 514350"/>
                <a:gd name="connsiteY320" fmla="*/ 53789 h 504825"/>
                <a:gd name="connsiteX321" fmla="*/ 337834 w 514350"/>
                <a:gd name="connsiteY321" fmla="*/ 53789 h 504825"/>
                <a:gd name="connsiteX322" fmla="*/ 337834 w 514350"/>
                <a:gd name="connsiteY322" fmla="*/ 42717 h 504825"/>
                <a:gd name="connsiteX323" fmla="*/ 341520 w 514350"/>
                <a:gd name="connsiteY323" fmla="*/ 31645 h 504825"/>
                <a:gd name="connsiteX324" fmla="*/ 341520 w 514350"/>
                <a:gd name="connsiteY324" fmla="*/ 27955 h 504825"/>
                <a:gd name="connsiteX325" fmla="*/ 330452 w 514350"/>
                <a:gd name="connsiteY325" fmla="*/ 16883 h 504825"/>
                <a:gd name="connsiteX326" fmla="*/ 323080 w 514350"/>
                <a:gd name="connsiteY326" fmla="*/ 13193 h 504825"/>
                <a:gd name="connsiteX327" fmla="*/ 319384 w 514350"/>
                <a:gd name="connsiteY327" fmla="*/ 20574 h 504825"/>
                <a:gd name="connsiteX328" fmla="*/ 323080 w 514350"/>
                <a:gd name="connsiteY328" fmla="*/ 24264 h 504825"/>
                <a:gd name="connsiteX329" fmla="*/ 319384 w 514350"/>
                <a:gd name="connsiteY329" fmla="*/ 24264 h 504825"/>
                <a:gd name="connsiteX330" fmla="*/ 315698 w 514350"/>
                <a:gd name="connsiteY330" fmla="*/ 24264 h 504825"/>
                <a:gd name="connsiteX331" fmla="*/ 312012 w 514350"/>
                <a:gd name="connsiteY331" fmla="*/ 24264 h 504825"/>
                <a:gd name="connsiteX332" fmla="*/ 312012 w 514350"/>
                <a:gd name="connsiteY332" fmla="*/ 20574 h 504825"/>
                <a:gd name="connsiteX333" fmla="*/ 315698 w 514350"/>
                <a:gd name="connsiteY333" fmla="*/ 24264 h 504825"/>
                <a:gd name="connsiteX334" fmla="*/ 315698 w 514350"/>
                <a:gd name="connsiteY334" fmla="*/ 20574 h 504825"/>
                <a:gd name="connsiteX335" fmla="*/ 319384 w 514350"/>
                <a:gd name="connsiteY335" fmla="*/ 13193 h 504825"/>
                <a:gd name="connsiteX336" fmla="*/ 315698 w 514350"/>
                <a:gd name="connsiteY336" fmla="*/ 13193 h 504825"/>
                <a:gd name="connsiteX337" fmla="*/ 308316 w 514350"/>
                <a:gd name="connsiteY337" fmla="*/ 9502 h 504825"/>
                <a:gd name="connsiteX338" fmla="*/ 300944 w 514350"/>
                <a:gd name="connsiteY338" fmla="*/ 16883 h 504825"/>
                <a:gd name="connsiteX339" fmla="*/ 297258 w 514350"/>
                <a:gd name="connsiteY339" fmla="*/ 13193 h 504825"/>
                <a:gd name="connsiteX340" fmla="*/ 289876 w 514350"/>
                <a:gd name="connsiteY340" fmla="*/ 9502 h 504825"/>
                <a:gd name="connsiteX341" fmla="*/ 278808 w 514350"/>
                <a:gd name="connsiteY341" fmla="*/ 9502 h 504825"/>
                <a:gd name="connsiteX342" fmla="*/ 275121 w 514350"/>
                <a:gd name="connsiteY342" fmla="*/ 5812 h 504825"/>
                <a:gd name="connsiteX343" fmla="*/ 367352 w 514350"/>
                <a:gd name="connsiteY343" fmla="*/ 112838 h 504825"/>
                <a:gd name="connsiteX344" fmla="*/ 371038 w 514350"/>
                <a:gd name="connsiteY344" fmla="*/ 116528 h 504825"/>
                <a:gd name="connsiteX345" fmla="*/ 371038 w 514350"/>
                <a:gd name="connsiteY345" fmla="*/ 112838 h 504825"/>
                <a:gd name="connsiteX346" fmla="*/ 367352 w 514350"/>
                <a:gd name="connsiteY346" fmla="*/ 112838 h 504825"/>
                <a:gd name="connsiteX347" fmla="*/ 500159 w 514350"/>
                <a:gd name="connsiteY347" fmla="*/ 186649 h 504825"/>
                <a:gd name="connsiteX348" fmla="*/ 500159 w 514350"/>
                <a:gd name="connsiteY348" fmla="*/ 179268 h 504825"/>
                <a:gd name="connsiteX349" fmla="*/ 496473 w 514350"/>
                <a:gd name="connsiteY349" fmla="*/ 182958 h 504825"/>
                <a:gd name="connsiteX350" fmla="*/ 500159 w 514350"/>
                <a:gd name="connsiteY350" fmla="*/ 186649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Lst>
              <a:rect l="l" t="t" r="r" b="b"/>
              <a:pathLst>
                <a:path w="514350" h="504825">
                  <a:moveTo>
                    <a:pt x="275121" y="5812"/>
                  </a:moveTo>
                  <a:lnTo>
                    <a:pt x="267740" y="9502"/>
                  </a:lnTo>
                  <a:lnTo>
                    <a:pt x="238222" y="13193"/>
                  </a:lnTo>
                  <a:lnTo>
                    <a:pt x="234535" y="16883"/>
                  </a:lnTo>
                  <a:lnTo>
                    <a:pt x="223467" y="20574"/>
                  </a:lnTo>
                  <a:lnTo>
                    <a:pt x="219781" y="20574"/>
                  </a:lnTo>
                  <a:lnTo>
                    <a:pt x="216095" y="24264"/>
                  </a:lnTo>
                  <a:lnTo>
                    <a:pt x="208713" y="24264"/>
                  </a:lnTo>
                  <a:lnTo>
                    <a:pt x="201331" y="31645"/>
                  </a:lnTo>
                  <a:lnTo>
                    <a:pt x="197645" y="31645"/>
                  </a:lnTo>
                  <a:lnTo>
                    <a:pt x="193959" y="31645"/>
                  </a:lnTo>
                  <a:lnTo>
                    <a:pt x="190263" y="31645"/>
                  </a:lnTo>
                  <a:lnTo>
                    <a:pt x="182891" y="35336"/>
                  </a:lnTo>
                  <a:lnTo>
                    <a:pt x="175509" y="39027"/>
                  </a:lnTo>
                  <a:lnTo>
                    <a:pt x="171823" y="35336"/>
                  </a:lnTo>
                  <a:lnTo>
                    <a:pt x="168127" y="39027"/>
                  </a:lnTo>
                  <a:lnTo>
                    <a:pt x="149687" y="39027"/>
                  </a:lnTo>
                  <a:lnTo>
                    <a:pt x="138619" y="42717"/>
                  </a:lnTo>
                  <a:lnTo>
                    <a:pt x="123864" y="46408"/>
                  </a:lnTo>
                  <a:lnTo>
                    <a:pt x="116483" y="46408"/>
                  </a:lnTo>
                  <a:lnTo>
                    <a:pt x="109101" y="50098"/>
                  </a:lnTo>
                  <a:lnTo>
                    <a:pt x="101728" y="50098"/>
                  </a:lnTo>
                  <a:lnTo>
                    <a:pt x="90660" y="53789"/>
                  </a:lnTo>
                  <a:lnTo>
                    <a:pt x="79592" y="57480"/>
                  </a:lnTo>
                  <a:lnTo>
                    <a:pt x="75906" y="61170"/>
                  </a:lnTo>
                  <a:lnTo>
                    <a:pt x="75906" y="64861"/>
                  </a:lnTo>
                  <a:lnTo>
                    <a:pt x="68524" y="68551"/>
                  </a:lnTo>
                  <a:lnTo>
                    <a:pt x="64838" y="64861"/>
                  </a:lnTo>
                  <a:lnTo>
                    <a:pt x="61142" y="61170"/>
                  </a:lnTo>
                  <a:lnTo>
                    <a:pt x="42702" y="50098"/>
                  </a:lnTo>
                  <a:lnTo>
                    <a:pt x="39006" y="50098"/>
                  </a:lnTo>
                  <a:lnTo>
                    <a:pt x="24252" y="57480"/>
                  </a:lnTo>
                  <a:lnTo>
                    <a:pt x="24252" y="53789"/>
                  </a:lnTo>
                  <a:lnTo>
                    <a:pt x="20566" y="53789"/>
                  </a:lnTo>
                  <a:lnTo>
                    <a:pt x="20566" y="57480"/>
                  </a:lnTo>
                  <a:lnTo>
                    <a:pt x="16870" y="57480"/>
                  </a:lnTo>
                  <a:lnTo>
                    <a:pt x="16870" y="53789"/>
                  </a:lnTo>
                  <a:lnTo>
                    <a:pt x="13184" y="57480"/>
                  </a:lnTo>
                  <a:lnTo>
                    <a:pt x="16870" y="61170"/>
                  </a:lnTo>
                  <a:lnTo>
                    <a:pt x="20566" y="61170"/>
                  </a:lnTo>
                  <a:lnTo>
                    <a:pt x="24252" y="64861"/>
                  </a:lnTo>
                  <a:lnTo>
                    <a:pt x="27938" y="64861"/>
                  </a:lnTo>
                  <a:lnTo>
                    <a:pt x="31634" y="68551"/>
                  </a:lnTo>
                  <a:lnTo>
                    <a:pt x="35320" y="68551"/>
                  </a:lnTo>
                  <a:lnTo>
                    <a:pt x="35320" y="72242"/>
                  </a:lnTo>
                  <a:lnTo>
                    <a:pt x="31634" y="72242"/>
                  </a:lnTo>
                  <a:lnTo>
                    <a:pt x="27938" y="72242"/>
                  </a:lnTo>
                  <a:lnTo>
                    <a:pt x="24252" y="72242"/>
                  </a:lnTo>
                  <a:lnTo>
                    <a:pt x="24252" y="68551"/>
                  </a:lnTo>
                  <a:lnTo>
                    <a:pt x="16870" y="64861"/>
                  </a:lnTo>
                  <a:lnTo>
                    <a:pt x="16870" y="61170"/>
                  </a:lnTo>
                  <a:lnTo>
                    <a:pt x="9498" y="61170"/>
                  </a:lnTo>
                  <a:lnTo>
                    <a:pt x="5812" y="68551"/>
                  </a:lnTo>
                  <a:lnTo>
                    <a:pt x="9498" y="68551"/>
                  </a:lnTo>
                  <a:lnTo>
                    <a:pt x="13184" y="72242"/>
                  </a:lnTo>
                  <a:lnTo>
                    <a:pt x="16870" y="72242"/>
                  </a:lnTo>
                  <a:lnTo>
                    <a:pt x="16870" y="75933"/>
                  </a:lnTo>
                  <a:lnTo>
                    <a:pt x="13184" y="79623"/>
                  </a:lnTo>
                  <a:lnTo>
                    <a:pt x="9498" y="75933"/>
                  </a:lnTo>
                  <a:lnTo>
                    <a:pt x="9498" y="79623"/>
                  </a:lnTo>
                  <a:lnTo>
                    <a:pt x="13184" y="83314"/>
                  </a:lnTo>
                  <a:lnTo>
                    <a:pt x="16870" y="83314"/>
                  </a:lnTo>
                  <a:lnTo>
                    <a:pt x="20566" y="83314"/>
                  </a:lnTo>
                  <a:lnTo>
                    <a:pt x="24252" y="83314"/>
                  </a:lnTo>
                  <a:lnTo>
                    <a:pt x="27938" y="83314"/>
                  </a:lnTo>
                  <a:lnTo>
                    <a:pt x="31634" y="83314"/>
                  </a:lnTo>
                  <a:lnTo>
                    <a:pt x="31634" y="87005"/>
                  </a:lnTo>
                  <a:lnTo>
                    <a:pt x="24252" y="87005"/>
                  </a:lnTo>
                  <a:lnTo>
                    <a:pt x="20566" y="87005"/>
                  </a:lnTo>
                  <a:lnTo>
                    <a:pt x="20566" y="90695"/>
                  </a:lnTo>
                  <a:lnTo>
                    <a:pt x="24252" y="90695"/>
                  </a:lnTo>
                  <a:lnTo>
                    <a:pt x="27938" y="90695"/>
                  </a:lnTo>
                  <a:lnTo>
                    <a:pt x="31634" y="90695"/>
                  </a:lnTo>
                  <a:lnTo>
                    <a:pt x="35320" y="87005"/>
                  </a:lnTo>
                  <a:lnTo>
                    <a:pt x="35320" y="90695"/>
                  </a:lnTo>
                  <a:lnTo>
                    <a:pt x="35320" y="94385"/>
                  </a:lnTo>
                  <a:lnTo>
                    <a:pt x="31634" y="94385"/>
                  </a:lnTo>
                  <a:lnTo>
                    <a:pt x="35320" y="98075"/>
                  </a:lnTo>
                  <a:lnTo>
                    <a:pt x="39006" y="94385"/>
                  </a:lnTo>
                  <a:lnTo>
                    <a:pt x="42702" y="94385"/>
                  </a:lnTo>
                  <a:lnTo>
                    <a:pt x="42702" y="98075"/>
                  </a:lnTo>
                  <a:lnTo>
                    <a:pt x="39006" y="101766"/>
                  </a:lnTo>
                  <a:lnTo>
                    <a:pt x="31634" y="101766"/>
                  </a:lnTo>
                  <a:lnTo>
                    <a:pt x="31634" y="105457"/>
                  </a:lnTo>
                  <a:lnTo>
                    <a:pt x="35320" y="109147"/>
                  </a:lnTo>
                  <a:lnTo>
                    <a:pt x="39006" y="105457"/>
                  </a:lnTo>
                  <a:lnTo>
                    <a:pt x="42702" y="105457"/>
                  </a:lnTo>
                  <a:lnTo>
                    <a:pt x="46388" y="105457"/>
                  </a:lnTo>
                  <a:lnTo>
                    <a:pt x="50074" y="105457"/>
                  </a:lnTo>
                  <a:lnTo>
                    <a:pt x="53770" y="109147"/>
                  </a:lnTo>
                  <a:lnTo>
                    <a:pt x="57456" y="109147"/>
                  </a:lnTo>
                  <a:lnTo>
                    <a:pt x="57456" y="131291"/>
                  </a:lnTo>
                  <a:lnTo>
                    <a:pt x="57456" y="134981"/>
                  </a:lnTo>
                  <a:lnTo>
                    <a:pt x="61142" y="134981"/>
                  </a:lnTo>
                  <a:lnTo>
                    <a:pt x="61142" y="138672"/>
                  </a:lnTo>
                  <a:lnTo>
                    <a:pt x="57456" y="138672"/>
                  </a:lnTo>
                  <a:lnTo>
                    <a:pt x="53770" y="142363"/>
                  </a:lnTo>
                  <a:lnTo>
                    <a:pt x="53770" y="146053"/>
                  </a:lnTo>
                  <a:lnTo>
                    <a:pt x="50074" y="149744"/>
                  </a:lnTo>
                  <a:lnTo>
                    <a:pt x="46388" y="149744"/>
                  </a:lnTo>
                  <a:lnTo>
                    <a:pt x="42702" y="153435"/>
                  </a:lnTo>
                  <a:lnTo>
                    <a:pt x="42702" y="157125"/>
                  </a:lnTo>
                  <a:lnTo>
                    <a:pt x="42702" y="160816"/>
                  </a:lnTo>
                  <a:lnTo>
                    <a:pt x="42702" y="164506"/>
                  </a:lnTo>
                  <a:lnTo>
                    <a:pt x="46388" y="164506"/>
                  </a:lnTo>
                  <a:lnTo>
                    <a:pt x="42702" y="168197"/>
                  </a:lnTo>
                  <a:lnTo>
                    <a:pt x="39006" y="168197"/>
                  </a:lnTo>
                  <a:lnTo>
                    <a:pt x="39006" y="171888"/>
                  </a:lnTo>
                  <a:lnTo>
                    <a:pt x="35320" y="175578"/>
                  </a:lnTo>
                  <a:lnTo>
                    <a:pt x="35320" y="179268"/>
                  </a:lnTo>
                  <a:lnTo>
                    <a:pt x="35320" y="182958"/>
                  </a:lnTo>
                  <a:lnTo>
                    <a:pt x="31634" y="186649"/>
                  </a:lnTo>
                  <a:lnTo>
                    <a:pt x="27938" y="190340"/>
                  </a:lnTo>
                  <a:lnTo>
                    <a:pt x="24252" y="194030"/>
                  </a:lnTo>
                  <a:lnTo>
                    <a:pt x="24252" y="197721"/>
                  </a:lnTo>
                  <a:lnTo>
                    <a:pt x="27938" y="197721"/>
                  </a:lnTo>
                  <a:lnTo>
                    <a:pt x="31634" y="197721"/>
                  </a:lnTo>
                  <a:lnTo>
                    <a:pt x="31634" y="205102"/>
                  </a:lnTo>
                  <a:lnTo>
                    <a:pt x="31634" y="208793"/>
                  </a:lnTo>
                  <a:lnTo>
                    <a:pt x="31634" y="212483"/>
                  </a:lnTo>
                  <a:lnTo>
                    <a:pt x="27938" y="219865"/>
                  </a:lnTo>
                  <a:lnTo>
                    <a:pt x="24252" y="223555"/>
                  </a:lnTo>
                  <a:lnTo>
                    <a:pt x="20566" y="223555"/>
                  </a:lnTo>
                  <a:lnTo>
                    <a:pt x="16870" y="227246"/>
                  </a:lnTo>
                  <a:lnTo>
                    <a:pt x="16870" y="230936"/>
                  </a:lnTo>
                  <a:lnTo>
                    <a:pt x="13184" y="238318"/>
                  </a:lnTo>
                  <a:lnTo>
                    <a:pt x="9498" y="242008"/>
                  </a:lnTo>
                  <a:lnTo>
                    <a:pt x="9498" y="249389"/>
                  </a:lnTo>
                  <a:lnTo>
                    <a:pt x="9498" y="256771"/>
                  </a:lnTo>
                  <a:lnTo>
                    <a:pt x="9498" y="260461"/>
                  </a:lnTo>
                  <a:lnTo>
                    <a:pt x="9498" y="275223"/>
                  </a:lnTo>
                  <a:lnTo>
                    <a:pt x="13184" y="278913"/>
                  </a:lnTo>
                  <a:lnTo>
                    <a:pt x="16870" y="282604"/>
                  </a:lnTo>
                  <a:lnTo>
                    <a:pt x="20566" y="289985"/>
                  </a:lnTo>
                  <a:lnTo>
                    <a:pt x="24252" y="289985"/>
                  </a:lnTo>
                  <a:lnTo>
                    <a:pt x="31634" y="289985"/>
                  </a:lnTo>
                  <a:lnTo>
                    <a:pt x="39006" y="289985"/>
                  </a:lnTo>
                  <a:lnTo>
                    <a:pt x="46388" y="289985"/>
                  </a:lnTo>
                  <a:lnTo>
                    <a:pt x="50074" y="289985"/>
                  </a:lnTo>
                  <a:lnTo>
                    <a:pt x="53770" y="293676"/>
                  </a:lnTo>
                  <a:lnTo>
                    <a:pt x="61142" y="297366"/>
                  </a:lnTo>
                  <a:lnTo>
                    <a:pt x="64838" y="301057"/>
                  </a:lnTo>
                  <a:lnTo>
                    <a:pt x="64838" y="304748"/>
                  </a:lnTo>
                  <a:lnTo>
                    <a:pt x="75906" y="308438"/>
                  </a:lnTo>
                  <a:lnTo>
                    <a:pt x="86974" y="312129"/>
                  </a:lnTo>
                  <a:lnTo>
                    <a:pt x="90660" y="312129"/>
                  </a:lnTo>
                  <a:lnTo>
                    <a:pt x="94346" y="297366"/>
                  </a:lnTo>
                  <a:lnTo>
                    <a:pt x="98033" y="297366"/>
                  </a:lnTo>
                  <a:lnTo>
                    <a:pt x="98033" y="286295"/>
                  </a:lnTo>
                  <a:lnTo>
                    <a:pt x="98033" y="282604"/>
                  </a:lnTo>
                  <a:lnTo>
                    <a:pt x="105414" y="264151"/>
                  </a:lnTo>
                  <a:lnTo>
                    <a:pt x="105414" y="260461"/>
                  </a:lnTo>
                  <a:lnTo>
                    <a:pt x="109101" y="256771"/>
                  </a:lnTo>
                  <a:lnTo>
                    <a:pt x="112796" y="249389"/>
                  </a:lnTo>
                  <a:lnTo>
                    <a:pt x="116483" y="245699"/>
                  </a:lnTo>
                  <a:lnTo>
                    <a:pt x="116483" y="242008"/>
                  </a:lnTo>
                  <a:lnTo>
                    <a:pt x="120169" y="238318"/>
                  </a:lnTo>
                  <a:lnTo>
                    <a:pt x="127551" y="234627"/>
                  </a:lnTo>
                  <a:lnTo>
                    <a:pt x="134932" y="230936"/>
                  </a:lnTo>
                  <a:lnTo>
                    <a:pt x="134932" y="227246"/>
                  </a:lnTo>
                  <a:lnTo>
                    <a:pt x="138619" y="223555"/>
                  </a:lnTo>
                  <a:lnTo>
                    <a:pt x="146001" y="219865"/>
                  </a:lnTo>
                  <a:lnTo>
                    <a:pt x="153373" y="219865"/>
                  </a:lnTo>
                  <a:lnTo>
                    <a:pt x="157069" y="219865"/>
                  </a:lnTo>
                  <a:lnTo>
                    <a:pt x="160755" y="223555"/>
                  </a:lnTo>
                  <a:lnTo>
                    <a:pt x="164441" y="219865"/>
                  </a:lnTo>
                  <a:lnTo>
                    <a:pt x="168127" y="223555"/>
                  </a:lnTo>
                  <a:lnTo>
                    <a:pt x="175509" y="223555"/>
                  </a:lnTo>
                  <a:lnTo>
                    <a:pt x="179195" y="234627"/>
                  </a:lnTo>
                  <a:lnTo>
                    <a:pt x="182891" y="238318"/>
                  </a:lnTo>
                  <a:lnTo>
                    <a:pt x="186577" y="234627"/>
                  </a:lnTo>
                  <a:lnTo>
                    <a:pt x="190263" y="245699"/>
                  </a:lnTo>
                  <a:lnTo>
                    <a:pt x="190263" y="249389"/>
                  </a:lnTo>
                  <a:lnTo>
                    <a:pt x="193959" y="253080"/>
                  </a:lnTo>
                  <a:lnTo>
                    <a:pt x="201331" y="249389"/>
                  </a:lnTo>
                  <a:lnTo>
                    <a:pt x="201331" y="253080"/>
                  </a:lnTo>
                  <a:lnTo>
                    <a:pt x="201331" y="256771"/>
                  </a:lnTo>
                  <a:lnTo>
                    <a:pt x="205027" y="260461"/>
                  </a:lnTo>
                  <a:lnTo>
                    <a:pt x="205027" y="264151"/>
                  </a:lnTo>
                  <a:lnTo>
                    <a:pt x="212399" y="264151"/>
                  </a:lnTo>
                  <a:lnTo>
                    <a:pt x="212399" y="267842"/>
                  </a:lnTo>
                  <a:lnTo>
                    <a:pt x="216095" y="271532"/>
                  </a:lnTo>
                  <a:lnTo>
                    <a:pt x="219781" y="275223"/>
                  </a:lnTo>
                  <a:lnTo>
                    <a:pt x="223467" y="278913"/>
                  </a:lnTo>
                  <a:lnTo>
                    <a:pt x="223467" y="282604"/>
                  </a:lnTo>
                  <a:lnTo>
                    <a:pt x="227163" y="282604"/>
                  </a:lnTo>
                  <a:lnTo>
                    <a:pt x="223467" y="286295"/>
                  </a:lnTo>
                  <a:lnTo>
                    <a:pt x="227163" y="289985"/>
                  </a:lnTo>
                  <a:lnTo>
                    <a:pt x="227163" y="293676"/>
                  </a:lnTo>
                  <a:lnTo>
                    <a:pt x="245603" y="286295"/>
                  </a:lnTo>
                  <a:lnTo>
                    <a:pt x="249290" y="286295"/>
                  </a:lnTo>
                  <a:lnTo>
                    <a:pt x="256672" y="282604"/>
                  </a:lnTo>
                  <a:lnTo>
                    <a:pt x="267740" y="282604"/>
                  </a:lnTo>
                  <a:lnTo>
                    <a:pt x="271426" y="282604"/>
                  </a:lnTo>
                  <a:lnTo>
                    <a:pt x="275121" y="282604"/>
                  </a:lnTo>
                  <a:lnTo>
                    <a:pt x="278808" y="286295"/>
                  </a:lnTo>
                  <a:lnTo>
                    <a:pt x="282494" y="286295"/>
                  </a:lnTo>
                  <a:lnTo>
                    <a:pt x="282494" y="289985"/>
                  </a:lnTo>
                  <a:lnTo>
                    <a:pt x="297258" y="301057"/>
                  </a:lnTo>
                  <a:lnTo>
                    <a:pt x="300944" y="308438"/>
                  </a:lnTo>
                  <a:lnTo>
                    <a:pt x="315698" y="319510"/>
                  </a:lnTo>
                  <a:lnTo>
                    <a:pt x="315698" y="323201"/>
                  </a:lnTo>
                  <a:lnTo>
                    <a:pt x="326766" y="334273"/>
                  </a:lnTo>
                  <a:lnTo>
                    <a:pt x="337834" y="345344"/>
                  </a:lnTo>
                  <a:lnTo>
                    <a:pt x="356284" y="363796"/>
                  </a:lnTo>
                  <a:lnTo>
                    <a:pt x="359970" y="367487"/>
                  </a:lnTo>
                  <a:lnTo>
                    <a:pt x="367352" y="374868"/>
                  </a:lnTo>
                  <a:lnTo>
                    <a:pt x="374724" y="382249"/>
                  </a:lnTo>
                  <a:lnTo>
                    <a:pt x="378410" y="385940"/>
                  </a:lnTo>
                  <a:lnTo>
                    <a:pt x="378410" y="389631"/>
                  </a:lnTo>
                  <a:lnTo>
                    <a:pt x="382106" y="393321"/>
                  </a:lnTo>
                  <a:lnTo>
                    <a:pt x="385792" y="397012"/>
                  </a:lnTo>
                  <a:lnTo>
                    <a:pt x="389479" y="404393"/>
                  </a:lnTo>
                  <a:lnTo>
                    <a:pt x="393174" y="411774"/>
                  </a:lnTo>
                  <a:lnTo>
                    <a:pt x="396861" y="411774"/>
                  </a:lnTo>
                  <a:lnTo>
                    <a:pt x="396861" y="415465"/>
                  </a:lnTo>
                  <a:lnTo>
                    <a:pt x="400547" y="415465"/>
                  </a:lnTo>
                  <a:lnTo>
                    <a:pt x="407928" y="426537"/>
                  </a:lnTo>
                  <a:lnTo>
                    <a:pt x="411615" y="433917"/>
                  </a:lnTo>
                  <a:lnTo>
                    <a:pt x="415310" y="437608"/>
                  </a:lnTo>
                  <a:lnTo>
                    <a:pt x="418997" y="441298"/>
                  </a:lnTo>
                  <a:lnTo>
                    <a:pt x="426378" y="441298"/>
                  </a:lnTo>
                  <a:lnTo>
                    <a:pt x="426378" y="448680"/>
                  </a:lnTo>
                  <a:lnTo>
                    <a:pt x="422683" y="452370"/>
                  </a:lnTo>
                  <a:lnTo>
                    <a:pt x="415310" y="474514"/>
                  </a:lnTo>
                  <a:lnTo>
                    <a:pt x="415310" y="478204"/>
                  </a:lnTo>
                  <a:lnTo>
                    <a:pt x="426378" y="478204"/>
                  </a:lnTo>
                  <a:lnTo>
                    <a:pt x="426378" y="481895"/>
                  </a:lnTo>
                  <a:lnTo>
                    <a:pt x="430065" y="481895"/>
                  </a:lnTo>
                  <a:lnTo>
                    <a:pt x="437447" y="492967"/>
                  </a:lnTo>
                  <a:lnTo>
                    <a:pt x="441133" y="496657"/>
                  </a:lnTo>
                  <a:lnTo>
                    <a:pt x="444819" y="492967"/>
                  </a:lnTo>
                  <a:lnTo>
                    <a:pt x="444819" y="496657"/>
                  </a:lnTo>
                  <a:lnTo>
                    <a:pt x="441133" y="496657"/>
                  </a:lnTo>
                  <a:lnTo>
                    <a:pt x="441133" y="504039"/>
                  </a:lnTo>
                  <a:lnTo>
                    <a:pt x="452201" y="504039"/>
                  </a:lnTo>
                  <a:lnTo>
                    <a:pt x="448505" y="496657"/>
                  </a:lnTo>
                  <a:lnTo>
                    <a:pt x="448505" y="492967"/>
                  </a:lnTo>
                  <a:lnTo>
                    <a:pt x="455887" y="481895"/>
                  </a:lnTo>
                  <a:lnTo>
                    <a:pt x="478023" y="444989"/>
                  </a:lnTo>
                  <a:lnTo>
                    <a:pt x="492777" y="419156"/>
                  </a:lnTo>
                  <a:lnTo>
                    <a:pt x="500159" y="389631"/>
                  </a:lnTo>
                  <a:lnTo>
                    <a:pt x="503845" y="371178"/>
                  </a:lnTo>
                  <a:lnTo>
                    <a:pt x="507541" y="367487"/>
                  </a:lnTo>
                  <a:lnTo>
                    <a:pt x="507541" y="363796"/>
                  </a:lnTo>
                  <a:lnTo>
                    <a:pt x="500159" y="330582"/>
                  </a:lnTo>
                  <a:lnTo>
                    <a:pt x="500159" y="312129"/>
                  </a:lnTo>
                  <a:lnTo>
                    <a:pt x="500159" y="308438"/>
                  </a:lnTo>
                  <a:lnTo>
                    <a:pt x="500159" y="282604"/>
                  </a:lnTo>
                  <a:lnTo>
                    <a:pt x="489091" y="275223"/>
                  </a:lnTo>
                  <a:lnTo>
                    <a:pt x="489091" y="267842"/>
                  </a:lnTo>
                  <a:lnTo>
                    <a:pt x="489091" y="264151"/>
                  </a:lnTo>
                  <a:lnTo>
                    <a:pt x="489091" y="260461"/>
                  </a:lnTo>
                  <a:lnTo>
                    <a:pt x="492777" y="256771"/>
                  </a:lnTo>
                  <a:lnTo>
                    <a:pt x="492777" y="249389"/>
                  </a:lnTo>
                  <a:lnTo>
                    <a:pt x="492777" y="245699"/>
                  </a:lnTo>
                  <a:lnTo>
                    <a:pt x="496473" y="234627"/>
                  </a:lnTo>
                  <a:lnTo>
                    <a:pt x="500159" y="234627"/>
                  </a:lnTo>
                  <a:lnTo>
                    <a:pt x="503845" y="230936"/>
                  </a:lnTo>
                  <a:lnTo>
                    <a:pt x="511227" y="230936"/>
                  </a:lnTo>
                  <a:lnTo>
                    <a:pt x="503845" y="227246"/>
                  </a:lnTo>
                  <a:lnTo>
                    <a:pt x="500159" y="223555"/>
                  </a:lnTo>
                  <a:lnTo>
                    <a:pt x="503845" y="219865"/>
                  </a:lnTo>
                  <a:lnTo>
                    <a:pt x="503845" y="216174"/>
                  </a:lnTo>
                  <a:lnTo>
                    <a:pt x="503845" y="201412"/>
                  </a:lnTo>
                  <a:lnTo>
                    <a:pt x="500159" y="190340"/>
                  </a:lnTo>
                  <a:lnTo>
                    <a:pt x="500159" y="186649"/>
                  </a:lnTo>
                  <a:lnTo>
                    <a:pt x="496473" y="186649"/>
                  </a:lnTo>
                  <a:lnTo>
                    <a:pt x="485405" y="182958"/>
                  </a:lnTo>
                  <a:lnTo>
                    <a:pt x="481709" y="182958"/>
                  </a:lnTo>
                  <a:lnTo>
                    <a:pt x="481709" y="179268"/>
                  </a:lnTo>
                  <a:lnTo>
                    <a:pt x="478023" y="179268"/>
                  </a:lnTo>
                  <a:lnTo>
                    <a:pt x="474337" y="179268"/>
                  </a:lnTo>
                  <a:lnTo>
                    <a:pt x="470641" y="179268"/>
                  </a:lnTo>
                  <a:lnTo>
                    <a:pt x="466955" y="179268"/>
                  </a:lnTo>
                  <a:lnTo>
                    <a:pt x="466955" y="175578"/>
                  </a:lnTo>
                  <a:lnTo>
                    <a:pt x="463269" y="175578"/>
                  </a:lnTo>
                  <a:lnTo>
                    <a:pt x="459573" y="175578"/>
                  </a:lnTo>
                  <a:lnTo>
                    <a:pt x="452201" y="175578"/>
                  </a:lnTo>
                  <a:lnTo>
                    <a:pt x="448505" y="171888"/>
                  </a:lnTo>
                  <a:lnTo>
                    <a:pt x="444819" y="171888"/>
                  </a:lnTo>
                  <a:lnTo>
                    <a:pt x="441133" y="168197"/>
                  </a:lnTo>
                  <a:lnTo>
                    <a:pt x="437447" y="164506"/>
                  </a:lnTo>
                  <a:lnTo>
                    <a:pt x="437447" y="160816"/>
                  </a:lnTo>
                  <a:lnTo>
                    <a:pt x="437447" y="153435"/>
                  </a:lnTo>
                  <a:lnTo>
                    <a:pt x="441133" y="149744"/>
                  </a:lnTo>
                  <a:lnTo>
                    <a:pt x="437447" y="142363"/>
                  </a:lnTo>
                  <a:lnTo>
                    <a:pt x="437447" y="138672"/>
                  </a:lnTo>
                  <a:lnTo>
                    <a:pt x="441133" y="138672"/>
                  </a:lnTo>
                  <a:lnTo>
                    <a:pt x="444819" y="131291"/>
                  </a:lnTo>
                  <a:lnTo>
                    <a:pt x="444819" y="127600"/>
                  </a:lnTo>
                  <a:lnTo>
                    <a:pt x="437447" y="131291"/>
                  </a:lnTo>
                  <a:lnTo>
                    <a:pt x="433751" y="134981"/>
                  </a:lnTo>
                  <a:lnTo>
                    <a:pt x="422683" y="134981"/>
                  </a:lnTo>
                  <a:lnTo>
                    <a:pt x="418997" y="134981"/>
                  </a:lnTo>
                  <a:lnTo>
                    <a:pt x="415310" y="134981"/>
                  </a:lnTo>
                  <a:lnTo>
                    <a:pt x="411615" y="134981"/>
                  </a:lnTo>
                  <a:lnTo>
                    <a:pt x="404242" y="131291"/>
                  </a:lnTo>
                  <a:lnTo>
                    <a:pt x="404242" y="127600"/>
                  </a:lnTo>
                  <a:lnTo>
                    <a:pt x="400547" y="127600"/>
                  </a:lnTo>
                  <a:lnTo>
                    <a:pt x="396861" y="127600"/>
                  </a:lnTo>
                  <a:lnTo>
                    <a:pt x="389479" y="123910"/>
                  </a:lnTo>
                  <a:lnTo>
                    <a:pt x="382106" y="120219"/>
                  </a:lnTo>
                  <a:lnTo>
                    <a:pt x="382106" y="123910"/>
                  </a:lnTo>
                  <a:lnTo>
                    <a:pt x="374724" y="120219"/>
                  </a:lnTo>
                  <a:lnTo>
                    <a:pt x="367352" y="116528"/>
                  </a:lnTo>
                  <a:lnTo>
                    <a:pt x="363656" y="116528"/>
                  </a:lnTo>
                  <a:lnTo>
                    <a:pt x="363656" y="112838"/>
                  </a:lnTo>
                  <a:lnTo>
                    <a:pt x="367352" y="112838"/>
                  </a:lnTo>
                  <a:lnTo>
                    <a:pt x="363656" y="109147"/>
                  </a:lnTo>
                  <a:lnTo>
                    <a:pt x="356284" y="101766"/>
                  </a:lnTo>
                  <a:lnTo>
                    <a:pt x="352588" y="101766"/>
                  </a:lnTo>
                  <a:lnTo>
                    <a:pt x="348902" y="98075"/>
                  </a:lnTo>
                  <a:lnTo>
                    <a:pt x="348902" y="94385"/>
                  </a:lnTo>
                  <a:lnTo>
                    <a:pt x="348902" y="87005"/>
                  </a:lnTo>
                  <a:lnTo>
                    <a:pt x="348902" y="79623"/>
                  </a:lnTo>
                  <a:lnTo>
                    <a:pt x="345216" y="75933"/>
                  </a:lnTo>
                  <a:lnTo>
                    <a:pt x="345216" y="72242"/>
                  </a:lnTo>
                  <a:lnTo>
                    <a:pt x="345216" y="68551"/>
                  </a:lnTo>
                  <a:lnTo>
                    <a:pt x="345216" y="61170"/>
                  </a:lnTo>
                  <a:lnTo>
                    <a:pt x="341520" y="53789"/>
                  </a:lnTo>
                  <a:lnTo>
                    <a:pt x="337834" y="53789"/>
                  </a:lnTo>
                  <a:lnTo>
                    <a:pt x="337834" y="42717"/>
                  </a:lnTo>
                  <a:lnTo>
                    <a:pt x="341520" y="31645"/>
                  </a:lnTo>
                  <a:lnTo>
                    <a:pt x="341520" y="27955"/>
                  </a:lnTo>
                  <a:lnTo>
                    <a:pt x="330452" y="16883"/>
                  </a:lnTo>
                  <a:lnTo>
                    <a:pt x="323080" y="13193"/>
                  </a:lnTo>
                  <a:lnTo>
                    <a:pt x="319384" y="20574"/>
                  </a:lnTo>
                  <a:lnTo>
                    <a:pt x="323080" y="24264"/>
                  </a:lnTo>
                  <a:lnTo>
                    <a:pt x="319384" y="24264"/>
                  </a:lnTo>
                  <a:lnTo>
                    <a:pt x="315698" y="24264"/>
                  </a:lnTo>
                  <a:lnTo>
                    <a:pt x="312012" y="24264"/>
                  </a:lnTo>
                  <a:lnTo>
                    <a:pt x="312012" y="20574"/>
                  </a:lnTo>
                  <a:lnTo>
                    <a:pt x="315698" y="24264"/>
                  </a:lnTo>
                  <a:lnTo>
                    <a:pt x="315698" y="20574"/>
                  </a:lnTo>
                  <a:lnTo>
                    <a:pt x="319384" y="13193"/>
                  </a:lnTo>
                  <a:lnTo>
                    <a:pt x="315698" y="13193"/>
                  </a:lnTo>
                  <a:lnTo>
                    <a:pt x="308316" y="9502"/>
                  </a:lnTo>
                  <a:lnTo>
                    <a:pt x="300944" y="16883"/>
                  </a:lnTo>
                  <a:lnTo>
                    <a:pt x="297258" y="13193"/>
                  </a:lnTo>
                  <a:lnTo>
                    <a:pt x="289876" y="9502"/>
                  </a:lnTo>
                  <a:lnTo>
                    <a:pt x="278808" y="9502"/>
                  </a:lnTo>
                  <a:lnTo>
                    <a:pt x="275121" y="5812"/>
                  </a:lnTo>
                  <a:close/>
                  <a:moveTo>
                    <a:pt x="367352" y="112838"/>
                  </a:moveTo>
                  <a:lnTo>
                    <a:pt x="371038" y="116528"/>
                  </a:lnTo>
                  <a:lnTo>
                    <a:pt x="371038" y="112838"/>
                  </a:lnTo>
                  <a:lnTo>
                    <a:pt x="367352" y="112838"/>
                  </a:lnTo>
                  <a:close/>
                  <a:moveTo>
                    <a:pt x="500159" y="186649"/>
                  </a:moveTo>
                  <a:lnTo>
                    <a:pt x="500159" y="179268"/>
                  </a:lnTo>
                  <a:lnTo>
                    <a:pt x="496473" y="182958"/>
                  </a:lnTo>
                  <a:lnTo>
                    <a:pt x="500159" y="186649"/>
                  </a:lnTo>
                  <a:close/>
                </a:path>
              </a:pathLst>
            </a:custGeom>
            <a:solidFill>
              <a:srgbClr val="59943A"/>
            </a:solidFill>
            <a:ln w="12821" cap="flat">
              <a:solidFill>
                <a:schemeClr val="bg1"/>
              </a:solidFill>
              <a:prstDash val="solid"/>
              <a:round/>
            </a:ln>
          </p:spPr>
          <p:txBody>
            <a:bodyPr rot="0" spcFirstLastPara="0" vertOverflow="overflow" horzOverflow="overflow" vert="horz" wrap="square" lIns="91440" tIns="72000" rIns="91440" bIns="36000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83</a:t>
              </a:r>
            </a:p>
          </p:txBody>
        </p:sp>
        <p:sp>
          <p:nvSpPr>
            <p:cNvPr id="251" name="Freeform: Shape 250">
              <a:extLst>
                <a:ext uri="{FF2B5EF4-FFF2-40B4-BE49-F238E27FC236}">
                  <a16:creationId xmlns:a16="http://schemas.microsoft.com/office/drawing/2014/main" id="{D2B2C9D6-E500-43E6-8FE0-9696F656A3A6}"/>
                </a:ext>
              </a:extLst>
            </p:cNvPr>
            <p:cNvSpPr/>
            <p:nvPr/>
          </p:nvSpPr>
          <p:spPr>
            <a:xfrm>
              <a:off x="4519424" y="4712448"/>
              <a:ext cx="399691" cy="199845"/>
            </a:xfrm>
            <a:custGeom>
              <a:avLst/>
              <a:gdLst>
                <a:gd name="connsiteX0" fmla="*/ 131243 w 247650"/>
                <a:gd name="connsiteY0" fmla="*/ 105462 h 123825"/>
                <a:gd name="connsiteX1" fmla="*/ 127554 w 247650"/>
                <a:gd name="connsiteY1" fmla="*/ 109148 h 123825"/>
                <a:gd name="connsiteX2" fmla="*/ 123865 w 247650"/>
                <a:gd name="connsiteY2" fmla="*/ 109148 h 123825"/>
                <a:gd name="connsiteX3" fmla="*/ 123865 w 247650"/>
                <a:gd name="connsiteY3" fmla="*/ 109148 h 123825"/>
                <a:gd name="connsiteX4" fmla="*/ 120176 w 247650"/>
                <a:gd name="connsiteY4" fmla="*/ 109148 h 123825"/>
                <a:gd name="connsiteX5" fmla="*/ 120176 w 247650"/>
                <a:gd name="connsiteY5" fmla="*/ 109148 h 123825"/>
                <a:gd name="connsiteX6" fmla="*/ 112798 w 247650"/>
                <a:gd name="connsiteY6" fmla="*/ 105462 h 123825"/>
                <a:gd name="connsiteX7" fmla="*/ 109108 w 247650"/>
                <a:gd name="connsiteY7" fmla="*/ 105462 h 123825"/>
                <a:gd name="connsiteX8" fmla="*/ 109108 w 247650"/>
                <a:gd name="connsiteY8" fmla="*/ 105462 h 123825"/>
                <a:gd name="connsiteX9" fmla="*/ 116487 w 247650"/>
                <a:gd name="connsiteY9" fmla="*/ 101766 h 123825"/>
                <a:gd name="connsiteX10" fmla="*/ 116487 w 247650"/>
                <a:gd name="connsiteY10" fmla="*/ 98080 h 123825"/>
                <a:gd name="connsiteX11" fmla="*/ 116487 w 247650"/>
                <a:gd name="connsiteY11" fmla="*/ 101766 h 123825"/>
                <a:gd name="connsiteX12" fmla="*/ 109108 w 247650"/>
                <a:gd name="connsiteY12" fmla="*/ 105462 h 123825"/>
                <a:gd name="connsiteX13" fmla="*/ 105419 w 247650"/>
                <a:gd name="connsiteY13" fmla="*/ 105462 h 123825"/>
                <a:gd name="connsiteX14" fmla="*/ 109108 w 247650"/>
                <a:gd name="connsiteY14" fmla="*/ 98080 h 123825"/>
                <a:gd name="connsiteX15" fmla="*/ 105419 w 247650"/>
                <a:gd name="connsiteY15" fmla="*/ 94385 h 123825"/>
                <a:gd name="connsiteX16" fmla="*/ 105419 w 247650"/>
                <a:gd name="connsiteY16" fmla="*/ 87003 h 123825"/>
                <a:gd name="connsiteX17" fmla="*/ 101730 w 247650"/>
                <a:gd name="connsiteY17" fmla="*/ 87003 h 123825"/>
                <a:gd name="connsiteX18" fmla="*/ 101730 w 247650"/>
                <a:gd name="connsiteY18" fmla="*/ 83317 h 123825"/>
                <a:gd name="connsiteX19" fmla="*/ 101730 w 247650"/>
                <a:gd name="connsiteY19" fmla="*/ 79621 h 123825"/>
                <a:gd name="connsiteX20" fmla="*/ 98041 w 247650"/>
                <a:gd name="connsiteY20" fmla="*/ 72248 h 123825"/>
                <a:gd name="connsiteX21" fmla="*/ 90663 w 247650"/>
                <a:gd name="connsiteY21" fmla="*/ 68553 h 123825"/>
                <a:gd name="connsiteX22" fmla="*/ 86973 w 247650"/>
                <a:gd name="connsiteY22" fmla="*/ 72248 h 123825"/>
                <a:gd name="connsiteX23" fmla="*/ 86973 w 247650"/>
                <a:gd name="connsiteY23" fmla="*/ 68553 h 123825"/>
                <a:gd name="connsiteX24" fmla="*/ 75906 w 247650"/>
                <a:gd name="connsiteY24" fmla="*/ 64867 h 123825"/>
                <a:gd name="connsiteX25" fmla="*/ 75906 w 247650"/>
                <a:gd name="connsiteY25" fmla="*/ 64867 h 123825"/>
                <a:gd name="connsiteX26" fmla="*/ 75906 w 247650"/>
                <a:gd name="connsiteY26" fmla="*/ 64867 h 123825"/>
                <a:gd name="connsiteX27" fmla="*/ 75906 w 247650"/>
                <a:gd name="connsiteY27" fmla="*/ 61171 h 123825"/>
                <a:gd name="connsiteX28" fmla="*/ 75906 w 247650"/>
                <a:gd name="connsiteY28" fmla="*/ 61171 h 123825"/>
                <a:gd name="connsiteX29" fmla="*/ 75906 w 247650"/>
                <a:gd name="connsiteY29" fmla="*/ 57485 h 123825"/>
                <a:gd name="connsiteX30" fmla="*/ 72217 w 247650"/>
                <a:gd name="connsiteY30" fmla="*/ 53789 h 123825"/>
                <a:gd name="connsiteX31" fmla="*/ 64838 w 247650"/>
                <a:gd name="connsiteY31" fmla="*/ 53789 h 123825"/>
                <a:gd name="connsiteX32" fmla="*/ 61149 w 247650"/>
                <a:gd name="connsiteY32" fmla="*/ 53789 h 123825"/>
                <a:gd name="connsiteX33" fmla="*/ 57460 w 247650"/>
                <a:gd name="connsiteY33" fmla="*/ 57485 h 123825"/>
                <a:gd name="connsiteX34" fmla="*/ 57460 w 247650"/>
                <a:gd name="connsiteY34" fmla="*/ 61171 h 123825"/>
                <a:gd name="connsiteX35" fmla="*/ 61149 w 247650"/>
                <a:gd name="connsiteY35" fmla="*/ 61171 h 123825"/>
                <a:gd name="connsiteX36" fmla="*/ 64838 w 247650"/>
                <a:gd name="connsiteY36" fmla="*/ 57485 h 123825"/>
                <a:gd name="connsiteX37" fmla="*/ 68528 w 247650"/>
                <a:gd name="connsiteY37" fmla="*/ 61171 h 123825"/>
                <a:gd name="connsiteX38" fmla="*/ 64838 w 247650"/>
                <a:gd name="connsiteY38" fmla="*/ 57485 h 123825"/>
                <a:gd name="connsiteX39" fmla="*/ 61149 w 247650"/>
                <a:gd name="connsiteY39" fmla="*/ 61171 h 123825"/>
                <a:gd name="connsiteX40" fmla="*/ 53771 w 247650"/>
                <a:gd name="connsiteY40" fmla="*/ 61171 h 123825"/>
                <a:gd name="connsiteX41" fmla="*/ 50082 w 247650"/>
                <a:gd name="connsiteY41" fmla="*/ 68553 h 123825"/>
                <a:gd name="connsiteX42" fmla="*/ 42704 w 247650"/>
                <a:gd name="connsiteY42" fmla="*/ 72248 h 123825"/>
                <a:gd name="connsiteX43" fmla="*/ 42704 w 247650"/>
                <a:gd name="connsiteY43" fmla="*/ 72248 h 123825"/>
                <a:gd name="connsiteX44" fmla="*/ 42704 w 247650"/>
                <a:gd name="connsiteY44" fmla="*/ 72248 h 123825"/>
                <a:gd name="connsiteX45" fmla="*/ 42704 w 247650"/>
                <a:gd name="connsiteY45" fmla="*/ 72248 h 123825"/>
                <a:gd name="connsiteX46" fmla="*/ 39014 w 247650"/>
                <a:gd name="connsiteY46" fmla="*/ 72248 h 123825"/>
                <a:gd name="connsiteX47" fmla="*/ 35325 w 247650"/>
                <a:gd name="connsiteY47" fmla="*/ 72248 h 123825"/>
                <a:gd name="connsiteX48" fmla="*/ 27947 w 247650"/>
                <a:gd name="connsiteY48" fmla="*/ 75935 h 123825"/>
                <a:gd name="connsiteX49" fmla="*/ 24258 w 247650"/>
                <a:gd name="connsiteY49" fmla="*/ 79621 h 123825"/>
                <a:gd name="connsiteX50" fmla="*/ 24258 w 247650"/>
                <a:gd name="connsiteY50" fmla="*/ 87003 h 123825"/>
                <a:gd name="connsiteX51" fmla="*/ 24258 w 247650"/>
                <a:gd name="connsiteY51" fmla="*/ 87003 h 123825"/>
                <a:gd name="connsiteX52" fmla="*/ 27947 w 247650"/>
                <a:gd name="connsiteY52" fmla="*/ 87003 h 123825"/>
                <a:gd name="connsiteX53" fmla="*/ 27947 w 247650"/>
                <a:gd name="connsiteY53" fmla="*/ 90698 h 123825"/>
                <a:gd name="connsiteX54" fmla="*/ 24258 w 247650"/>
                <a:gd name="connsiteY54" fmla="*/ 90698 h 123825"/>
                <a:gd name="connsiteX55" fmla="*/ 24258 w 247650"/>
                <a:gd name="connsiteY55" fmla="*/ 90698 h 123825"/>
                <a:gd name="connsiteX56" fmla="*/ 24258 w 247650"/>
                <a:gd name="connsiteY56" fmla="*/ 90698 h 123825"/>
                <a:gd name="connsiteX57" fmla="*/ 20569 w 247650"/>
                <a:gd name="connsiteY57" fmla="*/ 87003 h 123825"/>
                <a:gd name="connsiteX58" fmla="*/ 20569 w 247650"/>
                <a:gd name="connsiteY58" fmla="*/ 87003 h 123825"/>
                <a:gd name="connsiteX59" fmla="*/ 20569 w 247650"/>
                <a:gd name="connsiteY59" fmla="*/ 87003 h 123825"/>
                <a:gd name="connsiteX60" fmla="*/ 24258 w 247650"/>
                <a:gd name="connsiteY60" fmla="*/ 87003 h 123825"/>
                <a:gd name="connsiteX61" fmla="*/ 24258 w 247650"/>
                <a:gd name="connsiteY61" fmla="*/ 87003 h 123825"/>
                <a:gd name="connsiteX62" fmla="*/ 24258 w 247650"/>
                <a:gd name="connsiteY62" fmla="*/ 79621 h 123825"/>
                <a:gd name="connsiteX63" fmla="*/ 24258 w 247650"/>
                <a:gd name="connsiteY63" fmla="*/ 79621 h 123825"/>
                <a:gd name="connsiteX64" fmla="*/ 20569 w 247650"/>
                <a:gd name="connsiteY64" fmla="*/ 75935 h 123825"/>
                <a:gd name="connsiteX65" fmla="*/ 16879 w 247650"/>
                <a:gd name="connsiteY65" fmla="*/ 75935 h 123825"/>
                <a:gd name="connsiteX66" fmla="*/ 13190 w 247650"/>
                <a:gd name="connsiteY66" fmla="*/ 75935 h 123825"/>
                <a:gd name="connsiteX67" fmla="*/ 13190 w 247650"/>
                <a:gd name="connsiteY67" fmla="*/ 72248 h 123825"/>
                <a:gd name="connsiteX68" fmla="*/ 9501 w 247650"/>
                <a:gd name="connsiteY68" fmla="*/ 68553 h 123825"/>
                <a:gd name="connsiteX69" fmla="*/ 5812 w 247650"/>
                <a:gd name="connsiteY69" fmla="*/ 61171 h 123825"/>
                <a:gd name="connsiteX70" fmla="*/ 5812 w 247650"/>
                <a:gd name="connsiteY70" fmla="*/ 53789 h 123825"/>
                <a:gd name="connsiteX71" fmla="*/ 5812 w 247650"/>
                <a:gd name="connsiteY71" fmla="*/ 46407 h 123825"/>
                <a:gd name="connsiteX72" fmla="*/ 5812 w 247650"/>
                <a:gd name="connsiteY72" fmla="*/ 42721 h 123825"/>
                <a:gd name="connsiteX73" fmla="*/ 9501 w 247650"/>
                <a:gd name="connsiteY73" fmla="*/ 35339 h 123825"/>
                <a:gd name="connsiteX74" fmla="*/ 16879 w 247650"/>
                <a:gd name="connsiteY74" fmla="*/ 27957 h 123825"/>
                <a:gd name="connsiteX75" fmla="*/ 24258 w 247650"/>
                <a:gd name="connsiteY75" fmla="*/ 24271 h 123825"/>
                <a:gd name="connsiteX76" fmla="*/ 27947 w 247650"/>
                <a:gd name="connsiteY76" fmla="*/ 24271 h 123825"/>
                <a:gd name="connsiteX77" fmla="*/ 31636 w 247650"/>
                <a:gd name="connsiteY77" fmla="*/ 24271 h 123825"/>
                <a:gd name="connsiteX78" fmla="*/ 46393 w 247650"/>
                <a:gd name="connsiteY78" fmla="*/ 20575 h 123825"/>
                <a:gd name="connsiteX79" fmla="*/ 50082 w 247650"/>
                <a:gd name="connsiteY79" fmla="*/ 16889 h 123825"/>
                <a:gd name="connsiteX80" fmla="*/ 57460 w 247650"/>
                <a:gd name="connsiteY80" fmla="*/ 16889 h 123825"/>
                <a:gd name="connsiteX81" fmla="*/ 64838 w 247650"/>
                <a:gd name="connsiteY81" fmla="*/ 16889 h 123825"/>
                <a:gd name="connsiteX82" fmla="*/ 75906 w 247650"/>
                <a:gd name="connsiteY82" fmla="*/ 20575 h 123825"/>
                <a:gd name="connsiteX83" fmla="*/ 75906 w 247650"/>
                <a:gd name="connsiteY83" fmla="*/ 16889 h 123825"/>
                <a:gd name="connsiteX84" fmla="*/ 75906 w 247650"/>
                <a:gd name="connsiteY84" fmla="*/ 16889 h 123825"/>
                <a:gd name="connsiteX85" fmla="*/ 75906 w 247650"/>
                <a:gd name="connsiteY85" fmla="*/ 13194 h 123825"/>
                <a:gd name="connsiteX86" fmla="*/ 79595 w 247650"/>
                <a:gd name="connsiteY86" fmla="*/ 9507 h 123825"/>
                <a:gd name="connsiteX87" fmla="*/ 79595 w 247650"/>
                <a:gd name="connsiteY87" fmla="*/ 5812 h 123825"/>
                <a:gd name="connsiteX88" fmla="*/ 83284 w 247650"/>
                <a:gd name="connsiteY88" fmla="*/ 5812 h 123825"/>
                <a:gd name="connsiteX89" fmla="*/ 86973 w 247650"/>
                <a:gd name="connsiteY89" fmla="*/ 5812 h 123825"/>
                <a:gd name="connsiteX90" fmla="*/ 83284 w 247650"/>
                <a:gd name="connsiteY90" fmla="*/ 9507 h 123825"/>
                <a:gd name="connsiteX91" fmla="*/ 86973 w 247650"/>
                <a:gd name="connsiteY91" fmla="*/ 9507 h 123825"/>
                <a:gd name="connsiteX92" fmla="*/ 83284 w 247650"/>
                <a:gd name="connsiteY92" fmla="*/ 13194 h 123825"/>
                <a:gd name="connsiteX93" fmla="*/ 83284 w 247650"/>
                <a:gd name="connsiteY93" fmla="*/ 13194 h 123825"/>
                <a:gd name="connsiteX94" fmla="*/ 83284 w 247650"/>
                <a:gd name="connsiteY94" fmla="*/ 13194 h 123825"/>
                <a:gd name="connsiteX95" fmla="*/ 83284 w 247650"/>
                <a:gd name="connsiteY95" fmla="*/ 13194 h 123825"/>
                <a:gd name="connsiteX96" fmla="*/ 83284 w 247650"/>
                <a:gd name="connsiteY96" fmla="*/ 9507 h 123825"/>
                <a:gd name="connsiteX97" fmla="*/ 83284 w 247650"/>
                <a:gd name="connsiteY97" fmla="*/ 9507 h 123825"/>
                <a:gd name="connsiteX98" fmla="*/ 79595 w 247650"/>
                <a:gd name="connsiteY98" fmla="*/ 9507 h 123825"/>
                <a:gd name="connsiteX99" fmla="*/ 79595 w 247650"/>
                <a:gd name="connsiteY99" fmla="*/ 13194 h 123825"/>
                <a:gd name="connsiteX100" fmla="*/ 75906 w 247650"/>
                <a:gd name="connsiteY100" fmla="*/ 20575 h 123825"/>
                <a:gd name="connsiteX101" fmla="*/ 79595 w 247650"/>
                <a:gd name="connsiteY101" fmla="*/ 20575 h 123825"/>
                <a:gd name="connsiteX102" fmla="*/ 83284 w 247650"/>
                <a:gd name="connsiteY102" fmla="*/ 20575 h 123825"/>
                <a:gd name="connsiteX103" fmla="*/ 86973 w 247650"/>
                <a:gd name="connsiteY103" fmla="*/ 20575 h 123825"/>
                <a:gd name="connsiteX104" fmla="*/ 90663 w 247650"/>
                <a:gd name="connsiteY104" fmla="*/ 20575 h 123825"/>
                <a:gd name="connsiteX105" fmla="*/ 90663 w 247650"/>
                <a:gd name="connsiteY105" fmla="*/ 20575 h 123825"/>
                <a:gd name="connsiteX106" fmla="*/ 90663 w 247650"/>
                <a:gd name="connsiteY106" fmla="*/ 20575 h 123825"/>
                <a:gd name="connsiteX107" fmla="*/ 101730 w 247650"/>
                <a:gd name="connsiteY107" fmla="*/ 20575 h 123825"/>
                <a:gd name="connsiteX108" fmla="*/ 109108 w 247650"/>
                <a:gd name="connsiteY108" fmla="*/ 16889 h 123825"/>
                <a:gd name="connsiteX109" fmla="*/ 109108 w 247650"/>
                <a:gd name="connsiteY109" fmla="*/ 16889 h 123825"/>
                <a:gd name="connsiteX110" fmla="*/ 112798 w 247650"/>
                <a:gd name="connsiteY110" fmla="*/ 20575 h 123825"/>
                <a:gd name="connsiteX111" fmla="*/ 112798 w 247650"/>
                <a:gd name="connsiteY111" fmla="*/ 20575 h 123825"/>
                <a:gd name="connsiteX112" fmla="*/ 116487 w 247650"/>
                <a:gd name="connsiteY112" fmla="*/ 24271 h 123825"/>
                <a:gd name="connsiteX113" fmla="*/ 116487 w 247650"/>
                <a:gd name="connsiteY113" fmla="*/ 27957 h 123825"/>
                <a:gd name="connsiteX114" fmla="*/ 120176 w 247650"/>
                <a:gd name="connsiteY114" fmla="*/ 27957 h 123825"/>
                <a:gd name="connsiteX115" fmla="*/ 120176 w 247650"/>
                <a:gd name="connsiteY115" fmla="*/ 27957 h 123825"/>
                <a:gd name="connsiteX116" fmla="*/ 123865 w 247650"/>
                <a:gd name="connsiteY116" fmla="*/ 27957 h 123825"/>
                <a:gd name="connsiteX117" fmla="*/ 127554 w 247650"/>
                <a:gd name="connsiteY117" fmla="*/ 27957 h 123825"/>
                <a:gd name="connsiteX118" fmla="*/ 134932 w 247650"/>
                <a:gd name="connsiteY118" fmla="*/ 24271 h 123825"/>
                <a:gd name="connsiteX119" fmla="*/ 138622 w 247650"/>
                <a:gd name="connsiteY119" fmla="*/ 27957 h 123825"/>
                <a:gd name="connsiteX120" fmla="*/ 149690 w 247650"/>
                <a:gd name="connsiteY120" fmla="*/ 27957 h 123825"/>
                <a:gd name="connsiteX121" fmla="*/ 149690 w 247650"/>
                <a:gd name="connsiteY121" fmla="*/ 27957 h 123825"/>
                <a:gd name="connsiteX122" fmla="*/ 149690 w 247650"/>
                <a:gd name="connsiteY122" fmla="*/ 31643 h 123825"/>
                <a:gd name="connsiteX123" fmla="*/ 149690 w 247650"/>
                <a:gd name="connsiteY123" fmla="*/ 31643 h 123825"/>
                <a:gd name="connsiteX124" fmla="*/ 149690 w 247650"/>
                <a:gd name="connsiteY124" fmla="*/ 27957 h 123825"/>
                <a:gd name="connsiteX125" fmla="*/ 153379 w 247650"/>
                <a:gd name="connsiteY125" fmla="*/ 31643 h 123825"/>
                <a:gd name="connsiteX126" fmla="*/ 153379 w 247650"/>
                <a:gd name="connsiteY126" fmla="*/ 39025 h 123825"/>
                <a:gd name="connsiteX127" fmla="*/ 153379 w 247650"/>
                <a:gd name="connsiteY127" fmla="*/ 39025 h 123825"/>
                <a:gd name="connsiteX128" fmla="*/ 157068 w 247650"/>
                <a:gd name="connsiteY128" fmla="*/ 42721 h 123825"/>
                <a:gd name="connsiteX129" fmla="*/ 164447 w 247650"/>
                <a:gd name="connsiteY129" fmla="*/ 50103 h 123825"/>
                <a:gd name="connsiteX130" fmla="*/ 168136 w 247650"/>
                <a:gd name="connsiteY130" fmla="*/ 57485 h 123825"/>
                <a:gd name="connsiteX131" fmla="*/ 168136 w 247650"/>
                <a:gd name="connsiteY131" fmla="*/ 64867 h 123825"/>
                <a:gd name="connsiteX132" fmla="*/ 171825 w 247650"/>
                <a:gd name="connsiteY132" fmla="*/ 64867 h 123825"/>
                <a:gd name="connsiteX133" fmla="*/ 179203 w 247650"/>
                <a:gd name="connsiteY133" fmla="*/ 64867 h 123825"/>
                <a:gd name="connsiteX134" fmla="*/ 182893 w 247650"/>
                <a:gd name="connsiteY134" fmla="*/ 64867 h 123825"/>
                <a:gd name="connsiteX135" fmla="*/ 190271 w 247650"/>
                <a:gd name="connsiteY135" fmla="*/ 68553 h 123825"/>
                <a:gd name="connsiteX136" fmla="*/ 190271 w 247650"/>
                <a:gd name="connsiteY136" fmla="*/ 68553 h 123825"/>
                <a:gd name="connsiteX137" fmla="*/ 201338 w 247650"/>
                <a:gd name="connsiteY137" fmla="*/ 75935 h 123825"/>
                <a:gd name="connsiteX138" fmla="*/ 205028 w 247650"/>
                <a:gd name="connsiteY138" fmla="*/ 75935 h 123825"/>
                <a:gd name="connsiteX139" fmla="*/ 205028 w 247650"/>
                <a:gd name="connsiteY139" fmla="*/ 75935 h 123825"/>
                <a:gd name="connsiteX140" fmla="*/ 205028 w 247650"/>
                <a:gd name="connsiteY140" fmla="*/ 79621 h 123825"/>
                <a:gd name="connsiteX141" fmla="*/ 208717 w 247650"/>
                <a:gd name="connsiteY141" fmla="*/ 79621 h 123825"/>
                <a:gd name="connsiteX142" fmla="*/ 216095 w 247650"/>
                <a:gd name="connsiteY142" fmla="*/ 72248 h 123825"/>
                <a:gd name="connsiteX143" fmla="*/ 219784 w 247650"/>
                <a:gd name="connsiteY143" fmla="*/ 72248 h 123825"/>
                <a:gd name="connsiteX144" fmla="*/ 223473 w 247650"/>
                <a:gd name="connsiteY144" fmla="*/ 72248 h 123825"/>
                <a:gd name="connsiteX145" fmla="*/ 223473 w 247650"/>
                <a:gd name="connsiteY145" fmla="*/ 72248 h 123825"/>
                <a:gd name="connsiteX146" fmla="*/ 234541 w 247650"/>
                <a:gd name="connsiteY146" fmla="*/ 72248 h 123825"/>
                <a:gd name="connsiteX147" fmla="*/ 234541 w 247650"/>
                <a:gd name="connsiteY147" fmla="*/ 72248 h 123825"/>
                <a:gd name="connsiteX148" fmla="*/ 238230 w 247650"/>
                <a:gd name="connsiteY148" fmla="*/ 68553 h 123825"/>
                <a:gd name="connsiteX149" fmla="*/ 241919 w 247650"/>
                <a:gd name="connsiteY149" fmla="*/ 68553 h 123825"/>
                <a:gd name="connsiteX150" fmla="*/ 241919 w 247650"/>
                <a:gd name="connsiteY150" fmla="*/ 75935 h 123825"/>
                <a:gd name="connsiteX151" fmla="*/ 241919 w 247650"/>
                <a:gd name="connsiteY151" fmla="*/ 79621 h 123825"/>
                <a:gd name="connsiteX152" fmla="*/ 245608 w 247650"/>
                <a:gd name="connsiteY152" fmla="*/ 79621 h 123825"/>
                <a:gd name="connsiteX153" fmla="*/ 245608 w 247650"/>
                <a:gd name="connsiteY153" fmla="*/ 79621 h 123825"/>
                <a:gd name="connsiteX154" fmla="*/ 241919 w 247650"/>
                <a:gd name="connsiteY154" fmla="*/ 83317 h 123825"/>
                <a:gd name="connsiteX155" fmla="*/ 241919 w 247650"/>
                <a:gd name="connsiteY155" fmla="*/ 83317 h 123825"/>
                <a:gd name="connsiteX156" fmla="*/ 238230 w 247650"/>
                <a:gd name="connsiteY156" fmla="*/ 83317 h 123825"/>
                <a:gd name="connsiteX157" fmla="*/ 241919 w 247650"/>
                <a:gd name="connsiteY157" fmla="*/ 79621 h 123825"/>
                <a:gd name="connsiteX158" fmla="*/ 241919 w 247650"/>
                <a:gd name="connsiteY158" fmla="*/ 79621 h 123825"/>
                <a:gd name="connsiteX159" fmla="*/ 238230 w 247650"/>
                <a:gd name="connsiteY159" fmla="*/ 75935 h 123825"/>
                <a:gd name="connsiteX160" fmla="*/ 238230 w 247650"/>
                <a:gd name="connsiteY160" fmla="*/ 72248 h 123825"/>
                <a:gd name="connsiteX161" fmla="*/ 234541 w 247650"/>
                <a:gd name="connsiteY161" fmla="*/ 72248 h 123825"/>
                <a:gd name="connsiteX162" fmla="*/ 234541 w 247650"/>
                <a:gd name="connsiteY162" fmla="*/ 75935 h 123825"/>
                <a:gd name="connsiteX163" fmla="*/ 230852 w 247650"/>
                <a:gd name="connsiteY163" fmla="*/ 72248 h 123825"/>
                <a:gd name="connsiteX164" fmla="*/ 219784 w 247650"/>
                <a:gd name="connsiteY164" fmla="*/ 75935 h 123825"/>
                <a:gd name="connsiteX165" fmla="*/ 216095 w 247650"/>
                <a:gd name="connsiteY165" fmla="*/ 75935 h 123825"/>
                <a:gd name="connsiteX166" fmla="*/ 212406 w 247650"/>
                <a:gd name="connsiteY166" fmla="*/ 79621 h 123825"/>
                <a:gd name="connsiteX167" fmla="*/ 208717 w 247650"/>
                <a:gd name="connsiteY167" fmla="*/ 79621 h 123825"/>
                <a:gd name="connsiteX168" fmla="*/ 208717 w 247650"/>
                <a:gd name="connsiteY168" fmla="*/ 83317 h 123825"/>
                <a:gd name="connsiteX169" fmla="*/ 212406 w 247650"/>
                <a:gd name="connsiteY169" fmla="*/ 87003 h 123825"/>
                <a:gd name="connsiteX170" fmla="*/ 212406 w 247650"/>
                <a:gd name="connsiteY170" fmla="*/ 87003 h 123825"/>
                <a:gd name="connsiteX171" fmla="*/ 212406 w 247650"/>
                <a:gd name="connsiteY171" fmla="*/ 90698 h 123825"/>
                <a:gd name="connsiteX172" fmla="*/ 212406 w 247650"/>
                <a:gd name="connsiteY172" fmla="*/ 90698 h 123825"/>
                <a:gd name="connsiteX173" fmla="*/ 212406 w 247650"/>
                <a:gd name="connsiteY173" fmla="*/ 90698 h 123825"/>
                <a:gd name="connsiteX174" fmla="*/ 212406 w 247650"/>
                <a:gd name="connsiteY174" fmla="*/ 90698 h 123825"/>
                <a:gd name="connsiteX175" fmla="*/ 208717 w 247650"/>
                <a:gd name="connsiteY175" fmla="*/ 94385 h 123825"/>
                <a:gd name="connsiteX176" fmla="*/ 212406 w 247650"/>
                <a:gd name="connsiteY176" fmla="*/ 94385 h 123825"/>
                <a:gd name="connsiteX177" fmla="*/ 212406 w 247650"/>
                <a:gd name="connsiteY177" fmla="*/ 90698 h 123825"/>
                <a:gd name="connsiteX178" fmla="*/ 208717 w 247650"/>
                <a:gd name="connsiteY178" fmla="*/ 94385 h 123825"/>
                <a:gd name="connsiteX179" fmla="*/ 208717 w 247650"/>
                <a:gd name="connsiteY179" fmla="*/ 98080 h 123825"/>
                <a:gd name="connsiteX180" fmla="*/ 205028 w 247650"/>
                <a:gd name="connsiteY180" fmla="*/ 98080 h 123825"/>
                <a:gd name="connsiteX181" fmla="*/ 201338 w 247650"/>
                <a:gd name="connsiteY181" fmla="*/ 101766 h 123825"/>
                <a:gd name="connsiteX182" fmla="*/ 197649 w 247650"/>
                <a:gd name="connsiteY182" fmla="*/ 109148 h 123825"/>
                <a:gd name="connsiteX183" fmla="*/ 193960 w 247650"/>
                <a:gd name="connsiteY183" fmla="*/ 109148 h 123825"/>
                <a:gd name="connsiteX184" fmla="*/ 190271 w 247650"/>
                <a:gd name="connsiteY184" fmla="*/ 112844 h 123825"/>
                <a:gd name="connsiteX185" fmla="*/ 186582 w 247650"/>
                <a:gd name="connsiteY185" fmla="*/ 109148 h 123825"/>
                <a:gd name="connsiteX186" fmla="*/ 179203 w 247650"/>
                <a:gd name="connsiteY186" fmla="*/ 112844 h 123825"/>
                <a:gd name="connsiteX187" fmla="*/ 175514 w 247650"/>
                <a:gd name="connsiteY187" fmla="*/ 116530 h 123825"/>
                <a:gd name="connsiteX188" fmla="*/ 168136 w 247650"/>
                <a:gd name="connsiteY188" fmla="*/ 116530 h 123825"/>
                <a:gd name="connsiteX189" fmla="*/ 168136 w 247650"/>
                <a:gd name="connsiteY189" fmla="*/ 120226 h 123825"/>
                <a:gd name="connsiteX190" fmla="*/ 157068 w 247650"/>
                <a:gd name="connsiteY190" fmla="*/ 120226 h 123825"/>
                <a:gd name="connsiteX191" fmla="*/ 153379 w 247650"/>
                <a:gd name="connsiteY191" fmla="*/ 120226 h 123825"/>
                <a:gd name="connsiteX192" fmla="*/ 146000 w 247650"/>
                <a:gd name="connsiteY192" fmla="*/ 120226 h 123825"/>
                <a:gd name="connsiteX193" fmla="*/ 142311 w 247650"/>
                <a:gd name="connsiteY193" fmla="*/ 120226 h 123825"/>
                <a:gd name="connsiteX194" fmla="*/ 142311 w 247650"/>
                <a:gd name="connsiteY194" fmla="*/ 120226 h 123825"/>
                <a:gd name="connsiteX195" fmla="*/ 134932 w 247650"/>
                <a:gd name="connsiteY195" fmla="*/ 112844 h 123825"/>
                <a:gd name="connsiteX196" fmla="*/ 134932 w 247650"/>
                <a:gd name="connsiteY196" fmla="*/ 112844 h 123825"/>
                <a:gd name="connsiteX197" fmla="*/ 134932 w 247650"/>
                <a:gd name="connsiteY197" fmla="*/ 112844 h 123825"/>
                <a:gd name="connsiteX198" fmla="*/ 131243 w 247650"/>
                <a:gd name="connsiteY198" fmla="*/ 105462 h 123825"/>
                <a:gd name="connsiteX199" fmla="*/ 131243 w 247650"/>
                <a:gd name="connsiteY199" fmla="*/ 105462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247650" h="123825">
                  <a:moveTo>
                    <a:pt x="131243" y="105462"/>
                  </a:moveTo>
                  <a:lnTo>
                    <a:pt x="127554" y="109148"/>
                  </a:lnTo>
                  <a:lnTo>
                    <a:pt x="123865" y="109148"/>
                  </a:lnTo>
                  <a:lnTo>
                    <a:pt x="123865" y="109148"/>
                  </a:lnTo>
                  <a:lnTo>
                    <a:pt x="120176" y="109148"/>
                  </a:lnTo>
                  <a:lnTo>
                    <a:pt x="120176" y="109148"/>
                  </a:lnTo>
                  <a:lnTo>
                    <a:pt x="112798" y="105462"/>
                  </a:lnTo>
                  <a:lnTo>
                    <a:pt x="109108" y="105462"/>
                  </a:lnTo>
                  <a:lnTo>
                    <a:pt x="109108" y="105462"/>
                  </a:lnTo>
                  <a:lnTo>
                    <a:pt x="116487" y="101766"/>
                  </a:lnTo>
                  <a:lnTo>
                    <a:pt x="116487" y="98080"/>
                  </a:lnTo>
                  <a:lnTo>
                    <a:pt x="116487" y="101766"/>
                  </a:lnTo>
                  <a:lnTo>
                    <a:pt x="109108" y="105462"/>
                  </a:lnTo>
                  <a:lnTo>
                    <a:pt x="105419" y="105462"/>
                  </a:lnTo>
                  <a:lnTo>
                    <a:pt x="109108" y="98080"/>
                  </a:lnTo>
                  <a:lnTo>
                    <a:pt x="105419" y="94385"/>
                  </a:lnTo>
                  <a:lnTo>
                    <a:pt x="105419" y="87003"/>
                  </a:lnTo>
                  <a:lnTo>
                    <a:pt x="101730" y="87003"/>
                  </a:lnTo>
                  <a:lnTo>
                    <a:pt x="101730" y="83317"/>
                  </a:lnTo>
                  <a:lnTo>
                    <a:pt x="101730" y="79621"/>
                  </a:lnTo>
                  <a:lnTo>
                    <a:pt x="98041" y="72248"/>
                  </a:lnTo>
                  <a:lnTo>
                    <a:pt x="90663" y="68553"/>
                  </a:lnTo>
                  <a:lnTo>
                    <a:pt x="86973" y="72248"/>
                  </a:lnTo>
                  <a:lnTo>
                    <a:pt x="86973" y="68553"/>
                  </a:lnTo>
                  <a:lnTo>
                    <a:pt x="75906" y="64867"/>
                  </a:lnTo>
                  <a:lnTo>
                    <a:pt x="75906" y="64867"/>
                  </a:lnTo>
                  <a:lnTo>
                    <a:pt x="75906" y="64867"/>
                  </a:lnTo>
                  <a:lnTo>
                    <a:pt x="75906" y="61171"/>
                  </a:lnTo>
                  <a:lnTo>
                    <a:pt x="75906" y="61171"/>
                  </a:lnTo>
                  <a:lnTo>
                    <a:pt x="75906" y="57485"/>
                  </a:lnTo>
                  <a:lnTo>
                    <a:pt x="72217" y="53789"/>
                  </a:lnTo>
                  <a:lnTo>
                    <a:pt x="64838" y="53789"/>
                  </a:lnTo>
                  <a:lnTo>
                    <a:pt x="61149" y="53789"/>
                  </a:lnTo>
                  <a:lnTo>
                    <a:pt x="57460" y="57485"/>
                  </a:lnTo>
                  <a:lnTo>
                    <a:pt x="57460" y="61171"/>
                  </a:lnTo>
                  <a:lnTo>
                    <a:pt x="61149" y="61171"/>
                  </a:lnTo>
                  <a:lnTo>
                    <a:pt x="64838" y="57485"/>
                  </a:lnTo>
                  <a:lnTo>
                    <a:pt x="68528" y="61171"/>
                  </a:lnTo>
                  <a:lnTo>
                    <a:pt x="64838" y="57485"/>
                  </a:lnTo>
                  <a:lnTo>
                    <a:pt x="61149" y="61171"/>
                  </a:lnTo>
                  <a:lnTo>
                    <a:pt x="53771" y="61171"/>
                  </a:lnTo>
                  <a:lnTo>
                    <a:pt x="50082" y="68553"/>
                  </a:lnTo>
                  <a:lnTo>
                    <a:pt x="42704" y="72248"/>
                  </a:lnTo>
                  <a:lnTo>
                    <a:pt x="42704" y="72248"/>
                  </a:lnTo>
                  <a:lnTo>
                    <a:pt x="42704" y="72248"/>
                  </a:lnTo>
                  <a:lnTo>
                    <a:pt x="42704" y="72248"/>
                  </a:lnTo>
                  <a:lnTo>
                    <a:pt x="39014" y="72248"/>
                  </a:lnTo>
                  <a:lnTo>
                    <a:pt x="35325" y="72248"/>
                  </a:lnTo>
                  <a:lnTo>
                    <a:pt x="27947" y="75935"/>
                  </a:lnTo>
                  <a:lnTo>
                    <a:pt x="24258" y="79621"/>
                  </a:lnTo>
                  <a:lnTo>
                    <a:pt x="24258" y="87003"/>
                  </a:lnTo>
                  <a:lnTo>
                    <a:pt x="24258" y="87003"/>
                  </a:lnTo>
                  <a:lnTo>
                    <a:pt x="27947" y="87003"/>
                  </a:lnTo>
                  <a:lnTo>
                    <a:pt x="27947" y="90698"/>
                  </a:lnTo>
                  <a:lnTo>
                    <a:pt x="24258" y="90698"/>
                  </a:lnTo>
                  <a:lnTo>
                    <a:pt x="24258" y="90698"/>
                  </a:lnTo>
                  <a:lnTo>
                    <a:pt x="24258" y="90698"/>
                  </a:lnTo>
                  <a:lnTo>
                    <a:pt x="20569" y="87003"/>
                  </a:lnTo>
                  <a:lnTo>
                    <a:pt x="20569" y="87003"/>
                  </a:lnTo>
                  <a:lnTo>
                    <a:pt x="20569" y="87003"/>
                  </a:lnTo>
                  <a:lnTo>
                    <a:pt x="24258" y="87003"/>
                  </a:lnTo>
                  <a:lnTo>
                    <a:pt x="24258" y="87003"/>
                  </a:lnTo>
                  <a:lnTo>
                    <a:pt x="24258" y="79621"/>
                  </a:lnTo>
                  <a:lnTo>
                    <a:pt x="24258" y="79621"/>
                  </a:lnTo>
                  <a:lnTo>
                    <a:pt x="20569" y="75935"/>
                  </a:lnTo>
                  <a:lnTo>
                    <a:pt x="16879" y="75935"/>
                  </a:lnTo>
                  <a:lnTo>
                    <a:pt x="13190" y="75935"/>
                  </a:lnTo>
                  <a:lnTo>
                    <a:pt x="13190" y="72248"/>
                  </a:lnTo>
                  <a:lnTo>
                    <a:pt x="9501" y="68553"/>
                  </a:lnTo>
                  <a:lnTo>
                    <a:pt x="5812" y="61171"/>
                  </a:lnTo>
                  <a:lnTo>
                    <a:pt x="5812" y="53789"/>
                  </a:lnTo>
                  <a:lnTo>
                    <a:pt x="5812" y="46407"/>
                  </a:lnTo>
                  <a:lnTo>
                    <a:pt x="5812" y="42721"/>
                  </a:lnTo>
                  <a:lnTo>
                    <a:pt x="9501" y="35339"/>
                  </a:lnTo>
                  <a:lnTo>
                    <a:pt x="16879" y="27957"/>
                  </a:lnTo>
                  <a:lnTo>
                    <a:pt x="24258" y="24271"/>
                  </a:lnTo>
                  <a:lnTo>
                    <a:pt x="27947" y="24271"/>
                  </a:lnTo>
                  <a:lnTo>
                    <a:pt x="31636" y="24271"/>
                  </a:lnTo>
                  <a:lnTo>
                    <a:pt x="46393" y="20575"/>
                  </a:lnTo>
                  <a:lnTo>
                    <a:pt x="50082" y="16889"/>
                  </a:lnTo>
                  <a:lnTo>
                    <a:pt x="57460" y="16889"/>
                  </a:lnTo>
                  <a:lnTo>
                    <a:pt x="64838" y="16889"/>
                  </a:lnTo>
                  <a:lnTo>
                    <a:pt x="75906" y="20575"/>
                  </a:lnTo>
                  <a:lnTo>
                    <a:pt x="75906" y="16889"/>
                  </a:lnTo>
                  <a:lnTo>
                    <a:pt x="75906" y="16889"/>
                  </a:lnTo>
                  <a:lnTo>
                    <a:pt x="75906" y="13194"/>
                  </a:lnTo>
                  <a:lnTo>
                    <a:pt x="79595" y="9507"/>
                  </a:lnTo>
                  <a:lnTo>
                    <a:pt x="79595" y="5812"/>
                  </a:lnTo>
                  <a:lnTo>
                    <a:pt x="83284" y="5812"/>
                  </a:lnTo>
                  <a:lnTo>
                    <a:pt x="86973" y="5812"/>
                  </a:lnTo>
                  <a:lnTo>
                    <a:pt x="83284" y="9507"/>
                  </a:lnTo>
                  <a:lnTo>
                    <a:pt x="86973" y="9507"/>
                  </a:lnTo>
                  <a:lnTo>
                    <a:pt x="83284" y="13194"/>
                  </a:lnTo>
                  <a:lnTo>
                    <a:pt x="83284" y="13194"/>
                  </a:lnTo>
                  <a:lnTo>
                    <a:pt x="83284" y="13194"/>
                  </a:lnTo>
                  <a:lnTo>
                    <a:pt x="83284" y="13194"/>
                  </a:lnTo>
                  <a:lnTo>
                    <a:pt x="83284" y="9507"/>
                  </a:lnTo>
                  <a:lnTo>
                    <a:pt x="83284" y="9507"/>
                  </a:lnTo>
                  <a:lnTo>
                    <a:pt x="79595" y="9507"/>
                  </a:lnTo>
                  <a:lnTo>
                    <a:pt x="79595" y="13194"/>
                  </a:lnTo>
                  <a:lnTo>
                    <a:pt x="75906" y="20575"/>
                  </a:lnTo>
                  <a:lnTo>
                    <a:pt x="79595" y="20575"/>
                  </a:lnTo>
                  <a:lnTo>
                    <a:pt x="83284" y="20575"/>
                  </a:lnTo>
                  <a:lnTo>
                    <a:pt x="86973" y="20575"/>
                  </a:lnTo>
                  <a:lnTo>
                    <a:pt x="90663" y="20575"/>
                  </a:lnTo>
                  <a:lnTo>
                    <a:pt x="90663" y="20575"/>
                  </a:lnTo>
                  <a:lnTo>
                    <a:pt x="90663" y="20575"/>
                  </a:lnTo>
                  <a:lnTo>
                    <a:pt x="101730" y="20575"/>
                  </a:lnTo>
                  <a:lnTo>
                    <a:pt x="109108" y="16889"/>
                  </a:lnTo>
                  <a:lnTo>
                    <a:pt x="109108" y="16889"/>
                  </a:lnTo>
                  <a:lnTo>
                    <a:pt x="112798" y="20575"/>
                  </a:lnTo>
                  <a:lnTo>
                    <a:pt x="112798" y="20575"/>
                  </a:lnTo>
                  <a:lnTo>
                    <a:pt x="116487" y="24271"/>
                  </a:lnTo>
                  <a:lnTo>
                    <a:pt x="116487" y="27957"/>
                  </a:lnTo>
                  <a:lnTo>
                    <a:pt x="120176" y="27957"/>
                  </a:lnTo>
                  <a:lnTo>
                    <a:pt x="120176" y="27957"/>
                  </a:lnTo>
                  <a:lnTo>
                    <a:pt x="123865" y="27957"/>
                  </a:lnTo>
                  <a:lnTo>
                    <a:pt x="127554" y="27957"/>
                  </a:lnTo>
                  <a:lnTo>
                    <a:pt x="134932" y="24271"/>
                  </a:lnTo>
                  <a:lnTo>
                    <a:pt x="138622" y="27957"/>
                  </a:lnTo>
                  <a:lnTo>
                    <a:pt x="149690" y="27957"/>
                  </a:lnTo>
                  <a:lnTo>
                    <a:pt x="149690" y="27957"/>
                  </a:lnTo>
                  <a:lnTo>
                    <a:pt x="149690" y="31643"/>
                  </a:lnTo>
                  <a:lnTo>
                    <a:pt x="149690" y="31643"/>
                  </a:lnTo>
                  <a:lnTo>
                    <a:pt x="149690" y="27957"/>
                  </a:lnTo>
                  <a:lnTo>
                    <a:pt x="153379" y="31643"/>
                  </a:lnTo>
                  <a:lnTo>
                    <a:pt x="153379" y="39025"/>
                  </a:lnTo>
                  <a:lnTo>
                    <a:pt x="153379" y="39025"/>
                  </a:lnTo>
                  <a:lnTo>
                    <a:pt x="157068" y="42721"/>
                  </a:lnTo>
                  <a:lnTo>
                    <a:pt x="164447" y="50103"/>
                  </a:lnTo>
                  <a:lnTo>
                    <a:pt x="168136" y="57485"/>
                  </a:lnTo>
                  <a:lnTo>
                    <a:pt x="168136" y="64867"/>
                  </a:lnTo>
                  <a:lnTo>
                    <a:pt x="171825" y="64867"/>
                  </a:lnTo>
                  <a:lnTo>
                    <a:pt x="179203" y="64867"/>
                  </a:lnTo>
                  <a:lnTo>
                    <a:pt x="182893" y="64867"/>
                  </a:lnTo>
                  <a:lnTo>
                    <a:pt x="190271" y="68553"/>
                  </a:lnTo>
                  <a:lnTo>
                    <a:pt x="190271" y="68553"/>
                  </a:lnTo>
                  <a:lnTo>
                    <a:pt x="201338" y="75935"/>
                  </a:lnTo>
                  <a:lnTo>
                    <a:pt x="205028" y="75935"/>
                  </a:lnTo>
                  <a:lnTo>
                    <a:pt x="205028" y="75935"/>
                  </a:lnTo>
                  <a:lnTo>
                    <a:pt x="205028" y="79621"/>
                  </a:lnTo>
                  <a:lnTo>
                    <a:pt x="208717" y="79621"/>
                  </a:lnTo>
                  <a:lnTo>
                    <a:pt x="216095" y="72248"/>
                  </a:lnTo>
                  <a:lnTo>
                    <a:pt x="219784" y="72248"/>
                  </a:lnTo>
                  <a:lnTo>
                    <a:pt x="223473" y="72248"/>
                  </a:lnTo>
                  <a:lnTo>
                    <a:pt x="223473" y="72248"/>
                  </a:lnTo>
                  <a:lnTo>
                    <a:pt x="234541" y="72248"/>
                  </a:lnTo>
                  <a:lnTo>
                    <a:pt x="234541" y="72248"/>
                  </a:lnTo>
                  <a:lnTo>
                    <a:pt x="238230" y="68553"/>
                  </a:lnTo>
                  <a:lnTo>
                    <a:pt x="241919" y="68553"/>
                  </a:lnTo>
                  <a:lnTo>
                    <a:pt x="241919" y="75935"/>
                  </a:lnTo>
                  <a:lnTo>
                    <a:pt x="241919" y="79621"/>
                  </a:lnTo>
                  <a:lnTo>
                    <a:pt x="245608" y="79621"/>
                  </a:lnTo>
                  <a:lnTo>
                    <a:pt x="245608" y="79621"/>
                  </a:lnTo>
                  <a:lnTo>
                    <a:pt x="241919" y="83317"/>
                  </a:lnTo>
                  <a:lnTo>
                    <a:pt x="241919" y="83317"/>
                  </a:lnTo>
                  <a:lnTo>
                    <a:pt x="238230" y="83317"/>
                  </a:lnTo>
                  <a:lnTo>
                    <a:pt x="241919" y="79621"/>
                  </a:lnTo>
                  <a:lnTo>
                    <a:pt x="241919" y="79621"/>
                  </a:lnTo>
                  <a:lnTo>
                    <a:pt x="238230" y="75935"/>
                  </a:lnTo>
                  <a:lnTo>
                    <a:pt x="238230" y="72248"/>
                  </a:lnTo>
                  <a:lnTo>
                    <a:pt x="234541" y="72248"/>
                  </a:lnTo>
                  <a:lnTo>
                    <a:pt x="234541" y="75935"/>
                  </a:lnTo>
                  <a:lnTo>
                    <a:pt x="230852" y="72248"/>
                  </a:lnTo>
                  <a:lnTo>
                    <a:pt x="219784" y="75935"/>
                  </a:lnTo>
                  <a:lnTo>
                    <a:pt x="216095" y="75935"/>
                  </a:lnTo>
                  <a:lnTo>
                    <a:pt x="212406" y="79621"/>
                  </a:lnTo>
                  <a:lnTo>
                    <a:pt x="208717" y="79621"/>
                  </a:lnTo>
                  <a:lnTo>
                    <a:pt x="208717" y="83317"/>
                  </a:lnTo>
                  <a:lnTo>
                    <a:pt x="212406" y="87003"/>
                  </a:lnTo>
                  <a:lnTo>
                    <a:pt x="212406" y="87003"/>
                  </a:lnTo>
                  <a:lnTo>
                    <a:pt x="212406" y="90698"/>
                  </a:lnTo>
                  <a:lnTo>
                    <a:pt x="212406" y="90698"/>
                  </a:lnTo>
                  <a:lnTo>
                    <a:pt x="212406" y="90698"/>
                  </a:lnTo>
                  <a:lnTo>
                    <a:pt x="212406" y="90698"/>
                  </a:lnTo>
                  <a:lnTo>
                    <a:pt x="208717" y="94385"/>
                  </a:lnTo>
                  <a:lnTo>
                    <a:pt x="212406" y="94385"/>
                  </a:lnTo>
                  <a:lnTo>
                    <a:pt x="212406" y="90698"/>
                  </a:lnTo>
                  <a:lnTo>
                    <a:pt x="208717" y="94385"/>
                  </a:lnTo>
                  <a:lnTo>
                    <a:pt x="208717" y="98080"/>
                  </a:lnTo>
                  <a:lnTo>
                    <a:pt x="205028" y="98080"/>
                  </a:lnTo>
                  <a:lnTo>
                    <a:pt x="201338" y="101766"/>
                  </a:lnTo>
                  <a:lnTo>
                    <a:pt x="197649" y="109148"/>
                  </a:lnTo>
                  <a:lnTo>
                    <a:pt x="193960" y="109148"/>
                  </a:lnTo>
                  <a:lnTo>
                    <a:pt x="190271" y="112844"/>
                  </a:lnTo>
                  <a:lnTo>
                    <a:pt x="186582" y="109148"/>
                  </a:lnTo>
                  <a:lnTo>
                    <a:pt x="179203" y="112844"/>
                  </a:lnTo>
                  <a:lnTo>
                    <a:pt x="175514" y="116530"/>
                  </a:lnTo>
                  <a:lnTo>
                    <a:pt x="168136" y="116530"/>
                  </a:lnTo>
                  <a:lnTo>
                    <a:pt x="168136" y="120226"/>
                  </a:lnTo>
                  <a:lnTo>
                    <a:pt x="157068" y="120226"/>
                  </a:lnTo>
                  <a:lnTo>
                    <a:pt x="153379" y="120226"/>
                  </a:lnTo>
                  <a:lnTo>
                    <a:pt x="146000" y="120226"/>
                  </a:lnTo>
                  <a:lnTo>
                    <a:pt x="142311" y="120226"/>
                  </a:lnTo>
                  <a:lnTo>
                    <a:pt x="142311" y="120226"/>
                  </a:lnTo>
                  <a:lnTo>
                    <a:pt x="134932" y="112844"/>
                  </a:lnTo>
                  <a:lnTo>
                    <a:pt x="134932" y="112844"/>
                  </a:lnTo>
                  <a:lnTo>
                    <a:pt x="134932" y="112844"/>
                  </a:lnTo>
                  <a:lnTo>
                    <a:pt x="131243" y="105462"/>
                  </a:lnTo>
                  <a:lnTo>
                    <a:pt x="131243" y="105462"/>
                  </a:lnTo>
                  <a:close/>
                </a:path>
              </a:pathLst>
            </a:custGeom>
            <a:solidFill>
              <a:srgbClr val="EC6224"/>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67" name="Freeform: Shape 266">
              <a:extLst>
                <a:ext uri="{FF2B5EF4-FFF2-40B4-BE49-F238E27FC236}">
                  <a16:creationId xmlns:a16="http://schemas.microsoft.com/office/drawing/2014/main" id="{58748D0F-1B50-4BB3-88CD-F8864034A729}"/>
                </a:ext>
              </a:extLst>
            </p:cNvPr>
            <p:cNvSpPr/>
            <p:nvPr/>
          </p:nvSpPr>
          <p:spPr>
            <a:xfrm>
              <a:off x="4763543" y="3991730"/>
              <a:ext cx="937734" cy="814751"/>
            </a:xfrm>
            <a:custGeom>
              <a:avLst/>
              <a:gdLst>
                <a:gd name="connsiteX0" fmla="*/ 260365 w 581025"/>
                <a:gd name="connsiteY0" fmla="*/ 5812 h 504825"/>
                <a:gd name="connsiteX1" fmla="*/ 238230 w 581025"/>
                <a:gd name="connsiteY1" fmla="*/ 53789 h 504825"/>
                <a:gd name="connsiteX2" fmla="*/ 230852 w 581025"/>
                <a:gd name="connsiteY2" fmla="*/ 64867 h 504825"/>
                <a:gd name="connsiteX3" fmla="*/ 227163 w 581025"/>
                <a:gd name="connsiteY3" fmla="*/ 72248 h 504825"/>
                <a:gd name="connsiteX4" fmla="*/ 216096 w 581025"/>
                <a:gd name="connsiteY4" fmla="*/ 90698 h 504825"/>
                <a:gd name="connsiteX5" fmla="*/ 212406 w 581025"/>
                <a:gd name="connsiteY5" fmla="*/ 94385 h 504825"/>
                <a:gd name="connsiteX6" fmla="*/ 212406 w 581025"/>
                <a:gd name="connsiteY6" fmla="*/ 98080 h 504825"/>
                <a:gd name="connsiteX7" fmla="*/ 205028 w 581025"/>
                <a:gd name="connsiteY7" fmla="*/ 109148 h 504825"/>
                <a:gd name="connsiteX8" fmla="*/ 201339 w 581025"/>
                <a:gd name="connsiteY8" fmla="*/ 116530 h 504825"/>
                <a:gd name="connsiteX9" fmla="*/ 190271 w 581025"/>
                <a:gd name="connsiteY9" fmla="*/ 131294 h 504825"/>
                <a:gd name="connsiteX10" fmla="*/ 168136 w 581025"/>
                <a:gd name="connsiteY10" fmla="*/ 160821 h 504825"/>
                <a:gd name="connsiteX11" fmla="*/ 157069 w 581025"/>
                <a:gd name="connsiteY11" fmla="*/ 168203 h 504825"/>
                <a:gd name="connsiteX12" fmla="*/ 157069 w 581025"/>
                <a:gd name="connsiteY12" fmla="*/ 171889 h 504825"/>
                <a:gd name="connsiteX13" fmla="*/ 149690 w 581025"/>
                <a:gd name="connsiteY13" fmla="*/ 179271 h 504825"/>
                <a:gd name="connsiteX14" fmla="*/ 146001 w 581025"/>
                <a:gd name="connsiteY14" fmla="*/ 179271 h 504825"/>
                <a:gd name="connsiteX15" fmla="*/ 146001 w 581025"/>
                <a:gd name="connsiteY15" fmla="*/ 182967 h 504825"/>
                <a:gd name="connsiteX16" fmla="*/ 146001 w 581025"/>
                <a:gd name="connsiteY16" fmla="*/ 186653 h 504825"/>
                <a:gd name="connsiteX17" fmla="*/ 149690 w 581025"/>
                <a:gd name="connsiteY17" fmla="*/ 186653 h 504825"/>
                <a:gd name="connsiteX18" fmla="*/ 146001 w 581025"/>
                <a:gd name="connsiteY18" fmla="*/ 190339 h 504825"/>
                <a:gd name="connsiteX19" fmla="*/ 146001 w 581025"/>
                <a:gd name="connsiteY19" fmla="*/ 186653 h 504825"/>
                <a:gd name="connsiteX20" fmla="*/ 142311 w 581025"/>
                <a:gd name="connsiteY20" fmla="*/ 186653 h 504825"/>
                <a:gd name="connsiteX21" fmla="*/ 138622 w 581025"/>
                <a:gd name="connsiteY21" fmla="*/ 190339 h 504825"/>
                <a:gd name="connsiteX22" fmla="*/ 134933 w 581025"/>
                <a:gd name="connsiteY22" fmla="*/ 197721 h 504825"/>
                <a:gd name="connsiteX23" fmla="*/ 131244 w 581025"/>
                <a:gd name="connsiteY23" fmla="*/ 201417 h 504825"/>
                <a:gd name="connsiteX24" fmla="*/ 120176 w 581025"/>
                <a:gd name="connsiteY24" fmla="*/ 212485 h 504825"/>
                <a:gd name="connsiteX25" fmla="*/ 112798 w 581025"/>
                <a:gd name="connsiteY25" fmla="*/ 219867 h 504825"/>
                <a:gd name="connsiteX26" fmla="*/ 101731 w 581025"/>
                <a:gd name="connsiteY26" fmla="*/ 234631 h 504825"/>
                <a:gd name="connsiteX27" fmla="*/ 98041 w 581025"/>
                <a:gd name="connsiteY27" fmla="*/ 238317 h 504825"/>
                <a:gd name="connsiteX28" fmla="*/ 90663 w 581025"/>
                <a:gd name="connsiteY28" fmla="*/ 245699 h 504825"/>
                <a:gd name="connsiteX29" fmla="*/ 86974 w 581025"/>
                <a:gd name="connsiteY29" fmla="*/ 249394 h 504825"/>
                <a:gd name="connsiteX30" fmla="*/ 86974 w 581025"/>
                <a:gd name="connsiteY30" fmla="*/ 253081 h 504825"/>
                <a:gd name="connsiteX31" fmla="*/ 79596 w 581025"/>
                <a:gd name="connsiteY31" fmla="*/ 264158 h 504825"/>
                <a:gd name="connsiteX32" fmla="*/ 72217 w 581025"/>
                <a:gd name="connsiteY32" fmla="*/ 267844 h 504825"/>
                <a:gd name="connsiteX33" fmla="*/ 64839 w 581025"/>
                <a:gd name="connsiteY33" fmla="*/ 275226 h 504825"/>
                <a:gd name="connsiteX34" fmla="*/ 61150 w 581025"/>
                <a:gd name="connsiteY34" fmla="*/ 275226 h 504825"/>
                <a:gd name="connsiteX35" fmla="*/ 57461 w 581025"/>
                <a:gd name="connsiteY35" fmla="*/ 271540 h 504825"/>
                <a:gd name="connsiteX36" fmla="*/ 39015 w 581025"/>
                <a:gd name="connsiteY36" fmla="*/ 267844 h 504825"/>
                <a:gd name="connsiteX37" fmla="*/ 35326 w 581025"/>
                <a:gd name="connsiteY37" fmla="*/ 271540 h 504825"/>
                <a:gd name="connsiteX38" fmla="*/ 31637 w 581025"/>
                <a:gd name="connsiteY38" fmla="*/ 271540 h 504825"/>
                <a:gd name="connsiteX39" fmla="*/ 27947 w 581025"/>
                <a:gd name="connsiteY39" fmla="*/ 271540 h 504825"/>
                <a:gd name="connsiteX40" fmla="*/ 24258 w 581025"/>
                <a:gd name="connsiteY40" fmla="*/ 275226 h 504825"/>
                <a:gd name="connsiteX41" fmla="*/ 24258 w 581025"/>
                <a:gd name="connsiteY41" fmla="*/ 278922 h 504825"/>
                <a:gd name="connsiteX42" fmla="*/ 20569 w 581025"/>
                <a:gd name="connsiteY42" fmla="*/ 282608 h 504825"/>
                <a:gd name="connsiteX43" fmla="*/ 16880 w 581025"/>
                <a:gd name="connsiteY43" fmla="*/ 289990 h 504825"/>
                <a:gd name="connsiteX44" fmla="*/ 20569 w 581025"/>
                <a:gd name="connsiteY44" fmla="*/ 293676 h 504825"/>
                <a:gd name="connsiteX45" fmla="*/ 24258 w 581025"/>
                <a:gd name="connsiteY45" fmla="*/ 297372 h 504825"/>
                <a:gd name="connsiteX46" fmla="*/ 24258 w 581025"/>
                <a:gd name="connsiteY46" fmla="*/ 301058 h 504825"/>
                <a:gd name="connsiteX47" fmla="*/ 16880 w 581025"/>
                <a:gd name="connsiteY47" fmla="*/ 308440 h 504825"/>
                <a:gd name="connsiteX48" fmla="*/ 13191 w 581025"/>
                <a:gd name="connsiteY48" fmla="*/ 315822 h 504825"/>
                <a:gd name="connsiteX49" fmla="*/ 5812 w 581025"/>
                <a:gd name="connsiteY49" fmla="*/ 326899 h 504825"/>
                <a:gd name="connsiteX50" fmla="*/ 9502 w 581025"/>
                <a:gd name="connsiteY50" fmla="*/ 326899 h 504825"/>
                <a:gd name="connsiteX51" fmla="*/ 13191 w 581025"/>
                <a:gd name="connsiteY51" fmla="*/ 326899 h 504825"/>
                <a:gd name="connsiteX52" fmla="*/ 16880 w 581025"/>
                <a:gd name="connsiteY52" fmla="*/ 330585 h 504825"/>
                <a:gd name="connsiteX53" fmla="*/ 20569 w 581025"/>
                <a:gd name="connsiteY53" fmla="*/ 326899 h 504825"/>
                <a:gd name="connsiteX54" fmla="*/ 35326 w 581025"/>
                <a:gd name="connsiteY54" fmla="*/ 323204 h 504825"/>
                <a:gd name="connsiteX55" fmla="*/ 39015 w 581025"/>
                <a:gd name="connsiteY55" fmla="*/ 323204 h 504825"/>
                <a:gd name="connsiteX56" fmla="*/ 42704 w 581025"/>
                <a:gd name="connsiteY56" fmla="*/ 330585 h 504825"/>
                <a:gd name="connsiteX57" fmla="*/ 39015 w 581025"/>
                <a:gd name="connsiteY57" fmla="*/ 330585 h 504825"/>
                <a:gd name="connsiteX58" fmla="*/ 39015 w 581025"/>
                <a:gd name="connsiteY58" fmla="*/ 334272 h 504825"/>
                <a:gd name="connsiteX59" fmla="*/ 31637 w 581025"/>
                <a:gd name="connsiteY59" fmla="*/ 341654 h 504825"/>
                <a:gd name="connsiteX60" fmla="*/ 31637 w 581025"/>
                <a:gd name="connsiteY60" fmla="*/ 345349 h 504825"/>
                <a:gd name="connsiteX61" fmla="*/ 27947 w 581025"/>
                <a:gd name="connsiteY61" fmla="*/ 349035 h 504825"/>
                <a:gd name="connsiteX62" fmla="*/ 27947 w 581025"/>
                <a:gd name="connsiteY62" fmla="*/ 352731 h 504825"/>
                <a:gd name="connsiteX63" fmla="*/ 31637 w 581025"/>
                <a:gd name="connsiteY63" fmla="*/ 356417 h 504825"/>
                <a:gd name="connsiteX64" fmla="*/ 46393 w 581025"/>
                <a:gd name="connsiteY64" fmla="*/ 378563 h 504825"/>
                <a:gd name="connsiteX65" fmla="*/ 46393 w 581025"/>
                <a:gd name="connsiteY65" fmla="*/ 382249 h 504825"/>
                <a:gd name="connsiteX66" fmla="*/ 46393 w 581025"/>
                <a:gd name="connsiteY66" fmla="*/ 385945 h 504825"/>
                <a:gd name="connsiteX67" fmla="*/ 42704 w 581025"/>
                <a:gd name="connsiteY67" fmla="*/ 389631 h 504825"/>
                <a:gd name="connsiteX68" fmla="*/ 50082 w 581025"/>
                <a:gd name="connsiteY68" fmla="*/ 385945 h 504825"/>
                <a:gd name="connsiteX69" fmla="*/ 53772 w 581025"/>
                <a:gd name="connsiteY69" fmla="*/ 389631 h 504825"/>
                <a:gd name="connsiteX70" fmla="*/ 57461 w 581025"/>
                <a:gd name="connsiteY70" fmla="*/ 393327 h 504825"/>
                <a:gd name="connsiteX71" fmla="*/ 61150 w 581025"/>
                <a:gd name="connsiteY71" fmla="*/ 397013 h 504825"/>
                <a:gd name="connsiteX72" fmla="*/ 61150 w 581025"/>
                <a:gd name="connsiteY72" fmla="*/ 400709 h 504825"/>
                <a:gd name="connsiteX73" fmla="*/ 64839 w 581025"/>
                <a:gd name="connsiteY73" fmla="*/ 400709 h 504825"/>
                <a:gd name="connsiteX74" fmla="*/ 68528 w 581025"/>
                <a:gd name="connsiteY74" fmla="*/ 400709 h 504825"/>
                <a:gd name="connsiteX75" fmla="*/ 72217 w 581025"/>
                <a:gd name="connsiteY75" fmla="*/ 400709 h 504825"/>
                <a:gd name="connsiteX76" fmla="*/ 75906 w 581025"/>
                <a:gd name="connsiteY76" fmla="*/ 400709 h 504825"/>
                <a:gd name="connsiteX77" fmla="*/ 72217 w 581025"/>
                <a:gd name="connsiteY77" fmla="*/ 404395 h 504825"/>
                <a:gd name="connsiteX78" fmla="*/ 75906 w 581025"/>
                <a:gd name="connsiteY78" fmla="*/ 408090 h 504825"/>
                <a:gd name="connsiteX79" fmla="*/ 79596 w 581025"/>
                <a:gd name="connsiteY79" fmla="*/ 408090 h 504825"/>
                <a:gd name="connsiteX80" fmla="*/ 79596 w 581025"/>
                <a:gd name="connsiteY80" fmla="*/ 404395 h 504825"/>
                <a:gd name="connsiteX81" fmla="*/ 83285 w 581025"/>
                <a:gd name="connsiteY81" fmla="*/ 404395 h 504825"/>
                <a:gd name="connsiteX82" fmla="*/ 86974 w 581025"/>
                <a:gd name="connsiteY82" fmla="*/ 404395 h 504825"/>
                <a:gd name="connsiteX83" fmla="*/ 90663 w 581025"/>
                <a:gd name="connsiteY83" fmla="*/ 404395 h 504825"/>
                <a:gd name="connsiteX84" fmla="*/ 94352 w 581025"/>
                <a:gd name="connsiteY84" fmla="*/ 408090 h 504825"/>
                <a:gd name="connsiteX85" fmla="*/ 101731 w 581025"/>
                <a:gd name="connsiteY85" fmla="*/ 419158 h 504825"/>
                <a:gd name="connsiteX86" fmla="*/ 105420 w 581025"/>
                <a:gd name="connsiteY86" fmla="*/ 419158 h 504825"/>
                <a:gd name="connsiteX87" fmla="*/ 109109 w 581025"/>
                <a:gd name="connsiteY87" fmla="*/ 419158 h 504825"/>
                <a:gd name="connsiteX88" fmla="*/ 112798 w 581025"/>
                <a:gd name="connsiteY88" fmla="*/ 419158 h 504825"/>
                <a:gd name="connsiteX89" fmla="*/ 112798 w 581025"/>
                <a:gd name="connsiteY89" fmla="*/ 422854 h 504825"/>
                <a:gd name="connsiteX90" fmla="*/ 120176 w 581025"/>
                <a:gd name="connsiteY90" fmla="*/ 422854 h 504825"/>
                <a:gd name="connsiteX91" fmla="*/ 123866 w 581025"/>
                <a:gd name="connsiteY91" fmla="*/ 430227 h 504825"/>
                <a:gd name="connsiteX92" fmla="*/ 127555 w 581025"/>
                <a:gd name="connsiteY92" fmla="*/ 433922 h 504825"/>
                <a:gd name="connsiteX93" fmla="*/ 131244 w 581025"/>
                <a:gd name="connsiteY93" fmla="*/ 433922 h 504825"/>
                <a:gd name="connsiteX94" fmla="*/ 134933 w 581025"/>
                <a:gd name="connsiteY94" fmla="*/ 433922 h 504825"/>
                <a:gd name="connsiteX95" fmla="*/ 131244 w 581025"/>
                <a:gd name="connsiteY95" fmla="*/ 437608 h 504825"/>
                <a:gd name="connsiteX96" fmla="*/ 127555 w 581025"/>
                <a:gd name="connsiteY96" fmla="*/ 437608 h 504825"/>
                <a:gd name="connsiteX97" fmla="*/ 131244 w 581025"/>
                <a:gd name="connsiteY97" fmla="*/ 444990 h 504825"/>
                <a:gd name="connsiteX98" fmla="*/ 134933 w 581025"/>
                <a:gd name="connsiteY98" fmla="*/ 448686 h 504825"/>
                <a:gd name="connsiteX99" fmla="*/ 146001 w 581025"/>
                <a:gd name="connsiteY99" fmla="*/ 452372 h 504825"/>
                <a:gd name="connsiteX100" fmla="*/ 146001 w 581025"/>
                <a:gd name="connsiteY100" fmla="*/ 456068 h 504825"/>
                <a:gd name="connsiteX101" fmla="*/ 153380 w 581025"/>
                <a:gd name="connsiteY101" fmla="*/ 456068 h 504825"/>
                <a:gd name="connsiteX102" fmla="*/ 160758 w 581025"/>
                <a:gd name="connsiteY102" fmla="*/ 459754 h 504825"/>
                <a:gd name="connsiteX103" fmla="*/ 168136 w 581025"/>
                <a:gd name="connsiteY103" fmla="*/ 459754 h 504825"/>
                <a:gd name="connsiteX104" fmla="*/ 168136 w 581025"/>
                <a:gd name="connsiteY104" fmla="*/ 463450 h 504825"/>
                <a:gd name="connsiteX105" fmla="*/ 182893 w 581025"/>
                <a:gd name="connsiteY105" fmla="*/ 467136 h 504825"/>
                <a:gd name="connsiteX106" fmla="*/ 190271 w 581025"/>
                <a:gd name="connsiteY106" fmla="*/ 474518 h 504825"/>
                <a:gd name="connsiteX107" fmla="*/ 193961 w 581025"/>
                <a:gd name="connsiteY107" fmla="*/ 474518 h 504825"/>
                <a:gd name="connsiteX108" fmla="*/ 201339 w 581025"/>
                <a:gd name="connsiteY108" fmla="*/ 478204 h 504825"/>
                <a:gd name="connsiteX109" fmla="*/ 212406 w 581025"/>
                <a:gd name="connsiteY109" fmla="*/ 485586 h 504825"/>
                <a:gd name="connsiteX110" fmla="*/ 216096 w 581025"/>
                <a:gd name="connsiteY110" fmla="*/ 485586 h 504825"/>
                <a:gd name="connsiteX111" fmla="*/ 219785 w 581025"/>
                <a:gd name="connsiteY111" fmla="*/ 489281 h 504825"/>
                <a:gd name="connsiteX112" fmla="*/ 227163 w 581025"/>
                <a:gd name="connsiteY112" fmla="*/ 489281 h 504825"/>
                <a:gd name="connsiteX113" fmla="*/ 227163 w 581025"/>
                <a:gd name="connsiteY113" fmla="*/ 492968 h 504825"/>
                <a:gd name="connsiteX114" fmla="*/ 241920 w 581025"/>
                <a:gd name="connsiteY114" fmla="*/ 492968 h 504825"/>
                <a:gd name="connsiteX115" fmla="*/ 245609 w 581025"/>
                <a:gd name="connsiteY115" fmla="*/ 492968 h 504825"/>
                <a:gd name="connsiteX116" fmla="*/ 252987 w 581025"/>
                <a:gd name="connsiteY116" fmla="*/ 496663 h 504825"/>
                <a:gd name="connsiteX117" fmla="*/ 256676 w 581025"/>
                <a:gd name="connsiteY117" fmla="*/ 496663 h 504825"/>
                <a:gd name="connsiteX118" fmla="*/ 260365 w 581025"/>
                <a:gd name="connsiteY118" fmla="*/ 496663 h 504825"/>
                <a:gd name="connsiteX119" fmla="*/ 264055 w 581025"/>
                <a:gd name="connsiteY119" fmla="*/ 500350 h 504825"/>
                <a:gd name="connsiteX120" fmla="*/ 267744 w 581025"/>
                <a:gd name="connsiteY120" fmla="*/ 500350 h 504825"/>
                <a:gd name="connsiteX121" fmla="*/ 271433 w 581025"/>
                <a:gd name="connsiteY121" fmla="*/ 504045 h 504825"/>
                <a:gd name="connsiteX122" fmla="*/ 275122 w 581025"/>
                <a:gd name="connsiteY122" fmla="*/ 504045 h 504825"/>
                <a:gd name="connsiteX123" fmla="*/ 282500 w 581025"/>
                <a:gd name="connsiteY123" fmla="*/ 500350 h 504825"/>
                <a:gd name="connsiteX124" fmla="*/ 286190 w 581025"/>
                <a:gd name="connsiteY124" fmla="*/ 500350 h 504825"/>
                <a:gd name="connsiteX125" fmla="*/ 297258 w 581025"/>
                <a:gd name="connsiteY125" fmla="*/ 496663 h 504825"/>
                <a:gd name="connsiteX126" fmla="*/ 300947 w 581025"/>
                <a:gd name="connsiteY126" fmla="*/ 496663 h 504825"/>
                <a:gd name="connsiteX127" fmla="*/ 304636 w 581025"/>
                <a:gd name="connsiteY127" fmla="*/ 492968 h 504825"/>
                <a:gd name="connsiteX128" fmla="*/ 312015 w 581025"/>
                <a:gd name="connsiteY128" fmla="*/ 492968 h 504825"/>
                <a:gd name="connsiteX129" fmla="*/ 315704 w 581025"/>
                <a:gd name="connsiteY129" fmla="*/ 485586 h 504825"/>
                <a:gd name="connsiteX130" fmla="*/ 319393 w 581025"/>
                <a:gd name="connsiteY130" fmla="*/ 489281 h 504825"/>
                <a:gd name="connsiteX131" fmla="*/ 323082 w 581025"/>
                <a:gd name="connsiteY131" fmla="*/ 489281 h 504825"/>
                <a:gd name="connsiteX132" fmla="*/ 330460 w 581025"/>
                <a:gd name="connsiteY132" fmla="*/ 485586 h 504825"/>
                <a:gd name="connsiteX133" fmla="*/ 330460 w 581025"/>
                <a:gd name="connsiteY133" fmla="*/ 489281 h 504825"/>
                <a:gd name="connsiteX134" fmla="*/ 345217 w 581025"/>
                <a:gd name="connsiteY134" fmla="*/ 485586 h 504825"/>
                <a:gd name="connsiteX135" fmla="*/ 348906 w 581025"/>
                <a:gd name="connsiteY135" fmla="*/ 481900 h 504825"/>
                <a:gd name="connsiteX136" fmla="*/ 352595 w 581025"/>
                <a:gd name="connsiteY136" fmla="*/ 478204 h 504825"/>
                <a:gd name="connsiteX137" fmla="*/ 359974 w 581025"/>
                <a:gd name="connsiteY137" fmla="*/ 474518 h 504825"/>
                <a:gd name="connsiteX138" fmla="*/ 371041 w 581025"/>
                <a:gd name="connsiteY138" fmla="*/ 467136 h 504825"/>
                <a:gd name="connsiteX139" fmla="*/ 374730 w 581025"/>
                <a:gd name="connsiteY139" fmla="*/ 459754 h 504825"/>
                <a:gd name="connsiteX140" fmla="*/ 378420 w 581025"/>
                <a:gd name="connsiteY140" fmla="*/ 456068 h 504825"/>
                <a:gd name="connsiteX141" fmla="*/ 382109 w 581025"/>
                <a:gd name="connsiteY141" fmla="*/ 444990 h 504825"/>
                <a:gd name="connsiteX142" fmla="*/ 385798 w 581025"/>
                <a:gd name="connsiteY142" fmla="*/ 441304 h 504825"/>
                <a:gd name="connsiteX143" fmla="*/ 389487 w 581025"/>
                <a:gd name="connsiteY143" fmla="*/ 437608 h 504825"/>
                <a:gd name="connsiteX144" fmla="*/ 389487 w 581025"/>
                <a:gd name="connsiteY144" fmla="*/ 433922 h 504825"/>
                <a:gd name="connsiteX145" fmla="*/ 393176 w 581025"/>
                <a:gd name="connsiteY145" fmla="*/ 430227 h 504825"/>
                <a:gd name="connsiteX146" fmla="*/ 396865 w 581025"/>
                <a:gd name="connsiteY146" fmla="*/ 430227 h 504825"/>
                <a:gd name="connsiteX147" fmla="*/ 404244 w 581025"/>
                <a:gd name="connsiteY147" fmla="*/ 426540 h 504825"/>
                <a:gd name="connsiteX148" fmla="*/ 411622 w 581025"/>
                <a:gd name="connsiteY148" fmla="*/ 426540 h 504825"/>
                <a:gd name="connsiteX149" fmla="*/ 419000 w 581025"/>
                <a:gd name="connsiteY149" fmla="*/ 426540 h 504825"/>
                <a:gd name="connsiteX150" fmla="*/ 426379 w 581025"/>
                <a:gd name="connsiteY150" fmla="*/ 426540 h 504825"/>
                <a:gd name="connsiteX151" fmla="*/ 430068 w 581025"/>
                <a:gd name="connsiteY151" fmla="*/ 426540 h 504825"/>
                <a:gd name="connsiteX152" fmla="*/ 437446 w 581025"/>
                <a:gd name="connsiteY152" fmla="*/ 422854 h 504825"/>
                <a:gd name="connsiteX153" fmla="*/ 441136 w 581025"/>
                <a:gd name="connsiteY153" fmla="*/ 422854 h 504825"/>
                <a:gd name="connsiteX154" fmla="*/ 448515 w 581025"/>
                <a:gd name="connsiteY154" fmla="*/ 411777 h 504825"/>
                <a:gd name="connsiteX155" fmla="*/ 452204 w 581025"/>
                <a:gd name="connsiteY155" fmla="*/ 411777 h 504825"/>
                <a:gd name="connsiteX156" fmla="*/ 459582 w 581025"/>
                <a:gd name="connsiteY156" fmla="*/ 408090 h 504825"/>
                <a:gd name="connsiteX157" fmla="*/ 463271 w 581025"/>
                <a:gd name="connsiteY157" fmla="*/ 404395 h 504825"/>
                <a:gd name="connsiteX158" fmla="*/ 470650 w 581025"/>
                <a:gd name="connsiteY158" fmla="*/ 404395 h 504825"/>
                <a:gd name="connsiteX159" fmla="*/ 474339 w 581025"/>
                <a:gd name="connsiteY159" fmla="*/ 404395 h 504825"/>
                <a:gd name="connsiteX160" fmla="*/ 478028 w 581025"/>
                <a:gd name="connsiteY160" fmla="*/ 404395 h 504825"/>
                <a:gd name="connsiteX161" fmla="*/ 485406 w 581025"/>
                <a:gd name="connsiteY161" fmla="*/ 408090 h 504825"/>
                <a:gd name="connsiteX162" fmla="*/ 492784 w 581025"/>
                <a:gd name="connsiteY162" fmla="*/ 408090 h 504825"/>
                <a:gd name="connsiteX163" fmla="*/ 496474 w 581025"/>
                <a:gd name="connsiteY163" fmla="*/ 408090 h 504825"/>
                <a:gd name="connsiteX164" fmla="*/ 500163 w 581025"/>
                <a:gd name="connsiteY164" fmla="*/ 411777 h 504825"/>
                <a:gd name="connsiteX165" fmla="*/ 507541 w 581025"/>
                <a:gd name="connsiteY165" fmla="*/ 411777 h 504825"/>
                <a:gd name="connsiteX166" fmla="*/ 511230 w 581025"/>
                <a:gd name="connsiteY166" fmla="*/ 411777 h 504825"/>
                <a:gd name="connsiteX167" fmla="*/ 518609 w 581025"/>
                <a:gd name="connsiteY167" fmla="*/ 411777 h 504825"/>
                <a:gd name="connsiteX168" fmla="*/ 518609 w 581025"/>
                <a:gd name="connsiteY168" fmla="*/ 408090 h 504825"/>
                <a:gd name="connsiteX169" fmla="*/ 522298 w 581025"/>
                <a:gd name="connsiteY169" fmla="*/ 393327 h 504825"/>
                <a:gd name="connsiteX170" fmla="*/ 514919 w 581025"/>
                <a:gd name="connsiteY170" fmla="*/ 393327 h 504825"/>
                <a:gd name="connsiteX171" fmla="*/ 511230 w 581025"/>
                <a:gd name="connsiteY171" fmla="*/ 393327 h 504825"/>
                <a:gd name="connsiteX172" fmla="*/ 507541 w 581025"/>
                <a:gd name="connsiteY172" fmla="*/ 393327 h 504825"/>
                <a:gd name="connsiteX173" fmla="*/ 503852 w 581025"/>
                <a:gd name="connsiteY173" fmla="*/ 389631 h 504825"/>
                <a:gd name="connsiteX174" fmla="*/ 507541 w 581025"/>
                <a:gd name="connsiteY174" fmla="*/ 389631 h 504825"/>
                <a:gd name="connsiteX175" fmla="*/ 503852 w 581025"/>
                <a:gd name="connsiteY175" fmla="*/ 385945 h 504825"/>
                <a:gd name="connsiteX176" fmla="*/ 503852 w 581025"/>
                <a:gd name="connsiteY176" fmla="*/ 382249 h 504825"/>
                <a:gd name="connsiteX177" fmla="*/ 503852 w 581025"/>
                <a:gd name="connsiteY177" fmla="*/ 378563 h 504825"/>
                <a:gd name="connsiteX178" fmla="*/ 507541 w 581025"/>
                <a:gd name="connsiteY178" fmla="*/ 382249 h 504825"/>
                <a:gd name="connsiteX179" fmla="*/ 514919 w 581025"/>
                <a:gd name="connsiteY179" fmla="*/ 378563 h 504825"/>
                <a:gd name="connsiteX180" fmla="*/ 518609 w 581025"/>
                <a:gd name="connsiteY180" fmla="*/ 382249 h 504825"/>
                <a:gd name="connsiteX181" fmla="*/ 529676 w 581025"/>
                <a:gd name="connsiteY181" fmla="*/ 378563 h 504825"/>
                <a:gd name="connsiteX182" fmla="*/ 533365 w 581025"/>
                <a:gd name="connsiteY182" fmla="*/ 382249 h 504825"/>
                <a:gd name="connsiteX183" fmla="*/ 537054 w 581025"/>
                <a:gd name="connsiteY183" fmla="*/ 382249 h 504825"/>
                <a:gd name="connsiteX184" fmla="*/ 537054 w 581025"/>
                <a:gd name="connsiteY184" fmla="*/ 378563 h 504825"/>
                <a:gd name="connsiteX185" fmla="*/ 533365 w 581025"/>
                <a:gd name="connsiteY185" fmla="*/ 374877 h 504825"/>
                <a:gd name="connsiteX186" fmla="*/ 533365 w 581025"/>
                <a:gd name="connsiteY186" fmla="*/ 371181 h 504825"/>
                <a:gd name="connsiteX187" fmla="*/ 533365 w 581025"/>
                <a:gd name="connsiteY187" fmla="*/ 367495 h 504825"/>
                <a:gd name="connsiteX188" fmla="*/ 537054 w 581025"/>
                <a:gd name="connsiteY188" fmla="*/ 367495 h 504825"/>
                <a:gd name="connsiteX189" fmla="*/ 540744 w 581025"/>
                <a:gd name="connsiteY189" fmla="*/ 367495 h 504825"/>
                <a:gd name="connsiteX190" fmla="*/ 544433 w 581025"/>
                <a:gd name="connsiteY190" fmla="*/ 367495 h 504825"/>
                <a:gd name="connsiteX191" fmla="*/ 548122 w 581025"/>
                <a:gd name="connsiteY191" fmla="*/ 363799 h 504825"/>
                <a:gd name="connsiteX192" fmla="*/ 548122 w 581025"/>
                <a:gd name="connsiteY192" fmla="*/ 356417 h 504825"/>
                <a:gd name="connsiteX193" fmla="*/ 551811 w 581025"/>
                <a:gd name="connsiteY193" fmla="*/ 356417 h 504825"/>
                <a:gd name="connsiteX194" fmla="*/ 559189 w 581025"/>
                <a:gd name="connsiteY194" fmla="*/ 356417 h 504825"/>
                <a:gd name="connsiteX195" fmla="*/ 562879 w 581025"/>
                <a:gd name="connsiteY195" fmla="*/ 356417 h 504825"/>
                <a:gd name="connsiteX196" fmla="*/ 562879 w 581025"/>
                <a:gd name="connsiteY196" fmla="*/ 352731 h 504825"/>
                <a:gd name="connsiteX197" fmla="*/ 566568 w 581025"/>
                <a:gd name="connsiteY197" fmla="*/ 349035 h 504825"/>
                <a:gd name="connsiteX198" fmla="*/ 570257 w 581025"/>
                <a:gd name="connsiteY198" fmla="*/ 337967 h 504825"/>
                <a:gd name="connsiteX199" fmla="*/ 570257 w 581025"/>
                <a:gd name="connsiteY199" fmla="*/ 334272 h 504825"/>
                <a:gd name="connsiteX200" fmla="*/ 573946 w 581025"/>
                <a:gd name="connsiteY200" fmla="*/ 334272 h 504825"/>
                <a:gd name="connsiteX201" fmla="*/ 577635 w 581025"/>
                <a:gd name="connsiteY201" fmla="*/ 326899 h 504825"/>
                <a:gd name="connsiteX202" fmla="*/ 581324 w 581025"/>
                <a:gd name="connsiteY202" fmla="*/ 323204 h 504825"/>
                <a:gd name="connsiteX203" fmla="*/ 577635 w 581025"/>
                <a:gd name="connsiteY203" fmla="*/ 323204 h 504825"/>
                <a:gd name="connsiteX204" fmla="*/ 581324 w 581025"/>
                <a:gd name="connsiteY204" fmla="*/ 319517 h 504825"/>
                <a:gd name="connsiteX205" fmla="*/ 577635 w 581025"/>
                <a:gd name="connsiteY205" fmla="*/ 319517 h 504825"/>
                <a:gd name="connsiteX206" fmla="*/ 573946 w 581025"/>
                <a:gd name="connsiteY206" fmla="*/ 319517 h 504825"/>
                <a:gd name="connsiteX207" fmla="*/ 570257 w 581025"/>
                <a:gd name="connsiteY207" fmla="*/ 319517 h 504825"/>
                <a:gd name="connsiteX208" fmla="*/ 555500 w 581025"/>
                <a:gd name="connsiteY208" fmla="*/ 312136 h 504825"/>
                <a:gd name="connsiteX209" fmla="*/ 548122 w 581025"/>
                <a:gd name="connsiteY209" fmla="*/ 308440 h 504825"/>
                <a:gd name="connsiteX210" fmla="*/ 533365 w 581025"/>
                <a:gd name="connsiteY210" fmla="*/ 304754 h 504825"/>
                <a:gd name="connsiteX211" fmla="*/ 537054 w 581025"/>
                <a:gd name="connsiteY211" fmla="*/ 297372 h 504825"/>
                <a:gd name="connsiteX212" fmla="*/ 533365 w 581025"/>
                <a:gd name="connsiteY212" fmla="*/ 286294 h 504825"/>
                <a:gd name="connsiteX213" fmla="*/ 529676 w 581025"/>
                <a:gd name="connsiteY213" fmla="*/ 286294 h 504825"/>
                <a:gd name="connsiteX214" fmla="*/ 525987 w 581025"/>
                <a:gd name="connsiteY214" fmla="*/ 286294 h 504825"/>
                <a:gd name="connsiteX215" fmla="*/ 525987 w 581025"/>
                <a:gd name="connsiteY215" fmla="*/ 289990 h 504825"/>
                <a:gd name="connsiteX216" fmla="*/ 522298 w 581025"/>
                <a:gd name="connsiteY216" fmla="*/ 293676 h 504825"/>
                <a:gd name="connsiteX217" fmla="*/ 518609 w 581025"/>
                <a:gd name="connsiteY217" fmla="*/ 293676 h 504825"/>
                <a:gd name="connsiteX218" fmla="*/ 511230 w 581025"/>
                <a:gd name="connsiteY218" fmla="*/ 286294 h 504825"/>
                <a:gd name="connsiteX219" fmla="*/ 507541 w 581025"/>
                <a:gd name="connsiteY219" fmla="*/ 286294 h 504825"/>
                <a:gd name="connsiteX220" fmla="*/ 503852 w 581025"/>
                <a:gd name="connsiteY220" fmla="*/ 286294 h 504825"/>
                <a:gd name="connsiteX221" fmla="*/ 500163 w 581025"/>
                <a:gd name="connsiteY221" fmla="*/ 289990 h 504825"/>
                <a:gd name="connsiteX222" fmla="*/ 496474 w 581025"/>
                <a:gd name="connsiteY222" fmla="*/ 293676 h 504825"/>
                <a:gd name="connsiteX223" fmla="*/ 496474 w 581025"/>
                <a:gd name="connsiteY223" fmla="*/ 297372 h 504825"/>
                <a:gd name="connsiteX224" fmla="*/ 492784 w 581025"/>
                <a:gd name="connsiteY224" fmla="*/ 301058 h 504825"/>
                <a:gd name="connsiteX225" fmla="*/ 489095 w 581025"/>
                <a:gd name="connsiteY225" fmla="*/ 301058 h 504825"/>
                <a:gd name="connsiteX226" fmla="*/ 485406 w 581025"/>
                <a:gd name="connsiteY226" fmla="*/ 297372 h 504825"/>
                <a:gd name="connsiteX227" fmla="*/ 481717 w 581025"/>
                <a:gd name="connsiteY227" fmla="*/ 297372 h 504825"/>
                <a:gd name="connsiteX228" fmla="*/ 478028 w 581025"/>
                <a:gd name="connsiteY228" fmla="*/ 297372 h 504825"/>
                <a:gd name="connsiteX229" fmla="*/ 474339 w 581025"/>
                <a:gd name="connsiteY229" fmla="*/ 301058 h 504825"/>
                <a:gd name="connsiteX230" fmla="*/ 470650 w 581025"/>
                <a:gd name="connsiteY230" fmla="*/ 308440 h 504825"/>
                <a:gd name="connsiteX231" fmla="*/ 466960 w 581025"/>
                <a:gd name="connsiteY231" fmla="*/ 308440 h 504825"/>
                <a:gd name="connsiteX232" fmla="*/ 466960 w 581025"/>
                <a:gd name="connsiteY232" fmla="*/ 312136 h 504825"/>
                <a:gd name="connsiteX233" fmla="*/ 463271 w 581025"/>
                <a:gd name="connsiteY233" fmla="*/ 312136 h 504825"/>
                <a:gd name="connsiteX234" fmla="*/ 459582 w 581025"/>
                <a:gd name="connsiteY234" fmla="*/ 315822 h 504825"/>
                <a:gd name="connsiteX235" fmla="*/ 455893 w 581025"/>
                <a:gd name="connsiteY235" fmla="*/ 315822 h 504825"/>
                <a:gd name="connsiteX236" fmla="*/ 448515 w 581025"/>
                <a:gd name="connsiteY236" fmla="*/ 315822 h 504825"/>
                <a:gd name="connsiteX237" fmla="*/ 444825 w 581025"/>
                <a:gd name="connsiteY237" fmla="*/ 315822 h 504825"/>
                <a:gd name="connsiteX238" fmla="*/ 444825 w 581025"/>
                <a:gd name="connsiteY238" fmla="*/ 312136 h 504825"/>
                <a:gd name="connsiteX239" fmla="*/ 444825 w 581025"/>
                <a:gd name="connsiteY239" fmla="*/ 304754 h 504825"/>
                <a:gd name="connsiteX240" fmla="*/ 441136 w 581025"/>
                <a:gd name="connsiteY240" fmla="*/ 301058 h 504825"/>
                <a:gd name="connsiteX241" fmla="*/ 441136 w 581025"/>
                <a:gd name="connsiteY241" fmla="*/ 297372 h 504825"/>
                <a:gd name="connsiteX242" fmla="*/ 437446 w 581025"/>
                <a:gd name="connsiteY242" fmla="*/ 293676 h 504825"/>
                <a:gd name="connsiteX243" fmla="*/ 433757 w 581025"/>
                <a:gd name="connsiteY243" fmla="*/ 289990 h 504825"/>
                <a:gd name="connsiteX244" fmla="*/ 430068 w 581025"/>
                <a:gd name="connsiteY244" fmla="*/ 286294 h 504825"/>
                <a:gd name="connsiteX245" fmla="*/ 426379 w 581025"/>
                <a:gd name="connsiteY245" fmla="*/ 278922 h 504825"/>
                <a:gd name="connsiteX246" fmla="*/ 422689 w 581025"/>
                <a:gd name="connsiteY246" fmla="*/ 271540 h 504825"/>
                <a:gd name="connsiteX247" fmla="*/ 419000 w 581025"/>
                <a:gd name="connsiteY247" fmla="*/ 267844 h 504825"/>
                <a:gd name="connsiteX248" fmla="*/ 433757 w 581025"/>
                <a:gd name="connsiteY248" fmla="*/ 264158 h 504825"/>
                <a:gd name="connsiteX249" fmla="*/ 437446 w 581025"/>
                <a:gd name="connsiteY249" fmla="*/ 264158 h 504825"/>
                <a:gd name="connsiteX250" fmla="*/ 433757 w 581025"/>
                <a:gd name="connsiteY250" fmla="*/ 253081 h 504825"/>
                <a:gd name="connsiteX251" fmla="*/ 430068 w 581025"/>
                <a:gd name="connsiteY251" fmla="*/ 253081 h 504825"/>
                <a:gd name="connsiteX252" fmla="*/ 426379 w 581025"/>
                <a:gd name="connsiteY252" fmla="*/ 253081 h 504825"/>
                <a:gd name="connsiteX253" fmla="*/ 422689 w 581025"/>
                <a:gd name="connsiteY253" fmla="*/ 253081 h 504825"/>
                <a:gd name="connsiteX254" fmla="*/ 419000 w 581025"/>
                <a:gd name="connsiteY254" fmla="*/ 253081 h 504825"/>
                <a:gd name="connsiteX255" fmla="*/ 415311 w 581025"/>
                <a:gd name="connsiteY255" fmla="*/ 256776 h 504825"/>
                <a:gd name="connsiteX256" fmla="*/ 411622 w 581025"/>
                <a:gd name="connsiteY256" fmla="*/ 256776 h 504825"/>
                <a:gd name="connsiteX257" fmla="*/ 407933 w 581025"/>
                <a:gd name="connsiteY257" fmla="*/ 249394 h 504825"/>
                <a:gd name="connsiteX258" fmla="*/ 411622 w 581025"/>
                <a:gd name="connsiteY258" fmla="*/ 245699 h 504825"/>
                <a:gd name="connsiteX259" fmla="*/ 411622 w 581025"/>
                <a:gd name="connsiteY259" fmla="*/ 242013 h 504825"/>
                <a:gd name="connsiteX260" fmla="*/ 415311 w 581025"/>
                <a:gd name="connsiteY260" fmla="*/ 242013 h 504825"/>
                <a:gd name="connsiteX261" fmla="*/ 419000 w 581025"/>
                <a:gd name="connsiteY261" fmla="*/ 238317 h 504825"/>
                <a:gd name="connsiteX262" fmla="*/ 422689 w 581025"/>
                <a:gd name="connsiteY262" fmla="*/ 227249 h 504825"/>
                <a:gd name="connsiteX263" fmla="*/ 433757 w 581025"/>
                <a:gd name="connsiteY263" fmla="*/ 219867 h 504825"/>
                <a:gd name="connsiteX264" fmla="*/ 437446 w 581025"/>
                <a:gd name="connsiteY264" fmla="*/ 219867 h 504825"/>
                <a:gd name="connsiteX265" fmla="*/ 441136 w 581025"/>
                <a:gd name="connsiteY265" fmla="*/ 216181 h 504825"/>
                <a:gd name="connsiteX266" fmla="*/ 444825 w 581025"/>
                <a:gd name="connsiteY266" fmla="*/ 212485 h 504825"/>
                <a:gd name="connsiteX267" fmla="*/ 430068 w 581025"/>
                <a:gd name="connsiteY267" fmla="*/ 212485 h 504825"/>
                <a:gd name="connsiteX268" fmla="*/ 422689 w 581025"/>
                <a:gd name="connsiteY268" fmla="*/ 212485 h 504825"/>
                <a:gd name="connsiteX269" fmla="*/ 426379 w 581025"/>
                <a:gd name="connsiteY269" fmla="*/ 208799 h 504825"/>
                <a:gd name="connsiteX270" fmla="*/ 422689 w 581025"/>
                <a:gd name="connsiteY270" fmla="*/ 208799 h 504825"/>
                <a:gd name="connsiteX271" fmla="*/ 422689 w 581025"/>
                <a:gd name="connsiteY271" fmla="*/ 205103 h 504825"/>
                <a:gd name="connsiteX272" fmla="*/ 419000 w 581025"/>
                <a:gd name="connsiteY272" fmla="*/ 194035 h 504825"/>
                <a:gd name="connsiteX273" fmla="*/ 419000 w 581025"/>
                <a:gd name="connsiteY273" fmla="*/ 182967 h 504825"/>
                <a:gd name="connsiteX274" fmla="*/ 422689 w 581025"/>
                <a:gd name="connsiteY274" fmla="*/ 182967 h 504825"/>
                <a:gd name="connsiteX275" fmla="*/ 419000 w 581025"/>
                <a:gd name="connsiteY275" fmla="*/ 179271 h 504825"/>
                <a:gd name="connsiteX276" fmla="*/ 404244 w 581025"/>
                <a:gd name="connsiteY276" fmla="*/ 171889 h 504825"/>
                <a:gd name="connsiteX277" fmla="*/ 404244 w 581025"/>
                <a:gd name="connsiteY277" fmla="*/ 168203 h 504825"/>
                <a:gd name="connsiteX278" fmla="*/ 407933 w 581025"/>
                <a:gd name="connsiteY278" fmla="*/ 168203 h 504825"/>
                <a:gd name="connsiteX279" fmla="*/ 411622 w 581025"/>
                <a:gd name="connsiteY279" fmla="*/ 168203 h 504825"/>
                <a:gd name="connsiteX280" fmla="*/ 411622 w 581025"/>
                <a:gd name="connsiteY280" fmla="*/ 164508 h 504825"/>
                <a:gd name="connsiteX281" fmla="*/ 415311 w 581025"/>
                <a:gd name="connsiteY281" fmla="*/ 160821 h 504825"/>
                <a:gd name="connsiteX282" fmla="*/ 411622 w 581025"/>
                <a:gd name="connsiteY282" fmla="*/ 160821 h 504825"/>
                <a:gd name="connsiteX283" fmla="*/ 415311 w 581025"/>
                <a:gd name="connsiteY283" fmla="*/ 157126 h 504825"/>
                <a:gd name="connsiteX284" fmla="*/ 419000 w 581025"/>
                <a:gd name="connsiteY284" fmla="*/ 153440 h 504825"/>
                <a:gd name="connsiteX285" fmla="*/ 426379 w 581025"/>
                <a:gd name="connsiteY285" fmla="*/ 153440 h 504825"/>
                <a:gd name="connsiteX286" fmla="*/ 426379 w 581025"/>
                <a:gd name="connsiteY286" fmla="*/ 157126 h 504825"/>
                <a:gd name="connsiteX287" fmla="*/ 430068 w 581025"/>
                <a:gd name="connsiteY287" fmla="*/ 157126 h 504825"/>
                <a:gd name="connsiteX288" fmla="*/ 437446 w 581025"/>
                <a:gd name="connsiteY288" fmla="*/ 157126 h 504825"/>
                <a:gd name="connsiteX289" fmla="*/ 441136 w 581025"/>
                <a:gd name="connsiteY289" fmla="*/ 157126 h 504825"/>
                <a:gd name="connsiteX290" fmla="*/ 444825 w 581025"/>
                <a:gd name="connsiteY290" fmla="*/ 157126 h 504825"/>
                <a:gd name="connsiteX291" fmla="*/ 444825 w 581025"/>
                <a:gd name="connsiteY291" fmla="*/ 142362 h 504825"/>
                <a:gd name="connsiteX292" fmla="*/ 455893 w 581025"/>
                <a:gd name="connsiteY292" fmla="*/ 138676 h 504825"/>
                <a:gd name="connsiteX293" fmla="*/ 441136 w 581025"/>
                <a:gd name="connsiteY293" fmla="*/ 127608 h 504825"/>
                <a:gd name="connsiteX294" fmla="*/ 437446 w 581025"/>
                <a:gd name="connsiteY294" fmla="*/ 123912 h 504825"/>
                <a:gd name="connsiteX295" fmla="*/ 430068 w 581025"/>
                <a:gd name="connsiteY295" fmla="*/ 123912 h 504825"/>
                <a:gd name="connsiteX296" fmla="*/ 426379 w 581025"/>
                <a:gd name="connsiteY296" fmla="*/ 120226 h 504825"/>
                <a:gd name="connsiteX297" fmla="*/ 422689 w 581025"/>
                <a:gd name="connsiteY297" fmla="*/ 116530 h 504825"/>
                <a:gd name="connsiteX298" fmla="*/ 422689 w 581025"/>
                <a:gd name="connsiteY298" fmla="*/ 112844 h 504825"/>
                <a:gd name="connsiteX299" fmla="*/ 419000 w 581025"/>
                <a:gd name="connsiteY299" fmla="*/ 112844 h 504825"/>
                <a:gd name="connsiteX300" fmla="*/ 415311 w 581025"/>
                <a:gd name="connsiteY300" fmla="*/ 109148 h 504825"/>
                <a:gd name="connsiteX301" fmla="*/ 415311 w 581025"/>
                <a:gd name="connsiteY301" fmla="*/ 105462 h 504825"/>
                <a:gd name="connsiteX302" fmla="*/ 411622 w 581025"/>
                <a:gd name="connsiteY302" fmla="*/ 105462 h 504825"/>
                <a:gd name="connsiteX303" fmla="*/ 411622 w 581025"/>
                <a:gd name="connsiteY303" fmla="*/ 101766 h 504825"/>
                <a:gd name="connsiteX304" fmla="*/ 411622 w 581025"/>
                <a:gd name="connsiteY304" fmla="*/ 94385 h 504825"/>
                <a:gd name="connsiteX305" fmla="*/ 407933 w 581025"/>
                <a:gd name="connsiteY305" fmla="*/ 90698 h 504825"/>
                <a:gd name="connsiteX306" fmla="*/ 407933 w 581025"/>
                <a:gd name="connsiteY306" fmla="*/ 87012 h 504825"/>
                <a:gd name="connsiteX307" fmla="*/ 404244 w 581025"/>
                <a:gd name="connsiteY307" fmla="*/ 87012 h 504825"/>
                <a:gd name="connsiteX308" fmla="*/ 400554 w 581025"/>
                <a:gd name="connsiteY308" fmla="*/ 87012 h 504825"/>
                <a:gd name="connsiteX309" fmla="*/ 396865 w 581025"/>
                <a:gd name="connsiteY309" fmla="*/ 87012 h 504825"/>
                <a:gd name="connsiteX310" fmla="*/ 396865 w 581025"/>
                <a:gd name="connsiteY310" fmla="*/ 90698 h 504825"/>
                <a:gd name="connsiteX311" fmla="*/ 393176 w 581025"/>
                <a:gd name="connsiteY311" fmla="*/ 94385 h 504825"/>
                <a:gd name="connsiteX312" fmla="*/ 385798 w 581025"/>
                <a:gd name="connsiteY312" fmla="*/ 94385 h 504825"/>
                <a:gd name="connsiteX313" fmla="*/ 382109 w 581025"/>
                <a:gd name="connsiteY313" fmla="*/ 94385 h 504825"/>
                <a:gd name="connsiteX314" fmla="*/ 378420 w 581025"/>
                <a:gd name="connsiteY314" fmla="*/ 101766 h 504825"/>
                <a:gd name="connsiteX315" fmla="*/ 374730 w 581025"/>
                <a:gd name="connsiteY315" fmla="*/ 98080 h 504825"/>
                <a:gd name="connsiteX316" fmla="*/ 371041 w 581025"/>
                <a:gd name="connsiteY316" fmla="*/ 94385 h 504825"/>
                <a:gd name="connsiteX317" fmla="*/ 374730 w 581025"/>
                <a:gd name="connsiteY317" fmla="*/ 83316 h 504825"/>
                <a:gd name="connsiteX318" fmla="*/ 363663 w 581025"/>
                <a:gd name="connsiteY318" fmla="*/ 79630 h 504825"/>
                <a:gd name="connsiteX319" fmla="*/ 359974 w 581025"/>
                <a:gd name="connsiteY319" fmla="*/ 83316 h 504825"/>
                <a:gd name="connsiteX320" fmla="*/ 356285 w 581025"/>
                <a:gd name="connsiteY320" fmla="*/ 87012 h 504825"/>
                <a:gd name="connsiteX321" fmla="*/ 352595 w 581025"/>
                <a:gd name="connsiteY321" fmla="*/ 87012 h 504825"/>
                <a:gd name="connsiteX322" fmla="*/ 348906 w 581025"/>
                <a:gd name="connsiteY322" fmla="*/ 87012 h 504825"/>
                <a:gd name="connsiteX323" fmla="*/ 345217 w 581025"/>
                <a:gd name="connsiteY323" fmla="*/ 83316 h 504825"/>
                <a:gd name="connsiteX324" fmla="*/ 345217 w 581025"/>
                <a:gd name="connsiteY324" fmla="*/ 87012 h 504825"/>
                <a:gd name="connsiteX325" fmla="*/ 341528 w 581025"/>
                <a:gd name="connsiteY325" fmla="*/ 87012 h 504825"/>
                <a:gd name="connsiteX326" fmla="*/ 334150 w 581025"/>
                <a:gd name="connsiteY326" fmla="*/ 90698 h 504825"/>
                <a:gd name="connsiteX327" fmla="*/ 330460 w 581025"/>
                <a:gd name="connsiteY327" fmla="*/ 94385 h 504825"/>
                <a:gd name="connsiteX328" fmla="*/ 326771 w 581025"/>
                <a:gd name="connsiteY328" fmla="*/ 94385 h 504825"/>
                <a:gd name="connsiteX329" fmla="*/ 323082 w 581025"/>
                <a:gd name="connsiteY329" fmla="*/ 94385 h 504825"/>
                <a:gd name="connsiteX330" fmla="*/ 312015 w 581025"/>
                <a:gd name="connsiteY330" fmla="*/ 94385 h 504825"/>
                <a:gd name="connsiteX331" fmla="*/ 304636 w 581025"/>
                <a:gd name="connsiteY331" fmla="*/ 90698 h 504825"/>
                <a:gd name="connsiteX332" fmla="*/ 300947 w 581025"/>
                <a:gd name="connsiteY332" fmla="*/ 94385 h 504825"/>
                <a:gd name="connsiteX333" fmla="*/ 297258 w 581025"/>
                <a:gd name="connsiteY333" fmla="*/ 94385 h 504825"/>
                <a:gd name="connsiteX334" fmla="*/ 293568 w 581025"/>
                <a:gd name="connsiteY334" fmla="*/ 90698 h 504825"/>
                <a:gd name="connsiteX335" fmla="*/ 289879 w 581025"/>
                <a:gd name="connsiteY335" fmla="*/ 90698 h 504825"/>
                <a:gd name="connsiteX336" fmla="*/ 289879 w 581025"/>
                <a:gd name="connsiteY336" fmla="*/ 87012 h 504825"/>
                <a:gd name="connsiteX337" fmla="*/ 289879 w 581025"/>
                <a:gd name="connsiteY337" fmla="*/ 83316 h 504825"/>
                <a:gd name="connsiteX338" fmla="*/ 289879 w 581025"/>
                <a:gd name="connsiteY338" fmla="*/ 79630 h 504825"/>
                <a:gd name="connsiteX339" fmla="*/ 293568 w 581025"/>
                <a:gd name="connsiteY339" fmla="*/ 79630 h 504825"/>
                <a:gd name="connsiteX340" fmla="*/ 293568 w 581025"/>
                <a:gd name="connsiteY340" fmla="*/ 75935 h 504825"/>
                <a:gd name="connsiteX341" fmla="*/ 297258 w 581025"/>
                <a:gd name="connsiteY341" fmla="*/ 72248 h 504825"/>
                <a:gd name="connsiteX342" fmla="*/ 297258 w 581025"/>
                <a:gd name="connsiteY342" fmla="*/ 64867 h 504825"/>
                <a:gd name="connsiteX343" fmla="*/ 297258 w 581025"/>
                <a:gd name="connsiteY343" fmla="*/ 61171 h 504825"/>
                <a:gd name="connsiteX344" fmla="*/ 297258 w 581025"/>
                <a:gd name="connsiteY344" fmla="*/ 57485 h 504825"/>
                <a:gd name="connsiteX345" fmla="*/ 297258 w 581025"/>
                <a:gd name="connsiteY345" fmla="*/ 53789 h 504825"/>
                <a:gd name="connsiteX346" fmla="*/ 300947 w 581025"/>
                <a:gd name="connsiteY346" fmla="*/ 50103 h 504825"/>
                <a:gd name="connsiteX347" fmla="*/ 304636 w 581025"/>
                <a:gd name="connsiteY347" fmla="*/ 46407 h 504825"/>
                <a:gd name="connsiteX348" fmla="*/ 308326 w 581025"/>
                <a:gd name="connsiteY348" fmla="*/ 42721 h 504825"/>
                <a:gd name="connsiteX349" fmla="*/ 308326 w 581025"/>
                <a:gd name="connsiteY349" fmla="*/ 39035 h 504825"/>
                <a:gd name="connsiteX350" fmla="*/ 308326 w 581025"/>
                <a:gd name="connsiteY350" fmla="*/ 35339 h 504825"/>
                <a:gd name="connsiteX351" fmla="*/ 312015 w 581025"/>
                <a:gd name="connsiteY351" fmla="*/ 35339 h 504825"/>
                <a:gd name="connsiteX352" fmla="*/ 312015 w 581025"/>
                <a:gd name="connsiteY352" fmla="*/ 27957 h 504825"/>
                <a:gd name="connsiteX353" fmla="*/ 315704 w 581025"/>
                <a:gd name="connsiteY353" fmla="*/ 24271 h 504825"/>
                <a:gd name="connsiteX354" fmla="*/ 319393 w 581025"/>
                <a:gd name="connsiteY354" fmla="*/ 16889 h 504825"/>
                <a:gd name="connsiteX355" fmla="*/ 312015 w 581025"/>
                <a:gd name="connsiteY355" fmla="*/ 13193 h 504825"/>
                <a:gd name="connsiteX356" fmla="*/ 308326 w 581025"/>
                <a:gd name="connsiteY356" fmla="*/ 13193 h 504825"/>
                <a:gd name="connsiteX357" fmla="*/ 304636 w 581025"/>
                <a:gd name="connsiteY357" fmla="*/ 13193 h 504825"/>
                <a:gd name="connsiteX358" fmla="*/ 300947 w 581025"/>
                <a:gd name="connsiteY358" fmla="*/ 16889 h 504825"/>
                <a:gd name="connsiteX359" fmla="*/ 297258 w 581025"/>
                <a:gd name="connsiteY359" fmla="*/ 13193 h 504825"/>
                <a:gd name="connsiteX360" fmla="*/ 297258 w 581025"/>
                <a:gd name="connsiteY360" fmla="*/ 20575 h 504825"/>
                <a:gd name="connsiteX361" fmla="*/ 286190 w 581025"/>
                <a:gd name="connsiteY361" fmla="*/ 16889 h 504825"/>
                <a:gd name="connsiteX362" fmla="*/ 260365 w 581025"/>
                <a:gd name="connsiteY362" fmla="*/ 5812 h 504825"/>
                <a:gd name="connsiteX363" fmla="*/ 42704 w 581025"/>
                <a:gd name="connsiteY363" fmla="*/ 389631 h 504825"/>
                <a:gd name="connsiteX364" fmla="*/ 39015 w 581025"/>
                <a:gd name="connsiteY364" fmla="*/ 393327 h 504825"/>
                <a:gd name="connsiteX365" fmla="*/ 42704 w 581025"/>
                <a:gd name="connsiteY365" fmla="*/ 393327 h 504825"/>
                <a:gd name="connsiteX366" fmla="*/ 42704 w 581025"/>
                <a:gd name="connsiteY366" fmla="*/ 389631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Lst>
              <a:rect l="l" t="t" r="r" b="b"/>
              <a:pathLst>
                <a:path w="581025" h="504825">
                  <a:moveTo>
                    <a:pt x="260365" y="5812"/>
                  </a:moveTo>
                  <a:lnTo>
                    <a:pt x="238230" y="53789"/>
                  </a:lnTo>
                  <a:lnTo>
                    <a:pt x="230852" y="64867"/>
                  </a:lnTo>
                  <a:lnTo>
                    <a:pt x="227163" y="72248"/>
                  </a:lnTo>
                  <a:lnTo>
                    <a:pt x="216096" y="90698"/>
                  </a:lnTo>
                  <a:lnTo>
                    <a:pt x="212406" y="94385"/>
                  </a:lnTo>
                  <a:lnTo>
                    <a:pt x="212406" y="98080"/>
                  </a:lnTo>
                  <a:lnTo>
                    <a:pt x="205028" y="109148"/>
                  </a:lnTo>
                  <a:lnTo>
                    <a:pt x="201339" y="116530"/>
                  </a:lnTo>
                  <a:lnTo>
                    <a:pt x="190271" y="131294"/>
                  </a:lnTo>
                  <a:lnTo>
                    <a:pt x="168136" y="160821"/>
                  </a:lnTo>
                  <a:lnTo>
                    <a:pt x="157069" y="168203"/>
                  </a:lnTo>
                  <a:lnTo>
                    <a:pt x="157069" y="171889"/>
                  </a:lnTo>
                  <a:lnTo>
                    <a:pt x="149690" y="179271"/>
                  </a:lnTo>
                  <a:lnTo>
                    <a:pt x="146001" y="179271"/>
                  </a:lnTo>
                  <a:lnTo>
                    <a:pt x="146001" y="182967"/>
                  </a:lnTo>
                  <a:lnTo>
                    <a:pt x="146001" y="186653"/>
                  </a:lnTo>
                  <a:lnTo>
                    <a:pt x="149690" y="186653"/>
                  </a:lnTo>
                  <a:lnTo>
                    <a:pt x="146001" y="190339"/>
                  </a:lnTo>
                  <a:lnTo>
                    <a:pt x="146001" y="186653"/>
                  </a:lnTo>
                  <a:lnTo>
                    <a:pt x="142311" y="186653"/>
                  </a:lnTo>
                  <a:lnTo>
                    <a:pt x="138622" y="190339"/>
                  </a:lnTo>
                  <a:lnTo>
                    <a:pt x="134933" y="197721"/>
                  </a:lnTo>
                  <a:lnTo>
                    <a:pt x="131244" y="201417"/>
                  </a:lnTo>
                  <a:lnTo>
                    <a:pt x="120176" y="212485"/>
                  </a:lnTo>
                  <a:lnTo>
                    <a:pt x="112798" y="219867"/>
                  </a:lnTo>
                  <a:lnTo>
                    <a:pt x="101731" y="234631"/>
                  </a:lnTo>
                  <a:lnTo>
                    <a:pt x="98041" y="238317"/>
                  </a:lnTo>
                  <a:lnTo>
                    <a:pt x="90663" y="245699"/>
                  </a:lnTo>
                  <a:lnTo>
                    <a:pt x="86974" y="249394"/>
                  </a:lnTo>
                  <a:lnTo>
                    <a:pt x="86974" y="253081"/>
                  </a:lnTo>
                  <a:lnTo>
                    <a:pt x="79596" y="264158"/>
                  </a:lnTo>
                  <a:lnTo>
                    <a:pt x="72217" y="267844"/>
                  </a:lnTo>
                  <a:lnTo>
                    <a:pt x="64839" y="275226"/>
                  </a:lnTo>
                  <a:lnTo>
                    <a:pt x="61150" y="275226"/>
                  </a:lnTo>
                  <a:lnTo>
                    <a:pt x="57461" y="271540"/>
                  </a:lnTo>
                  <a:lnTo>
                    <a:pt x="39015" y="267844"/>
                  </a:lnTo>
                  <a:lnTo>
                    <a:pt x="35326" y="271540"/>
                  </a:lnTo>
                  <a:lnTo>
                    <a:pt x="31637" y="271540"/>
                  </a:lnTo>
                  <a:lnTo>
                    <a:pt x="27947" y="271540"/>
                  </a:lnTo>
                  <a:lnTo>
                    <a:pt x="24258" y="275226"/>
                  </a:lnTo>
                  <a:lnTo>
                    <a:pt x="24258" y="278922"/>
                  </a:lnTo>
                  <a:lnTo>
                    <a:pt x="20569" y="282608"/>
                  </a:lnTo>
                  <a:lnTo>
                    <a:pt x="16880" y="289990"/>
                  </a:lnTo>
                  <a:lnTo>
                    <a:pt x="20569" y="293676"/>
                  </a:lnTo>
                  <a:lnTo>
                    <a:pt x="24258" y="297372"/>
                  </a:lnTo>
                  <a:lnTo>
                    <a:pt x="24258" y="301058"/>
                  </a:lnTo>
                  <a:lnTo>
                    <a:pt x="16880" y="308440"/>
                  </a:lnTo>
                  <a:lnTo>
                    <a:pt x="13191" y="315822"/>
                  </a:lnTo>
                  <a:lnTo>
                    <a:pt x="5812" y="326899"/>
                  </a:lnTo>
                  <a:lnTo>
                    <a:pt x="9502" y="326899"/>
                  </a:lnTo>
                  <a:lnTo>
                    <a:pt x="13191" y="326899"/>
                  </a:lnTo>
                  <a:lnTo>
                    <a:pt x="16880" y="330585"/>
                  </a:lnTo>
                  <a:lnTo>
                    <a:pt x="20569" y="326899"/>
                  </a:lnTo>
                  <a:lnTo>
                    <a:pt x="35326" y="323204"/>
                  </a:lnTo>
                  <a:lnTo>
                    <a:pt x="39015" y="323204"/>
                  </a:lnTo>
                  <a:lnTo>
                    <a:pt x="42704" y="330585"/>
                  </a:lnTo>
                  <a:lnTo>
                    <a:pt x="39015" y="330585"/>
                  </a:lnTo>
                  <a:lnTo>
                    <a:pt x="39015" y="334272"/>
                  </a:lnTo>
                  <a:lnTo>
                    <a:pt x="31637" y="341654"/>
                  </a:lnTo>
                  <a:lnTo>
                    <a:pt x="31637" y="345349"/>
                  </a:lnTo>
                  <a:lnTo>
                    <a:pt x="27947" y="349035"/>
                  </a:lnTo>
                  <a:lnTo>
                    <a:pt x="27947" y="352731"/>
                  </a:lnTo>
                  <a:lnTo>
                    <a:pt x="31637" y="356417"/>
                  </a:lnTo>
                  <a:lnTo>
                    <a:pt x="46393" y="378563"/>
                  </a:lnTo>
                  <a:lnTo>
                    <a:pt x="46393" y="382249"/>
                  </a:lnTo>
                  <a:lnTo>
                    <a:pt x="46393" y="385945"/>
                  </a:lnTo>
                  <a:lnTo>
                    <a:pt x="42704" y="389631"/>
                  </a:lnTo>
                  <a:lnTo>
                    <a:pt x="50082" y="385945"/>
                  </a:lnTo>
                  <a:lnTo>
                    <a:pt x="53772" y="389631"/>
                  </a:lnTo>
                  <a:lnTo>
                    <a:pt x="57461" y="393327"/>
                  </a:lnTo>
                  <a:lnTo>
                    <a:pt x="61150" y="397013"/>
                  </a:lnTo>
                  <a:lnTo>
                    <a:pt x="61150" y="400709"/>
                  </a:lnTo>
                  <a:lnTo>
                    <a:pt x="64839" y="400709"/>
                  </a:lnTo>
                  <a:lnTo>
                    <a:pt x="68528" y="400709"/>
                  </a:lnTo>
                  <a:lnTo>
                    <a:pt x="72217" y="400709"/>
                  </a:lnTo>
                  <a:lnTo>
                    <a:pt x="75906" y="400709"/>
                  </a:lnTo>
                  <a:lnTo>
                    <a:pt x="72217" y="404395"/>
                  </a:lnTo>
                  <a:lnTo>
                    <a:pt x="75906" y="408090"/>
                  </a:lnTo>
                  <a:lnTo>
                    <a:pt x="79596" y="408090"/>
                  </a:lnTo>
                  <a:lnTo>
                    <a:pt x="79596" y="404395"/>
                  </a:lnTo>
                  <a:lnTo>
                    <a:pt x="83285" y="404395"/>
                  </a:lnTo>
                  <a:lnTo>
                    <a:pt x="86974" y="404395"/>
                  </a:lnTo>
                  <a:lnTo>
                    <a:pt x="90663" y="404395"/>
                  </a:lnTo>
                  <a:lnTo>
                    <a:pt x="94352" y="408090"/>
                  </a:lnTo>
                  <a:lnTo>
                    <a:pt x="101731" y="419158"/>
                  </a:lnTo>
                  <a:lnTo>
                    <a:pt x="105420" y="419158"/>
                  </a:lnTo>
                  <a:lnTo>
                    <a:pt x="109109" y="419158"/>
                  </a:lnTo>
                  <a:lnTo>
                    <a:pt x="112798" y="419158"/>
                  </a:lnTo>
                  <a:lnTo>
                    <a:pt x="112798" y="422854"/>
                  </a:lnTo>
                  <a:lnTo>
                    <a:pt x="120176" y="422854"/>
                  </a:lnTo>
                  <a:lnTo>
                    <a:pt x="123866" y="430227"/>
                  </a:lnTo>
                  <a:lnTo>
                    <a:pt x="127555" y="433922"/>
                  </a:lnTo>
                  <a:lnTo>
                    <a:pt x="131244" y="433922"/>
                  </a:lnTo>
                  <a:lnTo>
                    <a:pt x="134933" y="433922"/>
                  </a:lnTo>
                  <a:lnTo>
                    <a:pt x="131244" y="437608"/>
                  </a:lnTo>
                  <a:lnTo>
                    <a:pt x="127555" y="437608"/>
                  </a:lnTo>
                  <a:lnTo>
                    <a:pt x="131244" y="444990"/>
                  </a:lnTo>
                  <a:lnTo>
                    <a:pt x="134933" y="448686"/>
                  </a:lnTo>
                  <a:lnTo>
                    <a:pt x="146001" y="452372"/>
                  </a:lnTo>
                  <a:lnTo>
                    <a:pt x="146001" y="456068"/>
                  </a:lnTo>
                  <a:lnTo>
                    <a:pt x="153380" y="456068"/>
                  </a:lnTo>
                  <a:lnTo>
                    <a:pt x="160758" y="459754"/>
                  </a:lnTo>
                  <a:lnTo>
                    <a:pt x="168136" y="459754"/>
                  </a:lnTo>
                  <a:lnTo>
                    <a:pt x="168136" y="463450"/>
                  </a:lnTo>
                  <a:lnTo>
                    <a:pt x="182893" y="467136"/>
                  </a:lnTo>
                  <a:lnTo>
                    <a:pt x="190271" y="474518"/>
                  </a:lnTo>
                  <a:lnTo>
                    <a:pt x="193961" y="474518"/>
                  </a:lnTo>
                  <a:lnTo>
                    <a:pt x="201339" y="478204"/>
                  </a:lnTo>
                  <a:lnTo>
                    <a:pt x="212406" y="485586"/>
                  </a:lnTo>
                  <a:lnTo>
                    <a:pt x="216096" y="485586"/>
                  </a:lnTo>
                  <a:lnTo>
                    <a:pt x="219785" y="489281"/>
                  </a:lnTo>
                  <a:lnTo>
                    <a:pt x="227163" y="489281"/>
                  </a:lnTo>
                  <a:lnTo>
                    <a:pt x="227163" y="492968"/>
                  </a:lnTo>
                  <a:lnTo>
                    <a:pt x="241920" y="492968"/>
                  </a:lnTo>
                  <a:lnTo>
                    <a:pt x="245609" y="492968"/>
                  </a:lnTo>
                  <a:lnTo>
                    <a:pt x="252987" y="496663"/>
                  </a:lnTo>
                  <a:lnTo>
                    <a:pt x="256676" y="496663"/>
                  </a:lnTo>
                  <a:lnTo>
                    <a:pt x="260365" y="496663"/>
                  </a:lnTo>
                  <a:lnTo>
                    <a:pt x="264055" y="500350"/>
                  </a:lnTo>
                  <a:lnTo>
                    <a:pt x="267744" y="500350"/>
                  </a:lnTo>
                  <a:lnTo>
                    <a:pt x="271433" y="504045"/>
                  </a:lnTo>
                  <a:lnTo>
                    <a:pt x="275122" y="504045"/>
                  </a:lnTo>
                  <a:lnTo>
                    <a:pt x="282500" y="500350"/>
                  </a:lnTo>
                  <a:lnTo>
                    <a:pt x="286190" y="500350"/>
                  </a:lnTo>
                  <a:lnTo>
                    <a:pt x="297258" y="496663"/>
                  </a:lnTo>
                  <a:lnTo>
                    <a:pt x="300947" y="496663"/>
                  </a:lnTo>
                  <a:lnTo>
                    <a:pt x="304636" y="492968"/>
                  </a:lnTo>
                  <a:lnTo>
                    <a:pt x="312015" y="492968"/>
                  </a:lnTo>
                  <a:lnTo>
                    <a:pt x="315704" y="485586"/>
                  </a:lnTo>
                  <a:lnTo>
                    <a:pt x="319393" y="489281"/>
                  </a:lnTo>
                  <a:lnTo>
                    <a:pt x="323082" y="489281"/>
                  </a:lnTo>
                  <a:lnTo>
                    <a:pt x="330460" y="485586"/>
                  </a:lnTo>
                  <a:lnTo>
                    <a:pt x="330460" y="489281"/>
                  </a:lnTo>
                  <a:lnTo>
                    <a:pt x="345217" y="485586"/>
                  </a:lnTo>
                  <a:lnTo>
                    <a:pt x="348906" y="481900"/>
                  </a:lnTo>
                  <a:lnTo>
                    <a:pt x="352595" y="478204"/>
                  </a:lnTo>
                  <a:lnTo>
                    <a:pt x="359974" y="474518"/>
                  </a:lnTo>
                  <a:lnTo>
                    <a:pt x="371041" y="467136"/>
                  </a:lnTo>
                  <a:lnTo>
                    <a:pt x="374730" y="459754"/>
                  </a:lnTo>
                  <a:lnTo>
                    <a:pt x="378420" y="456068"/>
                  </a:lnTo>
                  <a:lnTo>
                    <a:pt x="382109" y="444990"/>
                  </a:lnTo>
                  <a:lnTo>
                    <a:pt x="385798" y="441304"/>
                  </a:lnTo>
                  <a:lnTo>
                    <a:pt x="389487" y="437608"/>
                  </a:lnTo>
                  <a:lnTo>
                    <a:pt x="389487" y="433922"/>
                  </a:lnTo>
                  <a:lnTo>
                    <a:pt x="393176" y="430227"/>
                  </a:lnTo>
                  <a:lnTo>
                    <a:pt x="396865" y="430227"/>
                  </a:lnTo>
                  <a:lnTo>
                    <a:pt x="404244" y="426540"/>
                  </a:lnTo>
                  <a:lnTo>
                    <a:pt x="411622" y="426540"/>
                  </a:lnTo>
                  <a:lnTo>
                    <a:pt x="419000" y="426540"/>
                  </a:lnTo>
                  <a:lnTo>
                    <a:pt x="426379" y="426540"/>
                  </a:lnTo>
                  <a:lnTo>
                    <a:pt x="430068" y="426540"/>
                  </a:lnTo>
                  <a:lnTo>
                    <a:pt x="437446" y="422854"/>
                  </a:lnTo>
                  <a:lnTo>
                    <a:pt x="441136" y="422854"/>
                  </a:lnTo>
                  <a:lnTo>
                    <a:pt x="448515" y="411777"/>
                  </a:lnTo>
                  <a:lnTo>
                    <a:pt x="452204" y="411777"/>
                  </a:lnTo>
                  <a:lnTo>
                    <a:pt x="459582" y="408090"/>
                  </a:lnTo>
                  <a:lnTo>
                    <a:pt x="463271" y="404395"/>
                  </a:lnTo>
                  <a:lnTo>
                    <a:pt x="470650" y="404395"/>
                  </a:lnTo>
                  <a:lnTo>
                    <a:pt x="474339" y="404395"/>
                  </a:lnTo>
                  <a:lnTo>
                    <a:pt x="478028" y="404395"/>
                  </a:lnTo>
                  <a:lnTo>
                    <a:pt x="485406" y="408090"/>
                  </a:lnTo>
                  <a:lnTo>
                    <a:pt x="492784" y="408090"/>
                  </a:lnTo>
                  <a:lnTo>
                    <a:pt x="496474" y="408090"/>
                  </a:lnTo>
                  <a:lnTo>
                    <a:pt x="500163" y="411777"/>
                  </a:lnTo>
                  <a:lnTo>
                    <a:pt x="507541" y="411777"/>
                  </a:lnTo>
                  <a:lnTo>
                    <a:pt x="511230" y="411777"/>
                  </a:lnTo>
                  <a:lnTo>
                    <a:pt x="518609" y="411777"/>
                  </a:lnTo>
                  <a:lnTo>
                    <a:pt x="518609" y="408090"/>
                  </a:lnTo>
                  <a:lnTo>
                    <a:pt x="522298" y="393327"/>
                  </a:lnTo>
                  <a:lnTo>
                    <a:pt x="514919" y="393327"/>
                  </a:lnTo>
                  <a:lnTo>
                    <a:pt x="511230" y="393327"/>
                  </a:lnTo>
                  <a:lnTo>
                    <a:pt x="507541" y="393327"/>
                  </a:lnTo>
                  <a:lnTo>
                    <a:pt x="503852" y="389631"/>
                  </a:lnTo>
                  <a:lnTo>
                    <a:pt x="507541" y="389631"/>
                  </a:lnTo>
                  <a:lnTo>
                    <a:pt x="503852" y="385945"/>
                  </a:lnTo>
                  <a:lnTo>
                    <a:pt x="503852" y="382249"/>
                  </a:lnTo>
                  <a:lnTo>
                    <a:pt x="503852" y="378563"/>
                  </a:lnTo>
                  <a:lnTo>
                    <a:pt x="507541" y="382249"/>
                  </a:lnTo>
                  <a:lnTo>
                    <a:pt x="514919" y="378563"/>
                  </a:lnTo>
                  <a:lnTo>
                    <a:pt x="518609" y="382249"/>
                  </a:lnTo>
                  <a:lnTo>
                    <a:pt x="529676" y="378563"/>
                  </a:lnTo>
                  <a:lnTo>
                    <a:pt x="533365" y="382249"/>
                  </a:lnTo>
                  <a:lnTo>
                    <a:pt x="537054" y="382249"/>
                  </a:lnTo>
                  <a:lnTo>
                    <a:pt x="537054" y="378563"/>
                  </a:lnTo>
                  <a:lnTo>
                    <a:pt x="533365" y="374877"/>
                  </a:lnTo>
                  <a:lnTo>
                    <a:pt x="533365" y="371181"/>
                  </a:lnTo>
                  <a:lnTo>
                    <a:pt x="533365" y="367495"/>
                  </a:lnTo>
                  <a:lnTo>
                    <a:pt x="537054" y="367495"/>
                  </a:lnTo>
                  <a:lnTo>
                    <a:pt x="540744" y="367495"/>
                  </a:lnTo>
                  <a:lnTo>
                    <a:pt x="544433" y="367495"/>
                  </a:lnTo>
                  <a:lnTo>
                    <a:pt x="548122" y="363799"/>
                  </a:lnTo>
                  <a:lnTo>
                    <a:pt x="548122" y="356417"/>
                  </a:lnTo>
                  <a:lnTo>
                    <a:pt x="551811" y="356417"/>
                  </a:lnTo>
                  <a:lnTo>
                    <a:pt x="559189" y="356417"/>
                  </a:lnTo>
                  <a:lnTo>
                    <a:pt x="562879" y="356417"/>
                  </a:lnTo>
                  <a:lnTo>
                    <a:pt x="562879" y="352731"/>
                  </a:lnTo>
                  <a:lnTo>
                    <a:pt x="566568" y="349035"/>
                  </a:lnTo>
                  <a:lnTo>
                    <a:pt x="570257" y="337967"/>
                  </a:lnTo>
                  <a:lnTo>
                    <a:pt x="570257" y="334272"/>
                  </a:lnTo>
                  <a:lnTo>
                    <a:pt x="573946" y="334272"/>
                  </a:lnTo>
                  <a:lnTo>
                    <a:pt x="577635" y="326899"/>
                  </a:lnTo>
                  <a:lnTo>
                    <a:pt x="581324" y="323204"/>
                  </a:lnTo>
                  <a:lnTo>
                    <a:pt x="577635" y="323204"/>
                  </a:lnTo>
                  <a:lnTo>
                    <a:pt x="581324" y="319517"/>
                  </a:lnTo>
                  <a:lnTo>
                    <a:pt x="577635" y="319517"/>
                  </a:lnTo>
                  <a:lnTo>
                    <a:pt x="573946" y="319517"/>
                  </a:lnTo>
                  <a:lnTo>
                    <a:pt x="570257" y="319517"/>
                  </a:lnTo>
                  <a:lnTo>
                    <a:pt x="555500" y="312136"/>
                  </a:lnTo>
                  <a:lnTo>
                    <a:pt x="548122" y="308440"/>
                  </a:lnTo>
                  <a:lnTo>
                    <a:pt x="533365" y="304754"/>
                  </a:lnTo>
                  <a:lnTo>
                    <a:pt x="537054" y="297372"/>
                  </a:lnTo>
                  <a:lnTo>
                    <a:pt x="533365" y="286294"/>
                  </a:lnTo>
                  <a:lnTo>
                    <a:pt x="529676" y="286294"/>
                  </a:lnTo>
                  <a:lnTo>
                    <a:pt x="525987" y="286294"/>
                  </a:lnTo>
                  <a:lnTo>
                    <a:pt x="525987" y="289990"/>
                  </a:lnTo>
                  <a:lnTo>
                    <a:pt x="522298" y="293676"/>
                  </a:lnTo>
                  <a:lnTo>
                    <a:pt x="518609" y="293676"/>
                  </a:lnTo>
                  <a:lnTo>
                    <a:pt x="511230" y="286294"/>
                  </a:lnTo>
                  <a:lnTo>
                    <a:pt x="507541" y="286294"/>
                  </a:lnTo>
                  <a:lnTo>
                    <a:pt x="503852" y="286294"/>
                  </a:lnTo>
                  <a:lnTo>
                    <a:pt x="500163" y="289990"/>
                  </a:lnTo>
                  <a:lnTo>
                    <a:pt x="496474" y="293676"/>
                  </a:lnTo>
                  <a:lnTo>
                    <a:pt x="496474" y="297372"/>
                  </a:lnTo>
                  <a:lnTo>
                    <a:pt x="492784" y="301058"/>
                  </a:lnTo>
                  <a:lnTo>
                    <a:pt x="489095" y="301058"/>
                  </a:lnTo>
                  <a:lnTo>
                    <a:pt x="485406" y="297372"/>
                  </a:lnTo>
                  <a:lnTo>
                    <a:pt x="481717" y="297372"/>
                  </a:lnTo>
                  <a:lnTo>
                    <a:pt x="478028" y="297372"/>
                  </a:lnTo>
                  <a:lnTo>
                    <a:pt x="474339" y="301058"/>
                  </a:lnTo>
                  <a:lnTo>
                    <a:pt x="470650" y="308440"/>
                  </a:lnTo>
                  <a:lnTo>
                    <a:pt x="466960" y="308440"/>
                  </a:lnTo>
                  <a:lnTo>
                    <a:pt x="466960" y="312136"/>
                  </a:lnTo>
                  <a:lnTo>
                    <a:pt x="463271" y="312136"/>
                  </a:lnTo>
                  <a:lnTo>
                    <a:pt x="459582" y="315822"/>
                  </a:lnTo>
                  <a:lnTo>
                    <a:pt x="455893" y="315822"/>
                  </a:lnTo>
                  <a:lnTo>
                    <a:pt x="448515" y="315822"/>
                  </a:lnTo>
                  <a:lnTo>
                    <a:pt x="444825" y="315822"/>
                  </a:lnTo>
                  <a:lnTo>
                    <a:pt x="444825" y="312136"/>
                  </a:lnTo>
                  <a:lnTo>
                    <a:pt x="444825" y="304754"/>
                  </a:lnTo>
                  <a:lnTo>
                    <a:pt x="441136" y="301058"/>
                  </a:lnTo>
                  <a:lnTo>
                    <a:pt x="441136" y="297372"/>
                  </a:lnTo>
                  <a:lnTo>
                    <a:pt x="437446" y="293676"/>
                  </a:lnTo>
                  <a:lnTo>
                    <a:pt x="433757" y="289990"/>
                  </a:lnTo>
                  <a:lnTo>
                    <a:pt x="430068" y="286294"/>
                  </a:lnTo>
                  <a:lnTo>
                    <a:pt x="426379" y="278922"/>
                  </a:lnTo>
                  <a:lnTo>
                    <a:pt x="422689" y="271540"/>
                  </a:lnTo>
                  <a:lnTo>
                    <a:pt x="419000" y="267844"/>
                  </a:lnTo>
                  <a:lnTo>
                    <a:pt x="433757" y="264158"/>
                  </a:lnTo>
                  <a:lnTo>
                    <a:pt x="437446" y="264158"/>
                  </a:lnTo>
                  <a:lnTo>
                    <a:pt x="433757" y="253081"/>
                  </a:lnTo>
                  <a:lnTo>
                    <a:pt x="430068" y="253081"/>
                  </a:lnTo>
                  <a:lnTo>
                    <a:pt x="426379" y="253081"/>
                  </a:lnTo>
                  <a:lnTo>
                    <a:pt x="422689" y="253081"/>
                  </a:lnTo>
                  <a:lnTo>
                    <a:pt x="419000" y="253081"/>
                  </a:lnTo>
                  <a:lnTo>
                    <a:pt x="415311" y="256776"/>
                  </a:lnTo>
                  <a:lnTo>
                    <a:pt x="411622" y="256776"/>
                  </a:lnTo>
                  <a:lnTo>
                    <a:pt x="407933" y="249394"/>
                  </a:lnTo>
                  <a:lnTo>
                    <a:pt x="411622" y="245699"/>
                  </a:lnTo>
                  <a:lnTo>
                    <a:pt x="411622" y="242013"/>
                  </a:lnTo>
                  <a:lnTo>
                    <a:pt x="415311" y="242013"/>
                  </a:lnTo>
                  <a:lnTo>
                    <a:pt x="419000" y="238317"/>
                  </a:lnTo>
                  <a:lnTo>
                    <a:pt x="422689" y="227249"/>
                  </a:lnTo>
                  <a:lnTo>
                    <a:pt x="433757" y="219867"/>
                  </a:lnTo>
                  <a:lnTo>
                    <a:pt x="437446" y="219867"/>
                  </a:lnTo>
                  <a:lnTo>
                    <a:pt x="441136" y="216181"/>
                  </a:lnTo>
                  <a:lnTo>
                    <a:pt x="444825" y="212485"/>
                  </a:lnTo>
                  <a:lnTo>
                    <a:pt x="430068" y="212485"/>
                  </a:lnTo>
                  <a:lnTo>
                    <a:pt x="422689" y="212485"/>
                  </a:lnTo>
                  <a:lnTo>
                    <a:pt x="426379" y="208799"/>
                  </a:lnTo>
                  <a:lnTo>
                    <a:pt x="422689" y="208799"/>
                  </a:lnTo>
                  <a:lnTo>
                    <a:pt x="422689" y="205103"/>
                  </a:lnTo>
                  <a:lnTo>
                    <a:pt x="419000" y="194035"/>
                  </a:lnTo>
                  <a:lnTo>
                    <a:pt x="419000" y="182967"/>
                  </a:lnTo>
                  <a:lnTo>
                    <a:pt x="422689" y="182967"/>
                  </a:lnTo>
                  <a:lnTo>
                    <a:pt x="419000" y="179271"/>
                  </a:lnTo>
                  <a:lnTo>
                    <a:pt x="404244" y="171889"/>
                  </a:lnTo>
                  <a:lnTo>
                    <a:pt x="404244" y="168203"/>
                  </a:lnTo>
                  <a:lnTo>
                    <a:pt x="407933" y="168203"/>
                  </a:lnTo>
                  <a:lnTo>
                    <a:pt x="411622" y="168203"/>
                  </a:lnTo>
                  <a:lnTo>
                    <a:pt x="411622" y="164508"/>
                  </a:lnTo>
                  <a:lnTo>
                    <a:pt x="415311" y="160821"/>
                  </a:lnTo>
                  <a:lnTo>
                    <a:pt x="411622" y="160821"/>
                  </a:lnTo>
                  <a:lnTo>
                    <a:pt x="415311" y="157126"/>
                  </a:lnTo>
                  <a:lnTo>
                    <a:pt x="419000" y="153440"/>
                  </a:lnTo>
                  <a:lnTo>
                    <a:pt x="426379" y="153440"/>
                  </a:lnTo>
                  <a:lnTo>
                    <a:pt x="426379" y="157126"/>
                  </a:lnTo>
                  <a:lnTo>
                    <a:pt x="430068" y="157126"/>
                  </a:lnTo>
                  <a:lnTo>
                    <a:pt x="437446" y="157126"/>
                  </a:lnTo>
                  <a:lnTo>
                    <a:pt x="441136" y="157126"/>
                  </a:lnTo>
                  <a:lnTo>
                    <a:pt x="444825" y="157126"/>
                  </a:lnTo>
                  <a:lnTo>
                    <a:pt x="444825" y="142362"/>
                  </a:lnTo>
                  <a:lnTo>
                    <a:pt x="455893" y="138676"/>
                  </a:lnTo>
                  <a:lnTo>
                    <a:pt x="441136" y="127608"/>
                  </a:lnTo>
                  <a:lnTo>
                    <a:pt x="437446" y="123912"/>
                  </a:lnTo>
                  <a:lnTo>
                    <a:pt x="430068" y="123912"/>
                  </a:lnTo>
                  <a:lnTo>
                    <a:pt x="426379" y="120226"/>
                  </a:lnTo>
                  <a:lnTo>
                    <a:pt x="422689" y="116530"/>
                  </a:lnTo>
                  <a:lnTo>
                    <a:pt x="422689" y="112844"/>
                  </a:lnTo>
                  <a:lnTo>
                    <a:pt x="419000" y="112844"/>
                  </a:lnTo>
                  <a:lnTo>
                    <a:pt x="415311" y="109148"/>
                  </a:lnTo>
                  <a:lnTo>
                    <a:pt x="415311" y="105462"/>
                  </a:lnTo>
                  <a:lnTo>
                    <a:pt x="411622" y="105462"/>
                  </a:lnTo>
                  <a:lnTo>
                    <a:pt x="411622" y="101766"/>
                  </a:lnTo>
                  <a:lnTo>
                    <a:pt x="411622" y="94385"/>
                  </a:lnTo>
                  <a:lnTo>
                    <a:pt x="407933" y="90698"/>
                  </a:lnTo>
                  <a:lnTo>
                    <a:pt x="407933" y="87012"/>
                  </a:lnTo>
                  <a:lnTo>
                    <a:pt x="404244" y="87012"/>
                  </a:lnTo>
                  <a:lnTo>
                    <a:pt x="400554" y="87012"/>
                  </a:lnTo>
                  <a:lnTo>
                    <a:pt x="396865" y="87012"/>
                  </a:lnTo>
                  <a:lnTo>
                    <a:pt x="396865" y="90698"/>
                  </a:lnTo>
                  <a:lnTo>
                    <a:pt x="393176" y="94385"/>
                  </a:lnTo>
                  <a:lnTo>
                    <a:pt x="385798" y="94385"/>
                  </a:lnTo>
                  <a:lnTo>
                    <a:pt x="382109" y="94385"/>
                  </a:lnTo>
                  <a:lnTo>
                    <a:pt x="378420" y="101766"/>
                  </a:lnTo>
                  <a:lnTo>
                    <a:pt x="374730" y="98080"/>
                  </a:lnTo>
                  <a:lnTo>
                    <a:pt x="371041" y="94385"/>
                  </a:lnTo>
                  <a:lnTo>
                    <a:pt x="374730" y="83316"/>
                  </a:lnTo>
                  <a:lnTo>
                    <a:pt x="363663" y="79630"/>
                  </a:lnTo>
                  <a:lnTo>
                    <a:pt x="359974" y="83316"/>
                  </a:lnTo>
                  <a:lnTo>
                    <a:pt x="356285" y="87012"/>
                  </a:lnTo>
                  <a:lnTo>
                    <a:pt x="352595" y="87012"/>
                  </a:lnTo>
                  <a:lnTo>
                    <a:pt x="348906" y="87012"/>
                  </a:lnTo>
                  <a:lnTo>
                    <a:pt x="345217" y="83316"/>
                  </a:lnTo>
                  <a:lnTo>
                    <a:pt x="345217" y="87012"/>
                  </a:lnTo>
                  <a:lnTo>
                    <a:pt x="341528" y="87012"/>
                  </a:lnTo>
                  <a:lnTo>
                    <a:pt x="334150" y="90698"/>
                  </a:lnTo>
                  <a:lnTo>
                    <a:pt x="330460" y="94385"/>
                  </a:lnTo>
                  <a:lnTo>
                    <a:pt x="326771" y="94385"/>
                  </a:lnTo>
                  <a:lnTo>
                    <a:pt x="323082" y="94385"/>
                  </a:lnTo>
                  <a:lnTo>
                    <a:pt x="312015" y="94385"/>
                  </a:lnTo>
                  <a:lnTo>
                    <a:pt x="304636" y="90698"/>
                  </a:lnTo>
                  <a:lnTo>
                    <a:pt x="300947" y="94385"/>
                  </a:lnTo>
                  <a:lnTo>
                    <a:pt x="297258" y="94385"/>
                  </a:lnTo>
                  <a:lnTo>
                    <a:pt x="293568" y="90698"/>
                  </a:lnTo>
                  <a:lnTo>
                    <a:pt x="289879" y="90698"/>
                  </a:lnTo>
                  <a:lnTo>
                    <a:pt x="289879" y="87012"/>
                  </a:lnTo>
                  <a:lnTo>
                    <a:pt x="289879" y="83316"/>
                  </a:lnTo>
                  <a:lnTo>
                    <a:pt x="289879" y="79630"/>
                  </a:lnTo>
                  <a:lnTo>
                    <a:pt x="293568" y="79630"/>
                  </a:lnTo>
                  <a:lnTo>
                    <a:pt x="293568" y="75935"/>
                  </a:lnTo>
                  <a:lnTo>
                    <a:pt x="297258" y="72248"/>
                  </a:lnTo>
                  <a:lnTo>
                    <a:pt x="297258" y="64867"/>
                  </a:lnTo>
                  <a:lnTo>
                    <a:pt x="297258" y="61171"/>
                  </a:lnTo>
                  <a:lnTo>
                    <a:pt x="297258" y="57485"/>
                  </a:lnTo>
                  <a:lnTo>
                    <a:pt x="297258" y="53789"/>
                  </a:lnTo>
                  <a:lnTo>
                    <a:pt x="300947" y="50103"/>
                  </a:lnTo>
                  <a:lnTo>
                    <a:pt x="304636" y="46407"/>
                  </a:lnTo>
                  <a:lnTo>
                    <a:pt x="308326" y="42721"/>
                  </a:lnTo>
                  <a:lnTo>
                    <a:pt x="308326" y="39035"/>
                  </a:lnTo>
                  <a:lnTo>
                    <a:pt x="308326" y="35339"/>
                  </a:lnTo>
                  <a:lnTo>
                    <a:pt x="312015" y="35339"/>
                  </a:lnTo>
                  <a:lnTo>
                    <a:pt x="312015" y="27957"/>
                  </a:lnTo>
                  <a:lnTo>
                    <a:pt x="315704" y="24271"/>
                  </a:lnTo>
                  <a:lnTo>
                    <a:pt x="319393" y="16889"/>
                  </a:lnTo>
                  <a:lnTo>
                    <a:pt x="312015" y="13193"/>
                  </a:lnTo>
                  <a:lnTo>
                    <a:pt x="308326" y="13193"/>
                  </a:lnTo>
                  <a:lnTo>
                    <a:pt x="304636" y="13193"/>
                  </a:lnTo>
                  <a:lnTo>
                    <a:pt x="300947" y="16889"/>
                  </a:lnTo>
                  <a:lnTo>
                    <a:pt x="297258" y="13193"/>
                  </a:lnTo>
                  <a:lnTo>
                    <a:pt x="297258" y="20575"/>
                  </a:lnTo>
                  <a:lnTo>
                    <a:pt x="286190" y="16889"/>
                  </a:lnTo>
                  <a:lnTo>
                    <a:pt x="260365" y="5812"/>
                  </a:lnTo>
                  <a:close/>
                  <a:moveTo>
                    <a:pt x="42704" y="389631"/>
                  </a:moveTo>
                  <a:lnTo>
                    <a:pt x="39015" y="393327"/>
                  </a:lnTo>
                  <a:lnTo>
                    <a:pt x="42704" y="393327"/>
                  </a:lnTo>
                  <a:lnTo>
                    <a:pt x="42704" y="389631"/>
                  </a:lnTo>
                  <a:close/>
                </a:path>
              </a:pathLst>
            </a:custGeom>
            <a:solidFill>
              <a:srgbClr val="17722B"/>
            </a:solidFill>
            <a:ln w="12821" cap="flat">
              <a:solidFill>
                <a:schemeClr val="bg1"/>
              </a:solidFill>
              <a:prstDash val="solid"/>
              <a:round/>
            </a:ln>
          </p:spPr>
          <p:txBody>
            <a:bodyPr rot="0" spcFirstLastPara="0" vertOverflow="overflow" horzOverflow="overflow" vert="horz" wrap="square" lIns="0" tIns="45720" rIns="144000" bIns="45720" numCol="1" spcCol="0" rtlCol="0" fromWordArt="0" anchor="ctr" anchorCtr="0" forceAA="0" compatLnSpc="1">
              <a:prstTxWarp prst="textNoShape">
                <a:avLst/>
              </a:prstTxWarp>
              <a:noAutofit/>
            </a:bodyPr>
            <a:lstStyle/>
            <a:p>
              <a:pPr marL="0" indent="0" algn="ctr">
                <a:buNone/>
              </a:pPr>
              <a:r>
                <a:rPr lang="nl-NL" sz="800" b="1" dirty="0">
                  <a:solidFill>
                    <a:srgbClr val="FFFFFF"/>
                  </a:solidFill>
                  <a:latin typeface="+mj-lt"/>
                  <a:cs typeface="Arial" panose="020B0604020202020204" pitchFamily="34" charset="0"/>
                </a:rPr>
                <a:t>318</a:t>
              </a:r>
            </a:p>
          </p:txBody>
        </p:sp>
        <p:sp>
          <p:nvSpPr>
            <p:cNvPr id="268" name="Freeform: Shape 267">
              <a:extLst>
                <a:ext uri="{FF2B5EF4-FFF2-40B4-BE49-F238E27FC236}">
                  <a16:creationId xmlns:a16="http://schemas.microsoft.com/office/drawing/2014/main" id="{542C02A4-5D29-4F3F-99C7-4EE4B4C64666}"/>
                </a:ext>
              </a:extLst>
            </p:cNvPr>
            <p:cNvSpPr/>
            <p:nvPr/>
          </p:nvSpPr>
          <p:spPr>
            <a:xfrm>
              <a:off x="4721862" y="4730328"/>
              <a:ext cx="30745" cy="15373"/>
            </a:xfrm>
            <a:custGeom>
              <a:avLst/>
              <a:gdLst>
                <a:gd name="connsiteX0" fmla="*/ 16880 w 19050"/>
                <a:gd name="connsiteY0" fmla="*/ 5812 h 9525"/>
                <a:gd name="connsiteX1" fmla="*/ 13191 w 19050"/>
                <a:gd name="connsiteY1" fmla="*/ 9498 h 9525"/>
                <a:gd name="connsiteX2" fmla="*/ 9501 w 19050"/>
                <a:gd name="connsiteY2" fmla="*/ 9498 h 9525"/>
                <a:gd name="connsiteX3" fmla="*/ 5812 w 19050"/>
                <a:gd name="connsiteY3" fmla="*/ 9498 h 9525"/>
                <a:gd name="connsiteX4" fmla="*/ 5812 w 19050"/>
                <a:gd name="connsiteY4" fmla="*/ 5812 h 9525"/>
                <a:gd name="connsiteX5" fmla="*/ 9501 w 19050"/>
                <a:gd name="connsiteY5" fmla="*/ 5812 h 9525"/>
                <a:gd name="connsiteX6" fmla="*/ 13191 w 19050"/>
                <a:gd name="connsiteY6" fmla="*/ 5812 h 9525"/>
                <a:gd name="connsiteX7" fmla="*/ 20569 w 19050"/>
                <a:gd name="connsiteY7" fmla="*/ 5812 h 9525"/>
                <a:gd name="connsiteX8" fmla="*/ 16880 w 19050"/>
                <a:gd name="connsiteY8"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 h="9525">
                  <a:moveTo>
                    <a:pt x="16880" y="5812"/>
                  </a:moveTo>
                  <a:lnTo>
                    <a:pt x="13191" y="9498"/>
                  </a:lnTo>
                  <a:lnTo>
                    <a:pt x="9501" y="9498"/>
                  </a:lnTo>
                  <a:lnTo>
                    <a:pt x="5812" y="9498"/>
                  </a:lnTo>
                  <a:lnTo>
                    <a:pt x="5812" y="5812"/>
                  </a:lnTo>
                  <a:lnTo>
                    <a:pt x="9501" y="5812"/>
                  </a:lnTo>
                  <a:lnTo>
                    <a:pt x="13191" y="5812"/>
                  </a:lnTo>
                  <a:lnTo>
                    <a:pt x="20569" y="5812"/>
                  </a:lnTo>
                  <a:lnTo>
                    <a:pt x="16880" y="5812"/>
                  </a:lnTo>
                  <a:close/>
                </a:path>
              </a:pathLst>
            </a:custGeom>
            <a:solidFill>
              <a:srgbClr val="17722B"/>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69" name="Freeform: Shape 268">
              <a:extLst>
                <a:ext uri="{FF2B5EF4-FFF2-40B4-BE49-F238E27FC236}">
                  <a16:creationId xmlns:a16="http://schemas.microsoft.com/office/drawing/2014/main" id="{9494616C-D675-473D-8E36-CFC0329FB0D5}"/>
                </a:ext>
              </a:extLst>
            </p:cNvPr>
            <p:cNvSpPr/>
            <p:nvPr/>
          </p:nvSpPr>
          <p:spPr>
            <a:xfrm>
              <a:off x="4698049" y="4670757"/>
              <a:ext cx="61491" cy="46118"/>
            </a:xfrm>
            <a:custGeom>
              <a:avLst/>
              <a:gdLst>
                <a:gd name="connsiteX0" fmla="*/ 31636 w 38100"/>
                <a:gd name="connsiteY0" fmla="*/ 16880 h 28575"/>
                <a:gd name="connsiteX1" fmla="*/ 35325 w 38100"/>
                <a:gd name="connsiteY1" fmla="*/ 20575 h 28575"/>
                <a:gd name="connsiteX2" fmla="*/ 35325 w 38100"/>
                <a:gd name="connsiteY2" fmla="*/ 20575 h 28575"/>
                <a:gd name="connsiteX3" fmla="*/ 31636 w 38100"/>
                <a:gd name="connsiteY3" fmla="*/ 16880 h 28575"/>
                <a:gd name="connsiteX4" fmla="*/ 24257 w 38100"/>
                <a:gd name="connsiteY4" fmla="*/ 16880 h 28575"/>
                <a:gd name="connsiteX5" fmla="*/ 16879 w 38100"/>
                <a:gd name="connsiteY5" fmla="*/ 20575 h 28575"/>
                <a:gd name="connsiteX6" fmla="*/ 9501 w 38100"/>
                <a:gd name="connsiteY6" fmla="*/ 24261 h 28575"/>
                <a:gd name="connsiteX7" fmla="*/ 5812 w 38100"/>
                <a:gd name="connsiteY7" fmla="*/ 24261 h 28575"/>
                <a:gd name="connsiteX8" fmla="*/ 5812 w 38100"/>
                <a:gd name="connsiteY8" fmla="*/ 20575 h 28575"/>
                <a:gd name="connsiteX9" fmla="*/ 5812 w 38100"/>
                <a:gd name="connsiteY9" fmla="*/ 20575 h 28575"/>
                <a:gd name="connsiteX10" fmla="*/ 13190 w 38100"/>
                <a:gd name="connsiteY10" fmla="*/ 16880 h 28575"/>
                <a:gd name="connsiteX11" fmla="*/ 13190 w 38100"/>
                <a:gd name="connsiteY11" fmla="*/ 13193 h 28575"/>
                <a:gd name="connsiteX12" fmla="*/ 16879 w 38100"/>
                <a:gd name="connsiteY12" fmla="*/ 9498 h 28575"/>
                <a:gd name="connsiteX13" fmla="*/ 20568 w 38100"/>
                <a:gd name="connsiteY13" fmla="*/ 5812 h 28575"/>
                <a:gd name="connsiteX14" fmla="*/ 20568 w 38100"/>
                <a:gd name="connsiteY14" fmla="*/ 9498 h 28575"/>
                <a:gd name="connsiteX15" fmla="*/ 24257 w 38100"/>
                <a:gd name="connsiteY15" fmla="*/ 9498 h 28575"/>
                <a:gd name="connsiteX16" fmla="*/ 31636 w 38100"/>
                <a:gd name="connsiteY16" fmla="*/ 16880 h 28575"/>
                <a:gd name="connsiteX17" fmla="*/ 31636 w 38100"/>
                <a:gd name="connsiteY17" fmla="*/ 1688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28575">
                  <a:moveTo>
                    <a:pt x="31636" y="16880"/>
                  </a:moveTo>
                  <a:lnTo>
                    <a:pt x="35325" y="20575"/>
                  </a:lnTo>
                  <a:lnTo>
                    <a:pt x="35325" y="20575"/>
                  </a:lnTo>
                  <a:lnTo>
                    <a:pt x="31636" y="16880"/>
                  </a:lnTo>
                  <a:lnTo>
                    <a:pt x="24257" y="16880"/>
                  </a:lnTo>
                  <a:lnTo>
                    <a:pt x="16879" y="20575"/>
                  </a:lnTo>
                  <a:lnTo>
                    <a:pt x="9501" y="24261"/>
                  </a:lnTo>
                  <a:lnTo>
                    <a:pt x="5812" y="24261"/>
                  </a:lnTo>
                  <a:lnTo>
                    <a:pt x="5812" y="20575"/>
                  </a:lnTo>
                  <a:lnTo>
                    <a:pt x="5812" y="20575"/>
                  </a:lnTo>
                  <a:lnTo>
                    <a:pt x="13190" y="16880"/>
                  </a:lnTo>
                  <a:lnTo>
                    <a:pt x="13190" y="13193"/>
                  </a:lnTo>
                  <a:lnTo>
                    <a:pt x="16879" y="9498"/>
                  </a:lnTo>
                  <a:lnTo>
                    <a:pt x="20568" y="5812"/>
                  </a:lnTo>
                  <a:lnTo>
                    <a:pt x="20568" y="9498"/>
                  </a:lnTo>
                  <a:lnTo>
                    <a:pt x="24257" y="9498"/>
                  </a:lnTo>
                  <a:lnTo>
                    <a:pt x="31636" y="16880"/>
                  </a:lnTo>
                  <a:lnTo>
                    <a:pt x="31636" y="16880"/>
                  </a:lnTo>
                  <a:close/>
                </a:path>
              </a:pathLst>
            </a:custGeom>
            <a:solidFill>
              <a:srgbClr val="17722B"/>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70" name="Freeform: Shape 269">
              <a:extLst>
                <a:ext uri="{FF2B5EF4-FFF2-40B4-BE49-F238E27FC236}">
                  <a16:creationId xmlns:a16="http://schemas.microsoft.com/office/drawing/2014/main" id="{053FE896-1888-413F-8E1D-0753610C462D}"/>
                </a:ext>
              </a:extLst>
            </p:cNvPr>
            <p:cNvSpPr/>
            <p:nvPr/>
          </p:nvSpPr>
          <p:spPr>
            <a:xfrm>
              <a:off x="4644460" y="4599272"/>
              <a:ext cx="461182" cy="261336"/>
            </a:xfrm>
            <a:custGeom>
              <a:avLst/>
              <a:gdLst>
                <a:gd name="connsiteX0" fmla="*/ 90663 w 285750"/>
                <a:gd name="connsiteY0" fmla="*/ 5812 h 161925"/>
                <a:gd name="connsiteX1" fmla="*/ 83285 w 285750"/>
                <a:gd name="connsiteY1" fmla="*/ 9507 h 161925"/>
                <a:gd name="connsiteX2" fmla="*/ 90663 w 285750"/>
                <a:gd name="connsiteY2" fmla="*/ 9507 h 161925"/>
                <a:gd name="connsiteX3" fmla="*/ 90663 w 285750"/>
                <a:gd name="connsiteY3" fmla="*/ 5812 h 161925"/>
                <a:gd name="connsiteX4" fmla="*/ 90663 w 285750"/>
                <a:gd name="connsiteY4" fmla="*/ 9507 h 161925"/>
                <a:gd name="connsiteX5" fmla="*/ 79595 w 285750"/>
                <a:gd name="connsiteY5" fmla="*/ 13194 h 161925"/>
                <a:gd name="connsiteX6" fmla="*/ 75906 w 285750"/>
                <a:gd name="connsiteY6" fmla="*/ 13194 h 161925"/>
                <a:gd name="connsiteX7" fmla="*/ 72217 w 285750"/>
                <a:gd name="connsiteY7" fmla="*/ 13194 h 161925"/>
                <a:gd name="connsiteX8" fmla="*/ 79595 w 285750"/>
                <a:gd name="connsiteY8" fmla="*/ 9507 h 161925"/>
                <a:gd name="connsiteX9" fmla="*/ 68528 w 285750"/>
                <a:gd name="connsiteY9" fmla="*/ 13194 h 161925"/>
                <a:gd name="connsiteX10" fmla="*/ 46393 w 285750"/>
                <a:gd name="connsiteY10" fmla="*/ 20575 h 161925"/>
                <a:gd name="connsiteX11" fmla="*/ 39015 w 285750"/>
                <a:gd name="connsiteY11" fmla="*/ 24271 h 161925"/>
                <a:gd name="connsiteX12" fmla="*/ 35326 w 285750"/>
                <a:gd name="connsiteY12" fmla="*/ 24271 h 161925"/>
                <a:gd name="connsiteX13" fmla="*/ 24258 w 285750"/>
                <a:gd name="connsiteY13" fmla="*/ 27957 h 161925"/>
                <a:gd name="connsiteX14" fmla="*/ 20569 w 285750"/>
                <a:gd name="connsiteY14" fmla="*/ 27957 h 161925"/>
                <a:gd name="connsiteX15" fmla="*/ 16880 w 285750"/>
                <a:gd name="connsiteY15" fmla="*/ 35339 h 161925"/>
                <a:gd name="connsiteX16" fmla="*/ 16880 w 285750"/>
                <a:gd name="connsiteY16" fmla="*/ 39035 h 161925"/>
                <a:gd name="connsiteX17" fmla="*/ 16880 w 285750"/>
                <a:gd name="connsiteY17" fmla="*/ 42721 h 161925"/>
                <a:gd name="connsiteX18" fmla="*/ 20569 w 285750"/>
                <a:gd name="connsiteY18" fmla="*/ 53789 h 161925"/>
                <a:gd name="connsiteX19" fmla="*/ 20569 w 285750"/>
                <a:gd name="connsiteY19" fmla="*/ 57485 h 161925"/>
                <a:gd name="connsiteX20" fmla="*/ 24258 w 285750"/>
                <a:gd name="connsiteY20" fmla="*/ 57485 h 161925"/>
                <a:gd name="connsiteX21" fmla="*/ 24258 w 285750"/>
                <a:gd name="connsiteY21" fmla="*/ 61171 h 161925"/>
                <a:gd name="connsiteX22" fmla="*/ 27947 w 285750"/>
                <a:gd name="connsiteY22" fmla="*/ 61171 h 161925"/>
                <a:gd name="connsiteX23" fmla="*/ 35326 w 285750"/>
                <a:gd name="connsiteY23" fmla="*/ 57485 h 161925"/>
                <a:gd name="connsiteX24" fmla="*/ 35326 w 285750"/>
                <a:gd name="connsiteY24" fmla="*/ 53789 h 161925"/>
                <a:gd name="connsiteX25" fmla="*/ 31636 w 285750"/>
                <a:gd name="connsiteY25" fmla="*/ 53789 h 161925"/>
                <a:gd name="connsiteX26" fmla="*/ 31636 w 285750"/>
                <a:gd name="connsiteY26" fmla="*/ 50103 h 161925"/>
                <a:gd name="connsiteX27" fmla="*/ 35326 w 285750"/>
                <a:gd name="connsiteY27" fmla="*/ 50103 h 161925"/>
                <a:gd name="connsiteX28" fmla="*/ 39015 w 285750"/>
                <a:gd name="connsiteY28" fmla="*/ 50103 h 161925"/>
                <a:gd name="connsiteX29" fmla="*/ 42704 w 285750"/>
                <a:gd name="connsiteY29" fmla="*/ 50103 h 161925"/>
                <a:gd name="connsiteX30" fmla="*/ 46393 w 285750"/>
                <a:gd name="connsiteY30" fmla="*/ 46417 h 161925"/>
                <a:gd name="connsiteX31" fmla="*/ 50082 w 285750"/>
                <a:gd name="connsiteY31" fmla="*/ 46417 h 161925"/>
                <a:gd name="connsiteX32" fmla="*/ 53771 w 285750"/>
                <a:gd name="connsiteY32" fmla="*/ 46417 h 161925"/>
                <a:gd name="connsiteX33" fmla="*/ 57460 w 285750"/>
                <a:gd name="connsiteY33" fmla="*/ 46417 h 161925"/>
                <a:gd name="connsiteX34" fmla="*/ 61150 w 285750"/>
                <a:gd name="connsiteY34" fmla="*/ 42721 h 161925"/>
                <a:gd name="connsiteX35" fmla="*/ 64839 w 285750"/>
                <a:gd name="connsiteY35" fmla="*/ 39035 h 161925"/>
                <a:gd name="connsiteX36" fmla="*/ 72217 w 285750"/>
                <a:gd name="connsiteY36" fmla="*/ 42721 h 161925"/>
                <a:gd name="connsiteX37" fmla="*/ 79595 w 285750"/>
                <a:gd name="connsiteY37" fmla="*/ 42721 h 161925"/>
                <a:gd name="connsiteX38" fmla="*/ 86974 w 285750"/>
                <a:gd name="connsiteY38" fmla="*/ 46417 h 161925"/>
                <a:gd name="connsiteX39" fmla="*/ 86974 w 285750"/>
                <a:gd name="connsiteY39" fmla="*/ 50103 h 161925"/>
                <a:gd name="connsiteX40" fmla="*/ 90663 w 285750"/>
                <a:gd name="connsiteY40" fmla="*/ 53789 h 161925"/>
                <a:gd name="connsiteX41" fmla="*/ 94352 w 285750"/>
                <a:gd name="connsiteY41" fmla="*/ 61171 h 161925"/>
                <a:gd name="connsiteX42" fmla="*/ 98041 w 285750"/>
                <a:gd name="connsiteY42" fmla="*/ 61171 h 161925"/>
                <a:gd name="connsiteX43" fmla="*/ 98041 w 285750"/>
                <a:gd name="connsiteY43" fmla="*/ 68553 h 161925"/>
                <a:gd name="connsiteX44" fmla="*/ 98041 w 285750"/>
                <a:gd name="connsiteY44" fmla="*/ 72248 h 161925"/>
                <a:gd name="connsiteX45" fmla="*/ 94352 w 285750"/>
                <a:gd name="connsiteY45" fmla="*/ 72248 h 161925"/>
                <a:gd name="connsiteX46" fmla="*/ 94352 w 285750"/>
                <a:gd name="connsiteY46" fmla="*/ 75935 h 161925"/>
                <a:gd name="connsiteX47" fmla="*/ 98041 w 285750"/>
                <a:gd name="connsiteY47" fmla="*/ 75935 h 161925"/>
                <a:gd name="connsiteX48" fmla="*/ 94352 w 285750"/>
                <a:gd name="connsiteY48" fmla="*/ 79630 h 161925"/>
                <a:gd name="connsiteX49" fmla="*/ 94352 w 285750"/>
                <a:gd name="connsiteY49" fmla="*/ 83317 h 161925"/>
                <a:gd name="connsiteX50" fmla="*/ 98041 w 285750"/>
                <a:gd name="connsiteY50" fmla="*/ 90698 h 161925"/>
                <a:gd name="connsiteX51" fmla="*/ 101730 w 285750"/>
                <a:gd name="connsiteY51" fmla="*/ 90698 h 161925"/>
                <a:gd name="connsiteX52" fmla="*/ 101730 w 285750"/>
                <a:gd name="connsiteY52" fmla="*/ 94394 h 161925"/>
                <a:gd name="connsiteX53" fmla="*/ 105420 w 285750"/>
                <a:gd name="connsiteY53" fmla="*/ 98080 h 161925"/>
                <a:gd name="connsiteX54" fmla="*/ 105420 w 285750"/>
                <a:gd name="connsiteY54" fmla="*/ 101766 h 161925"/>
                <a:gd name="connsiteX55" fmla="*/ 109109 w 285750"/>
                <a:gd name="connsiteY55" fmla="*/ 109148 h 161925"/>
                <a:gd name="connsiteX56" fmla="*/ 109109 w 285750"/>
                <a:gd name="connsiteY56" fmla="*/ 116530 h 161925"/>
                <a:gd name="connsiteX57" fmla="*/ 112798 w 285750"/>
                <a:gd name="connsiteY57" fmla="*/ 116530 h 161925"/>
                <a:gd name="connsiteX58" fmla="*/ 116487 w 285750"/>
                <a:gd name="connsiteY58" fmla="*/ 116530 h 161925"/>
                <a:gd name="connsiteX59" fmla="*/ 120176 w 285750"/>
                <a:gd name="connsiteY59" fmla="*/ 120226 h 161925"/>
                <a:gd name="connsiteX60" fmla="*/ 123865 w 285750"/>
                <a:gd name="connsiteY60" fmla="*/ 116530 h 161925"/>
                <a:gd name="connsiteX61" fmla="*/ 123865 w 285750"/>
                <a:gd name="connsiteY61" fmla="*/ 120226 h 161925"/>
                <a:gd name="connsiteX62" fmla="*/ 131244 w 285750"/>
                <a:gd name="connsiteY62" fmla="*/ 120226 h 161925"/>
                <a:gd name="connsiteX63" fmla="*/ 138622 w 285750"/>
                <a:gd name="connsiteY63" fmla="*/ 120226 h 161925"/>
                <a:gd name="connsiteX64" fmla="*/ 142311 w 285750"/>
                <a:gd name="connsiteY64" fmla="*/ 120226 h 161925"/>
                <a:gd name="connsiteX65" fmla="*/ 146001 w 285750"/>
                <a:gd name="connsiteY65" fmla="*/ 120226 h 161925"/>
                <a:gd name="connsiteX66" fmla="*/ 149690 w 285750"/>
                <a:gd name="connsiteY66" fmla="*/ 123912 h 161925"/>
                <a:gd name="connsiteX67" fmla="*/ 160758 w 285750"/>
                <a:gd name="connsiteY67" fmla="*/ 127608 h 161925"/>
                <a:gd name="connsiteX68" fmla="*/ 164447 w 285750"/>
                <a:gd name="connsiteY68" fmla="*/ 134990 h 161925"/>
                <a:gd name="connsiteX69" fmla="*/ 168136 w 285750"/>
                <a:gd name="connsiteY69" fmla="*/ 138676 h 161925"/>
                <a:gd name="connsiteX70" fmla="*/ 175515 w 285750"/>
                <a:gd name="connsiteY70" fmla="*/ 138676 h 161925"/>
                <a:gd name="connsiteX71" fmla="*/ 179204 w 285750"/>
                <a:gd name="connsiteY71" fmla="*/ 138676 h 161925"/>
                <a:gd name="connsiteX72" fmla="*/ 179204 w 285750"/>
                <a:gd name="connsiteY72" fmla="*/ 142372 h 161925"/>
                <a:gd name="connsiteX73" fmla="*/ 186582 w 285750"/>
                <a:gd name="connsiteY73" fmla="*/ 142372 h 161925"/>
                <a:gd name="connsiteX74" fmla="*/ 190271 w 285750"/>
                <a:gd name="connsiteY74" fmla="*/ 146058 h 161925"/>
                <a:gd name="connsiteX75" fmla="*/ 193960 w 285750"/>
                <a:gd name="connsiteY75" fmla="*/ 146058 h 161925"/>
                <a:gd name="connsiteX76" fmla="*/ 193960 w 285750"/>
                <a:gd name="connsiteY76" fmla="*/ 149744 h 161925"/>
                <a:gd name="connsiteX77" fmla="*/ 193960 w 285750"/>
                <a:gd name="connsiteY77" fmla="*/ 153440 h 161925"/>
                <a:gd name="connsiteX78" fmla="*/ 201339 w 285750"/>
                <a:gd name="connsiteY78" fmla="*/ 157126 h 161925"/>
                <a:gd name="connsiteX79" fmla="*/ 205028 w 285750"/>
                <a:gd name="connsiteY79" fmla="*/ 160821 h 161925"/>
                <a:gd name="connsiteX80" fmla="*/ 216095 w 285750"/>
                <a:gd name="connsiteY80" fmla="*/ 160821 h 161925"/>
                <a:gd name="connsiteX81" fmla="*/ 219785 w 285750"/>
                <a:gd name="connsiteY81" fmla="*/ 160821 h 161925"/>
                <a:gd name="connsiteX82" fmla="*/ 223474 w 285750"/>
                <a:gd name="connsiteY82" fmla="*/ 160821 h 161925"/>
                <a:gd name="connsiteX83" fmla="*/ 230852 w 285750"/>
                <a:gd name="connsiteY83" fmla="*/ 157126 h 161925"/>
                <a:gd name="connsiteX84" fmla="*/ 238230 w 285750"/>
                <a:gd name="connsiteY84" fmla="*/ 157126 h 161925"/>
                <a:gd name="connsiteX85" fmla="*/ 241919 w 285750"/>
                <a:gd name="connsiteY85" fmla="*/ 157126 h 161925"/>
                <a:gd name="connsiteX86" fmla="*/ 252987 w 285750"/>
                <a:gd name="connsiteY86" fmla="*/ 153440 h 161925"/>
                <a:gd name="connsiteX87" fmla="*/ 260365 w 285750"/>
                <a:gd name="connsiteY87" fmla="*/ 149744 h 161925"/>
                <a:gd name="connsiteX88" fmla="*/ 264054 w 285750"/>
                <a:gd name="connsiteY88" fmla="*/ 146058 h 161925"/>
                <a:gd name="connsiteX89" fmla="*/ 267744 w 285750"/>
                <a:gd name="connsiteY89" fmla="*/ 138676 h 161925"/>
                <a:gd name="connsiteX90" fmla="*/ 267744 w 285750"/>
                <a:gd name="connsiteY90" fmla="*/ 134990 h 161925"/>
                <a:gd name="connsiteX91" fmla="*/ 264054 w 285750"/>
                <a:gd name="connsiteY91" fmla="*/ 134990 h 161925"/>
                <a:gd name="connsiteX92" fmla="*/ 264054 w 285750"/>
                <a:gd name="connsiteY92" fmla="*/ 131294 h 161925"/>
                <a:gd name="connsiteX93" fmla="*/ 267744 w 285750"/>
                <a:gd name="connsiteY93" fmla="*/ 131294 h 161925"/>
                <a:gd name="connsiteX94" fmla="*/ 271433 w 285750"/>
                <a:gd name="connsiteY94" fmla="*/ 131294 h 161925"/>
                <a:gd name="connsiteX95" fmla="*/ 275122 w 285750"/>
                <a:gd name="connsiteY95" fmla="*/ 131294 h 161925"/>
                <a:gd name="connsiteX96" fmla="*/ 278811 w 285750"/>
                <a:gd name="connsiteY96" fmla="*/ 131294 h 161925"/>
                <a:gd name="connsiteX97" fmla="*/ 286189 w 285750"/>
                <a:gd name="connsiteY97" fmla="*/ 127608 h 161925"/>
                <a:gd name="connsiteX98" fmla="*/ 282500 w 285750"/>
                <a:gd name="connsiteY98" fmla="*/ 127608 h 161925"/>
                <a:gd name="connsiteX99" fmla="*/ 282500 w 285750"/>
                <a:gd name="connsiteY99" fmla="*/ 123912 h 161925"/>
                <a:gd name="connsiteX100" fmla="*/ 282500 w 285750"/>
                <a:gd name="connsiteY100" fmla="*/ 120226 h 161925"/>
                <a:gd name="connsiteX101" fmla="*/ 278811 w 285750"/>
                <a:gd name="connsiteY101" fmla="*/ 120226 h 161925"/>
                <a:gd name="connsiteX102" fmla="*/ 275122 w 285750"/>
                <a:gd name="connsiteY102" fmla="*/ 123912 h 161925"/>
                <a:gd name="connsiteX103" fmla="*/ 267744 w 285750"/>
                <a:gd name="connsiteY103" fmla="*/ 123912 h 161925"/>
                <a:gd name="connsiteX104" fmla="*/ 260365 w 285750"/>
                <a:gd name="connsiteY104" fmla="*/ 123912 h 161925"/>
                <a:gd name="connsiteX105" fmla="*/ 252987 w 285750"/>
                <a:gd name="connsiteY105" fmla="*/ 123912 h 161925"/>
                <a:gd name="connsiteX106" fmla="*/ 249298 w 285750"/>
                <a:gd name="connsiteY106" fmla="*/ 123912 h 161925"/>
                <a:gd name="connsiteX107" fmla="*/ 241919 w 285750"/>
                <a:gd name="connsiteY107" fmla="*/ 123912 h 161925"/>
                <a:gd name="connsiteX108" fmla="*/ 234541 w 285750"/>
                <a:gd name="connsiteY108" fmla="*/ 112844 h 161925"/>
                <a:gd name="connsiteX109" fmla="*/ 227163 w 285750"/>
                <a:gd name="connsiteY109" fmla="*/ 112844 h 161925"/>
                <a:gd name="connsiteX110" fmla="*/ 223474 w 285750"/>
                <a:gd name="connsiteY110" fmla="*/ 109148 h 161925"/>
                <a:gd name="connsiteX111" fmla="*/ 219785 w 285750"/>
                <a:gd name="connsiteY111" fmla="*/ 109148 h 161925"/>
                <a:gd name="connsiteX112" fmla="*/ 216095 w 285750"/>
                <a:gd name="connsiteY112" fmla="*/ 105462 h 161925"/>
                <a:gd name="connsiteX113" fmla="*/ 216095 w 285750"/>
                <a:gd name="connsiteY113" fmla="*/ 101766 h 161925"/>
                <a:gd name="connsiteX114" fmla="*/ 208717 w 285750"/>
                <a:gd name="connsiteY114" fmla="*/ 98080 h 161925"/>
                <a:gd name="connsiteX115" fmla="*/ 208717 w 285750"/>
                <a:gd name="connsiteY115" fmla="*/ 94394 h 161925"/>
                <a:gd name="connsiteX116" fmla="*/ 208717 w 285750"/>
                <a:gd name="connsiteY116" fmla="*/ 90698 h 161925"/>
                <a:gd name="connsiteX117" fmla="*/ 205028 w 285750"/>
                <a:gd name="connsiteY117" fmla="*/ 90698 h 161925"/>
                <a:gd name="connsiteX118" fmla="*/ 193960 w 285750"/>
                <a:gd name="connsiteY118" fmla="*/ 79630 h 161925"/>
                <a:gd name="connsiteX119" fmla="*/ 182893 w 285750"/>
                <a:gd name="connsiteY119" fmla="*/ 68553 h 161925"/>
                <a:gd name="connsiteX120" fmla="*/ 179204 w 285750"/>
                <a:gd name="connsiteY120" fmla="*/ 68553 h 161925"/>
                <a:gd name="connsiteX121" fmla="*/ 179204 w 285750"/>
                <a:gd name="connsiteY121" fmla="*/ 64867 h 161925"/>
                <a:gd name="connsiteX122" fmla="*/ 171825 w 285750"/>
                <a:gd name="connsiteY122" fmla="*/ 64867 h 161925"/>
                <a:gd name="connsiteX123" fmla="*/ 168136 w 285750"/>
                <a:gd name="connsiteY123" fmla="*/ 61171 h 161925"/>
                <a:gd name="connsiteX124" fmla="*/ 164447 w 285750"/>
                <a:gd name="connsiteY124" fmla="*/ 61171 h 161925"/>
                <a:gd name="connsiteX125" fmla="*/ 157069 w 285750"/>
                <a:gd name="connsiteY125" fmla="*/ 53789 h 161925"/>
                <a:gd name="connsiteX126" fmla="*/ 149690 w 285750"/>
                <a:gd name="connsiteY126" fmla="*/ 50103 h 161925"/>
                <a:gd name="connsiteX127" fmla="*/ 146001 w 285750"/>
                <a:gd name="connsiteY127" fmla="*/ 50103 h 161925"/>
                <a:gd name="connsiteX128" fmla="*/ 131244 w 285750"/>
                <a:gd name="connsiteY128" fmla="*/ 42721 h 161925"/>
                <a:gd name="connsiteX129" fmla="*/ 127555 w 285750"/>
                <a:gd name="connsiteY129" fmla="*/ 39035 h 161925"/>
                <a:gd name="connsiteX130" fmla="*/ 116487 w 285750"/>
                <a:gd name="connsiteY130" fmla="*/ 35339 h 161925"/>
                <a:gd name="connsiteX131" fmla="*/ 116487 w 285750"/>
                <a:gd name="connsiteY131" fmla="*/ 31653 h 161925"/>
                <a:gd name="connsiteX132" fmla="*/ 112798 w 285750"/>
                <a:gd name="connsiteY132" fmla="*/ 27957 h 161925"/>
                <a:gd name="connsiteX133" fmla="*/ 109109 w 285750"/>
                <a:gd name="connsiteY133" fmla="*/ 27957 h 161925"/>
                <a:gd name="connsiteX134" fmla="*/ 109109 w 285750"/>
                <a:gd name="connsiteY134" fmla="*/ 31653 h 161925"/>
                <a:gd name="connsiteX135" fmla="*/ 105420 w 285750"/>
                <a:gd name="connsiteY135" fmla="*/ 27957 h 161925"/>
                <a:gd name="connsiteX136" fmla="*/ 109109 w 285750"/>
                <a:gd name="connsiteY136" fmla="*/ 27957 h 161925"/>
                <a:gd name="connsiteX137" fmla="*/ 109109 w 285750"/>
                <a:gd name="connsiteY137" fmla="*/ 24271 h 161925"/>
                <a:gd name="connsiteX138" fmla="*/ 109109 w 285750"/>
                <a:gd name="connsiteY138" fmla="*/ 20575 h 161925"/>
                <a:gd name="connsiteX139" fmla="*/ 105420 w 285750"/>
                <a:gd name="connsiteY139" fmla="*/ 20575 h 161925"/>
                <a:gd name="connsiteX140" fmla="*/ 105420 w 285750"/>
                <a:gd name="connsiteY140" fmla="*/ 24271 h 161925"/>
                <a:gd name="connsiteX141" fmla="*/ 101730 w 285750"/>
                <a:gd name="connsiteY141" fmla="*/ 24271 h 161925"/>
                <a:gd name="connsiteX142" fmla="*/ 101730 w 285750"/>
                <a:gd name="connsiteY142" fmla="*/ 20575 h 161925"/>
                <a:gd name="connsiteX143" fmla="*/ 94352 w 285750"/>
                <a:gd name="connsiteY143" fmla="*/ 16889 h 161925"/>
                <a:gd name="connsiteX144" fmla="*/ 94352 w 285750"/>
                <a:gd name="connsiteY144" fmla="*/ 13194 h 161925"/>
                <a:gd name="connsiteX145" fmla="*/ 90663 w 285750"/>
                <a:gd name="connsiteY145" fmla="*/ 9507 h 161925"/>
                <a:gd name="connsiteX146" fmla="*/ 20569 w 285750"/>
                <a:gd name="connsiteY146" fmla="*/ 61171 h 161925"/>
                <a:gd name="connsiteX147" fmla="*/ 16880 w 285750"/>
                <a:gd name="connsiteY147" fmla="*/ 68553 h 161925"/>
                <a:gd name="connsiteX148" fmla="*/ 13191 w 285750"/>
                <a:gd name="connsiteY148" fmla="*/ 72248 h 161925"/>
                <a:gd name="connsiteX149" fmla="*/ 5812 w 285750"/>
                <a:gd name="connsiteY149" fmla="*/ 75935 h 161925"/>
                <a:gd name="connsiteX150" fmla="*/ 9501 w 285750"/>
                <a:gd name="connsiteY150" fmla="*/ 75935 h 161925"/>
                <a:gd name="connsiteX151" fmla="*/ 16880 w 285750"/>
                <a:gd name="connsiteY151" fmla="*/ 79630 h 161925"/>
                <a:gd name="connsiteX152" fmla="*/ 20569 w 285750"/>
                <a:gd name="connsiteY152" fmla="*/ 83317 h 161925"/>
                <a:gd name="connsiteX153" fmla="*/ 24258 w 285750"/>
                <a:gd name="connsiteY153" fmla="*/ 83317 h 161925"/>
                <a:gd name="connsiteX154" fmla="*/ 24258 w 285750"/>
                <a:gd name="connsiteY154" fmla="*/ 79630 h 161925"/>
                <a:gd name="connsiteX155" fmla="*/ 20569 w 285750"/>
                <a:gd name="connsiteY155" fmla="*/ 75935 h 161925"/>
                <a:gd name="connsiteX156" fmla="*/ 16880 w 285750"/>
                <a:gd name="connsiteY156" fmla="*/ 72248 h 161925"/>
                <a:gd name="connsiteX157" fmla="*/ 20569 w 285750"/>
                <a:gd name="connsiteY157" fmla="*/ 6117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285750" h="161925">
                  <a:moveTo>
                    <a:pt x="90663" y="5812"/>
                  </a:moveTo>
                  <a:lnTo>
                    <a:pt x="83285" y="9507"/>
                  </a:lnTo>
                  <a:lnTo>
                    <a:pt x="90663" y="9507"/>
                  </a:lnTo>
                  <a:lnTo>
                    <a:pt x="90663" y="5812"/>
                  </a:lnTo>
                  <a:close/>
                  <a:moveTo>
                    <a:pt x="90663" y="9507"/>
                  </a:moveTo>
                  <a:lnTo>
                    <a:pt x="79595" y="13194"/>
                  </a:lnTo>
                  <a:lnTo>
                    <a:pt x="75906" y="13194"/>
                  </a:lnTo>
                  <a:lnTo>
                    <a:pt x="72217" y="13194"/>
                  </a:lnTo>
                  <a:lnTo>
                    <a:pt x="79595" y="9507"/>
                  </a:lnTo>
                  <a:lnTo>
                    <a:pt x="68528" y="13194"/>
                  </a:lnTo>
                  <a:lnTo>
                    <a:pt x="46393" y="20575"/>
                  </a:lnTo>
                  <a:lnTo>
                    <a:pt x="39015" y="24271"/>
                  </a:lnTo>
                  <a:lnTo>
                    <a:pt x="35326" y="24271"/>
                  </a:lnTo>
                  <a:lnTo>
                    <a:pt x="24258" y="27957"/>
                  </a:lnTo>
                  <a:lnTo>
                    <a:pt x="20569" y="27957"/>
                  </a:lnTo>
                  <a:lnTo>
                    <a:pt x="16880" y="35339"/>
                  </a:lnTo>
                  <a:lnTo>
                    <a:pt x="16880" y="39035"/>
                  </a:lnTo>
                  <a:lnTo>
                    <a:pt x="16880" y="42721"/>
                  </a:lnTo>
                  <a:lnTo>
                    <a:pt x="20569" y="53789"/>
                  </a:lnTo>
                  <a:lnTo>
                    <a:pt x="20569" y="57485"/>
                  </a:lnTo>
                  <a:lnTo>
                    <a:pt x="24258" y="57485"/>
                  </a:lnTo>
                  <a:lnTo>
                    <a:pt x="24258" y="61171"/>
                  </a:lnTo>
                  <a:lnTo>
                    <a:pt x="27947" y="61171"/>
                  </a:lnTo>
                  <a:lnTo>
                    <a:pt x="35326" y="57485"/>
                  </a:lnTo>
                  <a:lnTo>
                    <a:pt x="35326" y="53789"/>
                  </a:lnTo>
                  <a:lnTo>
                    <a:pt x="31636" y="53789"/>
                  </a:lnTo>
                  <a:lnTo>
                    <a:pt x="31636" y="50103"/>
                  </a:lnTo>
                  <a:lnTo>
                    <a:pt x="35326" y="50103"/>
                  </a:lnTo>
                  <a:lnTo>
                    <a:pt x="39015" y="50103"/>
                  </a:lnTo>
                  <a:lnTo>
                    <a:pt x="42704" y="50103"/>
                  </a:lnTo>
                  <a:lnTo>
                    <a:pt x="46393" y="46417"/>
                  </a:lnTo>
                  <a:lnTo>
                    <a:pt x="50082" y="46417"/>
                  </a:lnTo>
                  <a:lnTo>
                    <a:pt x="53771" y="46417"/>
                  </a:lnTo>
                  <a:lnTo>
                    <a:pt x="57460" y="46417"/>
                  </a:lnTo>
                  <a:lnTo>
                    <a:pt x="61150" y="42721"/>
                  </a:lnTo>
                  <a:lnTo>
                    <a:pt x="64839" y="39035"/>
                  </a:lnTo>
                  <a:lnTo>
                    <a:pt x="72217" y="42721"/>
                  </a:lnTo>
                  <a:lnTo>
                    <a:pt x="79595" y="42721"/>
                  </a:lnTo>
                  <a:lnTo>
                    <a:pt x="86974" y="46417"/>
                  </a:lnTo>
                  <a:lnTo>
                    <a:pt x="86974" y="50103"/>
                  </a:lnTo>
                  <a:lnTo>
                    <a:pt x="90663" y="53789"/>
                  </a:lnTo>
                  <a:lnTo>
                    <a:pt x="94352" y="61171"/>
                  </a:lnTo>
                  <a:lnTo>
                    <a:pt x="98041" y="61171"/>
                  </a:lnTo>
                  <a:lnTo>
                    <a:pt x="98041" y="68553"/>
                  </a:lnTo>
                  <a:lnTo>
                    <a:pt x="98041" y="72248"/>
                  </a:lnTo>
                  <a:lnTo>
                    <a:pt x="94352" y="72248"/>
                  </a:lnTo>
                  <a:lnTo>
                    <a:pt x="94352" y="75935"/>
                  </a:lnTo>
                  <a:lnTo>
                    <a:pt x="98041" y="75935"/>
                  </a:lnTo>
                  <a:lnTo>
                    <a:pt x="94352" y="79630"/>
                  </a:lnTo>
                  <a:lnTo>
                    <a:pt x="94352" y="83317"/>
                  </a:lnTo>
                  <a:lnTo>
                    <a:pt x="98041" y="90698"/>
                  </a:lnTo>
                  <a:lnTo>
                    <a:pt x="101730" y="90698"/>
                  </a:lnTo>
                  <a:lnTo>
                    <a:pt x="101730" y="94394"/>
                  </a:lnTo>
                  <a:lnTo>
                    <a:pt x="105420" y="98080"/>
                  </a:lnTo>
                  <a:lnTo>
                    <a:pt x="105420" y="101766"/>
                  </a:lnTo>
                  <a:lnTo>
                    <a:pt x="109109" y="109148"/>
                  </a:lnTo>
                  <a:lnTo>
                    <a:pt x="109109" y="116530"/>
                  </a:lnTo>
                  <a:lnTo>
                    <a:pt x="112798" y="116530"/>
                  </a:lnTo>
                  <a:lnTo>
                    <a:pt x="116487" y="116530"/>
                  </a:lnTo>
                  <a:lnTo>
                    <a:pt x="120176" y="120226"/>
                  </a:lnTo>
                  <a:lnTo>
                    <a:pt x="123865" y="116530"/>
                  </a:lnTo>
                  <a:lnTo>
                    <a:pt x="123865" y="120226"/>
                  </a:lnTo>
                  <a:lnTo>
                    <a:pt x="131244" y="120226"/>
                  </a:lnTo>
                  <a:lnTo>
                    <a:pt x="138622" y="120226"/>
                  </a:lnTo>
                  <a:lnTo>
                    <a:pt x="142311" y="120226"/>
                  </a:lnTo>
                  <a:lnTo>
                    <a:pt x="146001" y="120226"/>
                  </a:lnTo>
                  <a:lnTo>
                    <a:pt x="149690" y="123912"/>
                  </a:lnTo>
                  <a:lnTo>
                    <a:pt x="160758" y="127608"/>
                  </a:lnTo>
                  <a:lnTo>
                    <a:pt x="164447" y="134990"/>
                  </a:lnTo>
                  <a:lnTo>
                    <a:pt x="168136" y="138676"/>
                  </a:lnTo>
                  <a:lnTo>
                    <a:pt x="175515" y="138676"/>
                  </a:lnTo>
                  <a:lnTo>
                    <a:pt x="179204" y="138676"/>
                  </a:lnTo>
                  <a:lnTo>
                    <a:pt x="179204" y="142372"/>
                  </a:lnTo>
                  <a:lnTo>
                    <a:pt x="186582" y="142372"/>
                  </a:lnTo>
                  <a:lnTo>
                    <a:pt x="190271" y="146058"/>
                  </a:lnTo>
                  <a:lnTo>
                    <a:pt x="193960" y="146058"/>
                  </a:lnTo>
                  <a:lnTo>
                    <a:pt x="193960" y="149744"/>
                  </a:lnTo>
                  <a:lnTo>
                    <a:pt x="193960" y="153440"/>
                  </a:lnTo>
                  <a:lnTo>
                    <a:pt x="201339" y="157126"/>
                  </a:lnTo>
                  <a:lnTo>
                    <a:pt x="205028" y="160821"/>
                  </a:lnTo>
                  <a:lnTo>
                    <a:pt x="216095" y="160821"/>
                  </a:lnTo>
                  <a:lnTo>
                    <a:pt x="219785" y="160821"/>
                  </a:lnTo>
                  <a:lnTo>
                    <a:pt x="223474" y="160821"/>
                  </a:lnTo>
                  <a:lnTo>
                    <a:pt x="230852" y="157126"/>
                  </a:lnTo>
                  <a:lnTo>
                    <a:pt x="238230" y="157126"/>
                  </a:lnTo>
                  <a:lnTo>
                    <a:pt x="241919" y="157126"/>
                  </a:lnTo>
                  <a:lnTo>
                    <a:pt x="252987" y="153440"/>
                  </a:lnTo>
                  <a:lnTo>
                    <a:pt x="260365" y="149744"/>
                  </a:lnTo>
                  <a:lnTo>
                    <a:pt x="264054" y="146058"/>
                  </a:lnTo>
                  <a:lnTo>
                    <a:pt x="267744" y="138676"/>
                  </a:lnTo>
                  <a:lnTo>
                    <a:pt x="267744" y="134990"/>
                  </a:lnTo>
                  <a:lnTo>
                    <a:pt x="264054" y="134990"/>
                  </a:lnTo>
                  <a:lnTo>
                    <a:pt x="264054" y="131294"/>
                  </a:lnTo>
                  <a:lnTo>
                    <a:pt x="267744" y="131294"/>
                  </a:lnTo>
                  <a:lnTo>
                    <a:pt x="271433" y="131294"/>
                  </a:lnTo>
                  <a:lnTo>
                    <a:pt x="275122" y="131294"/>
                  </a:lnTo>
                  <a:lnTo>
                    <a:pt x="278811" y="131294"/>
                  </a:lnTo>
                  <a:lnTo>
                    <a:pt x="286189" y="127608"/>
                  </a:lnTo>
                  <a:lnTo>
                    <a:pt x="282500" y="127608"/>
                  </a:lnTo>
                  <a:lnTo>
                    <a:pt x="282500" y="123912"/>
                  </a:lnTo>
                  <a:lnTo>
                    <a:pt x="282500" y="120226"/>
                  </a:lnTo>
                  <a:lnTo>
                    <a:pt x="278811" y="120226"/>
                  </a:lnTo>
                  <a:lnTo>
                    <a:pt x="275122" y="123912"/>
                  </a:lnTo>
                  <a:lnTo>
                    <a:pt x="267744" y="123912"/>
                  </a:lnTo>
                  <a:lnTo>
                    <a:pt x="260365" y="123912"/>
                  </a:lnTo>
                  <a:lnTo>
                    <a:pt x="252987" y="123912"/>
                  </a:lnTo>
                  <a:lnTo>
                    <a:pt x="249298" y="123912"/>
                  </a:lnTo>
                  <a:lnTo>
                    <a:pt x="241919" y="123912"/>
                  </a:lnTo>
                  <a:lnTo>
                    <a:pt x="234541" y="112844"/>
                  </a:lnTo>
                  <a:lnTo>
                    <a:pt x="227163" y="112844"/>
                  </a:lnTo>
                  <a:lnTo>
                    <a:pt x="223474" y="109148"/>
                  </a:lnTo>
                  <a:lnTo>
                    <a:pt x="219785" y="109148"/>
                  </a:lnTo>
                  <a:lnTo>
                    <a:pt x="216095" y="105462"/>
                  </a:lnTo>
                  <a:lnTo>
                    <a:pt x="216095" y="101766"/>
                  </a:lnTo>
                  <a:lnTo>
                    <a:pt x="208717" y="98080"/>
                  </a:lnTo>
                  <a:lnTo>
                    <a:pt x="208717" y="94394"/>
                  </a:lnTo>
                  <a:lnTo>
                    <a:pt x="208717" y="90698"/>
                  </a:lnTo>
                  <a:lnTo>
                    <a:pt x="205028" y="90698"/>
                  </a:lnTo>
                  <a:lnTo>
                    <a:pt x="193960" y="79630"/>
                  </a:lnTo>
                  <a:lnTo>
                    <a:pt x="182893" y="68553"/>
                  </a:lnTo>
                  <a:lnTo>
                    <a:pt x="179204" y="68553"/>
                  </a:lnTo>
                  <a:lnTo>
                    <a:pt x="179204" y="64867"/>
                  </a:lnTo>
                  <a:lnTo>
                    <a:pt x="171825" y="64867"/>
                  </a:lnTo>
                  <a:lnTo>
                    <a:pt x="168136" y="61171"/>
                  </a:lnTo>
                  <a:lnTo>
                    <a:pt x="164447" y="61171"/>
                  </a:lnTo>
                  <a:lnTo>
                    <a:pt x="157069" y="53789"/>
                  </a:lnTo>
                  <a:lnTo>
                    <a:pt x="149690" y="50103"/>
                  </a:lnTo>
                  <a:lnTo>
                    <a:pt x="146001" y="50103"/>
                  </a:lnTo>
                  <a:lnTo>
                    <a:pt x="131244" y="42721"/>
                  </a:lnTo>
                  <a:lnTo>
                    <a:pt x="127555" y="39035"/>
                  </a:lnTo>
                  <a:lnTo>
                    <a:pt x="116487" y="35339"/>
                  </a:lnTo>
                  <a:lnTo>
                    <a:pt x="116487" y="31653"/>
                  </a:lnTo>
                  <a:lnTo>
                    <a:pt x="112798" y="27957"/>
                  </a:lnTo>
                  <a:lnTo>
                    <a:pt x="109109" y="27957"/>
                  </a:lnTo>
                  <a:lnTo>
                    <a:pt x="109109" y="31653"/>
                  </a:lnTo>
                  <a:lnTo>
                    <a:pt x="105420" y="27957"/>
                  </a:lnTo>
                  <a:lnTo>
                    <a:pt x="109109" y="27957"/>
                  </a:lnTo>
                  <a:lnTo>
                    <a:pt x="109109" y="24271"/>
                  </a:lnTo>
                  <a:lnTo>
                    <a:pt x="109109" y="20575"/>
                  </a:lnTo>
                  <a:lnTo>
                    <a:pt x="105420" y="20575"/>
                  </a:lnTo>
                  <a:lnTo>
                    <a:pt x="105420" y="24271"/>
                  </a:lnTo>
                  <a:lnTo>
                    <a:pt x="101730" y="24271"/>
                  </a:lnTo>
                  <a:lnTo>
                    <a:pt x="101730" y="20575"/>
                  </a:lnTo>
                  <a:lnTo>
                    <a:pt x="94352" y="16889"/>
                  </a:lnTo>
                  <a:lnTo>
                    <a:pt x="94352" y="13194"/>
                  </a:lnTo>
                  <a:lnTo>
                    <a:pt x="90663" y="9507"/>
                  </a:lnTo>
                  <a:close/>
                  <a:moveTo>
                    <a:pt x="20569" y="61171"/>
                  </a:moveTo>
                  <a:lnTo>
                    <a:pt x="16880" y="68553"/>
                  </a:lnTo>
                  <a:lnTo>
                    <a:pt x="13191" y="72248"/>
                  </a:lnTo>
                  <a:lnTo>
                    <a:pt x="5812" y="75935"/>
                  </a:lnTo>
                  <a:lnTo>
                    <a:pt x="9501" y="75935"/>
                  </a:lnTo>
                  <a:lnTo>
                    <a:pt x="16880" y="79630"/>
                  </a:lnTo>
                  <a:lnTo>
                    <a:pt x="20569" y="83317"/>
                  </a:lnTo>
                  <a:lnTo>
                    <a:pt x="24258" y="83317"/>
                  </a:lnTo>
                  <a:lnTo>
                    <a:pt x="24258" y="79630"/>
                  </a:lnTo>
                  <a:lnTo>
                    <a:pt x="20569" y="75935"/>
                  </a:lnTo>
                  <a:lnTo>
                    <a:pt x="16880" y="72248"/>
                  </a:lnTo>
                  <a:lnTo>
                    <a:pt x="20569" y="61171"/>
                  </a:lnTo>
                  <a:close/>
                </a:path>
              </a:pathLst>
            </a:custGeom>
            <a:solidFill>
              <a:srgbClr val="17722B"/>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71" name="Freeform: Shape 270">
              <a:extLst>
                <a:ext uri="{FF2B5EF4-FFF2-40B4-BE49-F238E27FC236}">
                  <a16:creationId xmlns:a16="http://schemas.microsoft.com/office/drawing/2014/main" id="{ECD433D5-066C-47F7-B3BE-5369F6D68DA8}"/>
                </a:ext>
              </a:extLst>
            </p:cNvPr>
            <p:cNvSpPr/>
            <p:nvPr/>
          </p:nvSpPr>
          <p:spPr>
            <a:xfrm>
              <a:off x="4977889" y="4724359"/>
              <a:ext cx="92236" cy="46118"/>
            </a:xfrm>
            <a:custGeom>
              <a:avLst/>
              <a:gdLst>
                <a:gd name="connsiteX0" fmla="*/ 27947 w 57150"/>
                <a:gd name="connsiteY0" fmla="*/ 9507 h 28575"/>
                <a:gd name="connsiteX1" fmla="*/ 35325 w 57150"/>
                <a:gd name="connsiteY1" fmla="*/ 13193 h 28575"/>
                <a:gd name="connsiteX2" fmla="*/ 46393 w 57150"/>
                <a:gd name="connsiteY2" fmla="*/ 16889 h 28575"/>
                <a:gd name="connsiteX3" fmla="*/ 53771 w 57150"/>
                <a:gd name="connsiteY3" fmla="*/ 20575 h 28575"/>
                <a:gd name="connsiteX4" fmla="*/ 53771 w 57150"/>
                <a:gd name="connsiteY4" fmla="*/ 20575 h 28575"/>
                <a:gd name="connsiteX5" fmla="*/ 57460 w 57150"/>
                <a:gd name="connsiteY5" fmla="*/ 24261 h 28575"/>
                <a:gd name="connsiteX6" fmla="*/ 53771 w 57150"/>
                <a:gd name="connsiteY6" fmla="*/ 24261 h 28575"/>
                <a:gd name="connsiteX7" fmla="*/ 53771 w 57150"/>
                <a:gd name="connsiteY7" fmla="*/ 24261 h 28575"/>
                <a:gd name="connsiteX8" fmla="*/ 46393 w 57150"/>
                <a:gd name="connsiteY8" fmla="*/ 27957 h 28575"/>
                <a:gd name="connsiteX9" fmla="*/ 35325 w 57150"/>
                <a:gd name="connsiteY9" fmla="*/ 27957 h 28575"/>
                <a:gd name="connsiteX10" fmla="*/ 31636 w 57150"/>
                <a:gd name="connsiteY10" fmla="*/ 27957 h 28575"/>
                <a:gd name="connsiteX11" fmla="*/ 27947 w 57150"/>
                <a:gd name="connsiteY11" fmla="*/ 24261 h 28575"/>
                <a:gd name="connsiteX12" fmla="*/ 24258 w 57150"/>
                <a:gd name="connsiteY12" fmla="*/ 20575 h 28575"/>
                <a:gd name="connsiteX13" fmla="*/ 24258 w 57150"/>
                <a:gd name="connsiteY13" fmla="*/ 20575 h 28575"/>
                <a:gd name="connsiteX14" fmla="*/ 20569 w 57150"/>
                <a:gd name="connsiteY14" fmla="*/ 20575 h 28575"/>
                <a:gd name="connsiteX15" fmla="*/ 13191 w 57150"/>
                <a:gd name="connsiteY15" fmla="*/ 13193 h 28575"/>
                <a:gd name="connsiteX16" fmla="*/ 9501 w 57150"/>
                <a:gd name="connsiteY16" fmla="*/ 13193 h 28575"/>
                <a:gd name="connsiteX17" fmla="*/ 5812 w 57150"/>
                <a:gd name="connsiteY17" fmla="*/ 9507 h 28575"/>
                <a:gd name="connsiteX18" fmla="*/ 5812 w 57150"/>
                <a:gd name="connsiteY18" fmla="*/ 9507 h 28575"/>
                <a:gd name="connsiteX19" fmla="*/ 5812 w 57150"/>
                <a:gd name="connsiteY19" fmla="*/ 9507 h 28575"/>
                <a:gd name="connsiteX20" fmla="*/ 9501 w 57150"/>
                <a:gd name="connsiteY20" fmla="*/ 5812 h 28575"/>
                <a:gd name="connsiteX21" fmla="*/ 9501 w 57150"/>
                <a:gd name="connsiteY21" fmla="*/ 5812 h 28575"/>
                <a:gd name="connsiteX22" fmla="*/ 16880 w 57150"/>
                <a:gd name="connsiteY22" fmla="*/ 5812 h 28575"/>
                <a:gd name="connsiteX23" fmla="*/ 27947 w 57150"/>
                <a:gd name="connsiteY23" fmla="*/ 9507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150" h="28575">
                  <a:moveTo>
                    <a:pt x="27947" y="9507"/>
                  </a:moveTo>
                  <a:lnTo>
                    <a:pt x="35325" y="13193"/>
                  </a:lnTo>
                  <a:lnTo>
                    <a:pt x="46393" y="16889"/>
                  </a:lnTo>
                  <a:lnTo>
                    <a:pt x="53771" y="20575"/>
                  </a:lnTo>
                  <a:lnTo>
                    <a:pt x="53771" y="20575"/>
                  </a:lnTo>
                  <a:lnTo>
                    <a:pt x="57460" y="24261"/>
                  </a:lnTo>
                  <a:lnTo>
                    <a:pt x="53771" y="24261"/>
                  </a:lnTo>
                  <a:lnTo>
                    <a:pt x="53771" y="24261"/>
                  </a:lnTo>
                  <a:lnTo>
                    <a:pt x="46393" y="27957"/>
                  </a:lnTo>
                  <a:lnTo>
                    <a:pt x="35325" y="27957"/>
                  </a:lnTo>
                  <a:lnTo>
                    <a:pt x="31636" y="27957"/>
                  </a:lnTo>
                  <a:lnTo>
                    <a:pt x="27947" y="24261"/>
                  </a:lnTo>
                  <a:lnTo>
                    <a:pt x="24258" y="20575"/>
                  </a:lnTo>
                  <a:lnTo>
                    <a:pt x="24258" y="20575"/>
                  </a:lnTo>
                  <a:lnTo>
                    <a:pt x="20569" y="20575"/>
                  </a:lnTo>
                  <a:lnTo>
                    <a:pt x="13191" y="13193"/>
                  </a:lnTo>
                  <a:lnTo>
                    <a:pt x="9501" y="13193"/>
                  </a:lnTo>
                  <a:lnTo>
                    <a:pt x="5812" y="9507"/>
                  </a:lnTo>
                  <a:lnTo>
                    <a:pt x="5812" y="9507"/>
                  </a:lnTo>
                  <a:lnTo>
                    <a:pt x="5812" y="9507"/>
                  </a:lnTo>
                  <a:lnTo>
                    <a:pt x="9501" y="5812"/>
                  </a:lnTo>
                  <a:lnTo>
                    <a:pt x="9501" y="5812"/>
                  </a:lnTo>
                  <a:lnTo>
                    <a:pt x="16880" y="5812"/>
                  </a:lnTo>
                  <a:lnTo>
                    <a:pt x="27947" y="9507"/>
                  </a:lnTo>
                  <a:close/>
                </a:path>
              </a:pathLst>
            </a:custGeom>
            <a:solidFill>
              <a:srgbClr val="17722B"/>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72" name="Freeform: Shape 271">
              <a:extLst>
                <a:ext uri="{FF2B5EF4-FFF2-40B4-BE49-F238E27FC236}">
                  <a16:creationId xmlns:a16="http://schemas.microsoft.com/office/drawing/2014/main" id="{8F6802FD-6298-4CD2-BC3D-3DCA8F161CC4}"/>
                </a:ext>
              </a:extLst>
            </p:cNvPr>
            <p:cNvSpPr/>
            <p:nvPr/>
          </p:nvSpPr>
          <p:spPr>
            <a:xfrm>
              <a:off x="4757589" y="4712445"/>
              <a:ext cx="46118" cy="61491"/>
            </a:xfrm>
            <a:custGeom>
              <a:avLst/>
              <a:gdLst>
                <a:gd name="connsiteX0" fmla="*/ 5812 w 28575"/>
                <a:gd name="connsiteY0" fmla="*/ 9507 h 38100"/>
                <a:gd name="connsiteX1" fmla="*/ 9501 w 28575"/>
                <a:gd name="connsiteY1" fmla="*/ 9507 h 38100"/>
                <a:gd name="connsiteX2" fmla="*/ 13191 w 28575"/>
                <a:gd name="connsiteY2" fmla="*/ 5812 h 38100"/>
                <a:gd name="connsiteX3" fmla="*/ 13191 w 28575"/>
                <a:gd name="connsiteY3" fmla="*/ 5812 h 38100"/>
                <a:gd name="connsiteX4" fmla="*/ 13191 w 28575"/>
                <a:gd name="connsiteY4" fmla="*/ 9507 h 38100"/>
                <a:gd name="connsiteX5" fmla="*/ 13191 w 28575"/>
                <a:gd name="connsiteY5" fmla="*/ 13194 h 38100"/>
                <a:gd name="connsiteX6" fmla="*/ 16880 w 28575"/>
                <a:gd name="connsiteY6" fmla="*/ 24271 h 38100"/>
                <a:gd name="connsiteX7" fmla="*/ 24258 w 28575"/>
                <a:gd name="connsiteY7" fmla="*/ 31643 h 38100"/>
                <a:gd name="connsiteX8" fmla="*/ 24258 w 28575"/>
                <a:gd name="connsiteY8" fmla="*/ 31643 h 38100"/>
                <a:gd name="connsiteX9" fmla="*/ 24258 w 28575"/>
                <a:gd name="connsiteY9" fmla="*/ 31643 h 38100"/>
                <a:gd name="connsiteX10" fmla="*/ 20569 w 28575"/>
                <a:gd name="connsiteY10" fmla="*/ 35339 h 38100"/>
                <a:gd name="connsiteX11" fmla="*/ 16880 w 28575"/>
                <a:gd name="connsiteY11" fmla="*/ 35339 h 38100"/>
                <a:gd name="connsiteX12" fmla="*/ 16880 w 28575"/>
                <a:gd name="connsiteY12" fmla="*/ 31643 h 38100"/>
                <a:gd name="connsiteX13" fmla="*/ 13191 w 28575"/>
                <a:gd name="connsiteY13" fmla="*/ 27957 h 38100"/>
                <a:gd name="connsiteX14" fmla="*/ 13191 w 28575"/>
                <a:gd name="connsiteY14" fmla="*/ 24271 h 38100"/>
                <a:gd name="connsiteX15" fmla="*/ 9501 w 28575"/>
                <a:gd name="connsiteY15" fmla="*/ 16889 h 38100"/>
                <a:gd name="connsiteX16" fmla="*/ 5812 w 28575"/>
                <a:gd name="connsiteY16" fmla="*/ 13194 h 38100"/>
                <a:gd name="connsiteX17" fmla="*/ 5812 w 28575"/>
                <a:gd name="connsiteY17" fmla="*/ 13194 h 38100"/>
                <a:gd name="connsiteX18" fmla="*/ 5812 w 28575"/>
                <a:gd name="connsiteY18" fmla="*/ 9507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575" h="38100">
                  <a:moveTo>
                    <a:pt x="5812" y="9507"/>
                  </a:moveTo>
                  <a:lnTo>
                    <a:pt x="9501" y="9507"/>
                  </a:lnTo>
                  <a:lnTo>
                    <a:pt x="13191" y="5812"/>
                  </a:lnTo>
                  <a:lnTo>
                    <a:pt x="13191" y="5812"/>
                  </a:lnTo>
                  <a:lnTo>
                    <a:pt x="13191" y="9507"/>
                  </a:lnTo>
                  <a:lnTo>
                    <a:pt x="13191" y="13194"/>
                  </a:lnTo>
                  <a:lnTo>
                    <a:pt x="16880" y="24271"/>
                  </a:lnTo>
                  <a:lnTo>
                    <a:pt x="24258" y="31643"/>
                  </a:lnTo>
                  <a:lnTo>
                    <a:pt x="24258" y="31643"/>
                  </a:lnTo>
                  <a:lnTo>
                    <a:pt x="24258" y="31643"/>
                  </a:lnTo>
                  <a:lnTo>
                    <a:pt x="20569" y="35339"/>
                  </a:lnTo>
                  <a:lnTo>
                    <a:pt x="16880" y="35339"/>
                  </a:lnTo>
                  <a:lnTo>
                    <a:pt x="16880" y="31643"/>
                  </a:lnTo>
                  <a:lnTo>
                    <a:pt x="13191" y="27957"/>
                  </a:lnTo>
                  <a:lnTo>
                    <a:pt x="13191" y="24271"/>
                  </a:lnTo>
                  <a:lnTo>
                    <a:pt x="9501" y="16889"/>
                  </a:lnTo>
                  <a:lnTo>
                    <a:pt x="5812" y="13194"/>
                  </a:lnTo>
                  <a:lnTo>
                    <a:pt x="5812" y="13194"/>
                  </a:lnTo>
                  <a:lnTo>
                    <a:pt x="5812" y="9507"/>
                  </a:lnTo>
                  <a:close/>
                </a:path>
              </a:pathLst>
            </a:custGeom>
            <a:solidFill>
              <a:srgbClr val="17722B"/>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73" name="Freeform: Shape 272">
              <a:extLst>
                <a:ext uri="{FF2B5EF4-FFF2-40B4-BE49-F238E27FC236}">
                  <a16:creationId xmlns:a16="http://schemas.microsoft.com/office/drawing/2014/main" id="{3CA566F3-0A20-4858-A348-C6BEB154C1CD}"/>
                </a:ext>
              </a:extLst>
            </p:cNvPr>
            <p:cNvSpPr/>
            <p:nvPr/>
          </p:nvSpPr>
          <p:spPr>
            <a:xfrm>
              <a:off x="5085064" y="4795842"/>
              <a:ext cx="15373" cy="15373"/>
            </a:xfrm>
            <a:custGeom>
              <a:avLst/>
              <a:gdLst>
                <a:gd name="connsiteX0" fmla="*/ 13190 w 9525"/>
                <a:gd name="connsiteY0" fmla="*/ 5812 h 9525"/>
                <a:gd name="connsiteX1" fmla="*/ 9501 w 9525"/>
                <a:gd name="connsiteY1" fmla="*/ 9498 h 9525"/>
                <a:gd name="connsiteX2" fmla="*/ 9501 w 9525"/>
                <a:gd name="connsiteY2" fmla="*/ 9498 h 9525"/>
                <a:gd name="connsiteX3" fmla="*/ 13190 w 9525"/>
                <a:gd name="connsiteY3" fmla="*/ 9498 h 9525"/>
                <a:gd name="connsiteX4" fmla="*/ 13190 w 9525"/>
                <a:gd name="connsiteY4" fmla="*/ 9498 h 9525"/>
                <a:gd name="connsiteX5" fmla="*/ 9501 w 9525"/>
                <a:gd name="connsiteY5" fmla="*/ 9498 h 9525"/>
                <a:gd name="connsiteX6" fmla="*/ 9501 w 9525"/>
                <a:gd name="connsiteY6" fmla="*/ 13194 h 9525"/>
                <a:gd name="connsiteX7" fmla="*/ 5812 w 9525"/>
                <a:gd name="connsiteY7" fmla="*/ 9498 h 9525"/>
                <a:gd name="connsiteX8" fmla="*/ 5812 w 9525"/>
                <a:gd name="connsiteY8" fmla="*/ 9498 h 9525"/>
                <a:gd name="connsiteX9" fmla="*/ 5812 w 9525"/>
                <a:gd name="connsiteY9" fmla="*/ 9498 h 9525"/>
                <a:gd name="connsiteX10" fmla="*/ 13190 w 9525"/>
                <a:gd name="connsiteY10"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25" h="9525">
                  <a:moveTo>
                    <a:pt x="13190" y="5812"/>
                  </a:moveTo>
                  <a:lnTo>
                    <a:pt x="9501" y="9498"/>
                  </a:lnTo>
                  <a:lnTo>
                    <a:pt x="9501" y="9498"/>
                  </a:lnTo>
                  <a:lnTo>
                    <a:pt x="13190" y="9498"/>
                  </a:lnTo>
                  <a:lnTo>
                    <a:pt x="13190" y="9498"/>
                  </a:lnTo>
                  <a:lnTo>
                    <a:pt x="9501" y="9498"/>
                  </a:lnTo>
                  <a:lnTo>
                    <a:pt x="9501" y="13194"/>
                  </a:lnTo>
                  <a:lnTo>
                    <a:pt x="5812" y="9498"/>
                  </a:lnTo>
                  <a:lnTo>
                    <a:pt x="5812" y="9498"/>
                  </a:lnTo>
                  <a:lnTo>
                    <a:pt x="5812" y="9498"/>
                  </a:lnTo>
                  <a:lnTo>
                    <a:pt x="13190" y="5812"/>
                  </a:lnTo>
                  <a:close/>
                </a:path>
              </a:pathLst>
            </a:custGeom>
            <a:solidFill>
              <a:srgbClr val="17722B"/>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53" name="Freeform: Shape 252">
              <a:extLst>
                <a:ext uri="{FF2B5EF4-FFF2-40B4-BE49-F238E27FC236}">
                  <a16:creationId xmlns:a16="http://schemas.microsoft.com/office/drawing/2014/main" id="{01A8172B-A281-4523-956E-47AF5647654D}"/>
                </a:ext>
              </a:extLst>
            </p:cNvPr>
            <p:cNvSpPr/>
            <p:nvPr/>
          </p:nvSpPr>
          <p:spPr>
            <a:xfrm>
              <a:off x="4924302" y="4635013"/>
              <a:ext cx="1491149" cy="784006"/>
            </a:xfrm>
            <a:custGeom>
              <a:avLst/>
              <a:gdLst>
                <a:gd name="connsiteX0" fmla="*/ 363662 w 923925"/>
                <a:gd name="connsiteY0" fmla="*/ 5812 h 485775"/>
                <a:gd name="connsiteX1" fmla="*/ 359973 w 923925"/>
                <a:gd name="connsiteY1" fmla="*/ 9507 h 485775"/>
                <a:gd name="connsiteX2" fmla="*/ 352595 w 923925"/>
                <a:gd name="connsiteY2" fmla="*/ 13194 h 485775"/>
                <a:gd name="connsiteX3" fmla="*/ 348906 w 923925"/>
                <a:gd name="connsiteY3" fmla="*/ 13194 h 485775"/>
                <a:gd name="connsiteX4" fmla="*/ 341527 w 923925"/>
                <a:gd name="connsiteY4" fmla="*/ 24271 h 485775"/>
                <a:gd name="connsiteX5" fmla="*/ 337838 w 923925"/>
                <a:gd name="connsiteY5" fmla="*/ 24271 h 485775"/>
                <a:gd name="connsiteX6" fmla="*/ 330460 w 923925"/>
                <a:gd name="connsiteY6" fmla="*/ 27957 h 485775"/>
                <a:gd name="connsiteX7" fmla="*/ 326771 w 923925"/>
                <a:gd name="connsiteY7" fmla="*/ 27957 h 485775"/>
                <a:gd name="connsiteX8" fmla="*/ 319392 w 923925"/>
                <a:gd name="connsiteY8" fmla="*/ 27957 h 485775"/>
                <a:gd name="connsiteX9" fmla="*/ 312014 w 923925"/>
                <a:gd name="connsiteY9" fmla="*/ 27957 h 485775"/>
                <a:gd name="connsiteX10" fmla="*/ 304636 w 923925"/>
                <a:gd name="connsiteY10" fmla="*/ 27957 h 485775"/>
                <a:gd name="connsiteX11" fmla="*/ 297257 w 923925"/>
                <a:gd name="connsiteY11" fmla="*/ 31643 h 485775"/>
                <a:gd name="connsiteX12" fmla="*/ 293568 w 923925"/>
                <a:gd name="connsiteY12" fmla="*/ 31643 h 485775"/>
                <a:gd name="connsiteX13" fmla="*/ 289878 w 923925"/>
                <a:gd name="connsiteY13" fmla="*/ 35339 h 485775"/>
                <a:gd name="connsiteX14" fmla="*/ 289878 w 923925"/>
                <a:gd name="connsiteY14" fmla="*/ 39025 h 485775"/>
                <a:gd name="connsiteX15" fmla="*/ 286189 w 923925"/>
                <a:gd name="connsiteY15" fmla="*/ 42721 h 485775"/>
                <a:gd name="connsiteX16" fmla="*/ 282500 w 923925"/>
                <a:gd name="connsiteY16" fmla="*/ 46407 h 485775"/>
                <a:gd name="connsiteX17" fmla="*/ 278811 w 923925"/>
                <a:gd name="connsiteY17" fmla="*/ 57485 h 485775"/>
                <a:gd name="connsiteX18" fmla="*/ 275121 w 923925"/>
                <a:gd name="connsiteY18" fmla="*/ 61171 h 485775"/>
                <a:gd name="connsiteX19" fmla="*/ 271432 w 923925"/>
                <a:gd name="connsiteY19" fmla="*/ 68553 h 485775"/>
                <a:gd name="connsiteX20" fmla="*/ 260365 w 923925"/>
                <a:gd name="connsiteY20" fmla="*/ 75935 h 485775"/>
                <a:gd name="connsiteX21" fmla="*/ 252986 w 923925"/>
                <a:gd name="connsiteY21" fmla="*/ 79621 h 485775"/>
                <a:gd name="connsiteX22" fmla="*/ 249297 w 923925"/>
                <a:gd name="connsiteY22" fmla="*/ 83317 h 485775"/>
                <a:gd name="connsiteX23" fmla="*/ 245608 w 923925"/>
                <a:gd name="connsiteY23" fmla="*/ 87003 h 485775"/>
                <a:gd name="connsiteX24" fmla="*/ 230851 w 923925"/>
                <a:gd name="connsiteY24" fmla="*/ 90698 h 485775"/>
                <a:gd name="connsiteX25" fmla="*/ 230851 w 923925"/>
                <a:gd name="connsiteY25" fmla="*/ 94385 h 485775"/>
                <a:gd name="connsiteX26" fmla="*/ 223473 w 923925"/>
                <a:gd name="connsiteY26" fmla="*/ 98080 h 485775"/>
                <a:gd name="connsiteX27" fmla="*/ 219784 w 923925"/>
                <a:gd name="connsiteY27" fmla="*/ 101766 h 485775"/>
                <a:gd name="connsiteX28" fmla="*/ 216095 w 923925"/>
                <a:gd name="connsiteY28" fmla="*/ 101766 h 485775"/>
                <a:gd name="connsiteX29" fmla="*/ 212406 w 923925"/>
                <a:gd name="connsiteY29" fmla="*/ 105462 h 485775"/>
                <a:gd name="connsiteX30" fmla="*/ 208717 w 923925"/>
                <a:gd name="connsiteY30" fmla="*/ 109148 h 485775"/>
                <a:gd name="connsiteX31" fmla="*/ 179203 w 923925"/>
                <a:gd name="connsiteY31" fmla="*/ 116530 h 485775"/>
                <a:gd name="connsiteX32" fmla="*/ 175514 w 923925"/>
                <a:gd name="connsiteY32" fmla="*/ 116530 h 485775"/>
                <a:gd name="connsiteX33" fmla="*/ 171825 w 923925"/>
                <a:gd name="connsiteY33" fmla="*/ 116530 h 485775"/>
                <a:gd name="connsiteX34" fmla="*/ 160757 w 923925"/>
                <a:gd name="connsiteY34" fmla="*/ 120226 h 485775"/>
                <a:gd name="connsiteX35" fmla="*/ 153379 w 923925"/>
                <a:gd name="connsiteY35" fmla="*/ 120226 h 485775"/>
                <a:gd name="connsiteX36" fmla="*/ 142311 w 923925"/>
                <a:gd name="connsiteY36" fmla="*/ 116530 h 485775"/>
                <a:gd name="connsiteX37" fmla="*/ 138621 w 923925"/>
                <a:gd name="connsiteY37" fmla="*/ 112844 h 485775"/>
                <a:gd name="connsiteX38" fmla="*/ 134932 w 923925"/>
                <a:gd name="connsiteY38" fmla="*/ 112844 h 485775"/>
                <a:gd name="connsiteX39" fmla="*/ 131243 w 923925"/>
                <a:gd name="connsiteY39" fmla="*/ 109148 h 485775"/>
                <a:gd name="connsiteX40" fmla="*/ 127554 w 923925"/>
                <a:gd name="connsiteY40" fmla="*/ 109148 h 485775"/>
                <a:gd name="connsiteX41" fmla="*/ 120176 w 923925"/>
                <a:gd name="connsiteY41" fmla="*/ 109148 h 485775"/>
                <a:gd name="connsiteX42" fmla="*/ 116487 w 923925"/>
                <a:gd name="connsiteY42" fmla="*/ 112844 h 485775"/>
                <a:gd name="connsiteX43" fmla="*/ 109108 w 923925"/>
                <a:gd name="connsiteY43" fmla="*/ 116530 h 485775"/>
                <a:gd name="connsiteX44" fmla="*/ 105419 w 923925"/>
                <a:gd name="connsiteY44" fmla="*/ 120226 h 485775"/>
                <a:gd name="connsiteX45" fmla="*/ 105419 w 923925"/>
                <a:gd name="connsiteY45" fmla="*/ 123912 h 485775"/>
                <a:gd name="connsiteX46" fmla="*/ 101730 w 923925"/>
                <a:gd name="connsiteY46" fmla="*/ 131294 h 485775"/>
                <a:gd name="connsiteX47" fmla="*/ 98041 w 923925"/>
                <a:gd name="connsiteY47" fmla="*/ 134980 h 485775"/>
                <a:gd name="connsiteX48" fmla="*/ 94352 w 923925"/>
                <a:gd name="connsiteY48" fmla="*/ 138676 h 485775"/>
                <a:gd name="connsiteX49" fmla="*/ 90662 w 923925"/>
                <a:gd name="connsiteY49" fmla="*/ 142362 h 485775"/>
                <a:gd name="connsiteX50" fmla="*/ 83284 w 923925"/>
                <a:gd name="connsiteY50" fmla="*/ 146058 h 485775"/>
                <a:gd name="connsiteX51" fmla="*/ 79595 w 923925"/>
                <a:gd name="connsiteY51" fmla="*/ 146058 h 485775"/>
                <a:gd name="connsiteX52" fmla="*/ 75906 w 923925"/>
                <a:gd name="connsiteY52" fmla="*/ 149744 h 485775"/>
                <a:gd name="connsiteX53" fmla="*/ 72217 w 923925"/>
                <a:gd name="connsiteY53" fmla="*/ 149744 h 485775"/>
                <a:gd name="connsiteX54" fmla="*/ 72217 w 923925"/>
                <a:gd name="connsiteY54" fmla="*/ 146058 h 485775"/>
                <a:gd name="connsiteX55" fmla="*/ 68527 w 923925"/>
                <a:gd name="connsiteY55" fmla="*/ 146058 h 485775"/>
                <a:gd name="connsiteX56" fmla="*/ 64838 w 923925"/>
                <a:gd name="connsiteY56" fmla="*/ 149744 h 485775"/>
                <a:gd name="connsiteX57" fmla="*/ 57460 w 923925"/>
                <a:gd name="connsiteY57" fmla="*/ 149744 h 485775"/>
                <a:gd name="connsiteX58" fmla="*/ 53771 w 923925"/>
                <a:gd name="connsiteY58" fmla="*/ 149744 h 485775"/>
                <a:gd name="connsiteX59" fmla="*/ 50082 w 923925"/>
                <a:gd name="connsiteY59" fmla="*/ 153440 h 485775"/>
                <a:gd name="connsiteX60" fmla="*/ 46393 w 923925"/>
                <a:gd name="connsiteY60" fmla="*/ 153440 h 485775"/>
                <a:gd name="connsiteX61" fmla="*/ 42703 w 923925"/>
                <a:gd name="connsiteY61" fmla="*/ 153440 h 485775"/>
                <a:gd name="connsiteX62" fmla="*/ 39014 w 923925"/>
                <a:gd name="connsiteY62" fmla="*/ 160821 h 485775"/>
                <a:gd name="connsiteX63" fmla="*/ 35325 w 923925"/>
                <a:gd name="connsiteY63" fmla="*/ 160821 h 485775"/>
                <a:gd name="connsiteX64" fmla="*/ 35325 w 923925"/>
                <a:gd name="connsiteY64" fmla="*/ 157126 h 485775"/>
                <a:gd name="connsiteX65" fmla="*/ 31636 w 923925"/>
                <a:gd name="connsiteY65" fmla="*/ 157126 h 485775"/>
                <a:gd name="connsiteX66" fmla="*/ 27947 w 923925"/>
                <a:gd name="connsiteY66" fmla="*/ 157126 h 485775"/>
                <a:gd name="connsiteX67" fmla="*/ 16879 w 923925"/>
                <a:gd name="connsiteY67" fmla="*/ 160821 h 485775"/>
                <a:gd name="connsiteX68" fmla="*/ 13190 w 923925"/>
                <a:gd name="connsiteY68" fmla="*/ 164508 h 485775"/>
                <a:gd name="connsiteX69" fmla="*/ 9501 w 923925"/>
                <a:gd name="connsiteY69" fmla="*/ 168203 h 485775"/>
                <a:gd name="connsiteX70" fmla="*/ 5812 w 923925"/>
                <a:gd name="connsiteY70" fmla="*/ 175576 h 485775"/>
                <a:gd name="connsiteX71" fmla="*/ 5812 w 923925"/>
                <a:gd name="connsiteY71" fmla="*/ 179271 h 485775"/>
                <a:gd name="connsiteX72" fmla="*/ 5812 w 923925"/>
                <a:gd name="connsiteY72" fmla="*/ 186653 h 485775"/>
                <a:gd name="connsiteX73" fmla="*/ 5812 w 923925"/>
                <a:gd name="connsiteY73" fmla="*/ 190339 h 485775"/>
                <a:gd name="connsiteX74" fmla="*/ 9501 w 923925"/>
                <a:gd name="connsiteY74" fmla="*/ 194035 h 485775"/>
                <a:gd name="connsiteX75" fmla="*/ 24258 w 923925"/>
                <a:gd name="connsiteY75" fmla="*/ 212485 h 485775"/>
                <a:gd name="connsiteX76" fmla="*/ 24258 w 923925"/>
                <a:gd name="connsiteY76" fmla="*/ 219867 h 485775"/>
                <a:gd name="connsiteX77" fmla="*/ 27947 w 923925"/>
                <a:gd name="connsiteY77" fmla="*/ 223553 h 485775"/>
                <a:gd name="connsiteX78" fmla="*/ 27947 w 923925"/>
                <a:gd name="connsiteY78" fmla="*/ 227249 h 485775"/>
                <a:gd name="connsiteX79" fmla="*/ 24258 w 923925"/>
                <a:gd name="connsiteY79" fmla="*/ 234631 h 485775"/>
                <a:gd name="connsiteX80" fmla="*/ 20568 w 923925"/>
                <a:gd name="connsiteY80" fmla="*/ 245699 h 485775"/>
                <a:gd name="connsiteX81" fmla="*/ 16879 w 923925"/>
                <a:gd name="connsiteY81" fmla="*/ 253081 h 485775"/>
                <a:gd name="connsiteX82" fmla="*/ 16879 w 923925"/>
                <a:gd name="connsiteY82" fmla="*/ 256776 h 485775"/>
                <a:gd name="connsiteX83" fmla="*/ 24258 w 923925"/>
                <a:gd name="connsiteY83" fmla="*/ 271531 h 485775"/>
                <a:gd name="connsiteX84" fmla="*/ 39014 w 923925"/>
                <a:gd name="connsiteY84" fmla="*/ 312136 h 485775"/>
                <a:gd name="connsiteX85" fmla="*/ 46393 w 923925"/>
                <a:gd name="connsiteY85" fmla="*/ 323204 h 485775"/>
                <a:gd name="connsiteX86" fmla="*/ 39014 w 923925"/>
                <a:gd name="connsiteY86" fmla="*/ 326890 h 485775"/>
                <a:gd name="connsiteX87" fmla="*/ 39014 w 923925"/>
                <a:gd name="connsiteY87" fmla="*/ 330585 h 485775"/>
                <a:gd name="connsiteX88" fmla="*/ 42703 w 923925"/>
                <a:gd name="connsiteY88" fmla="*/ 341654 h 485775"/>
                <a:gd name="connsiteX89" fmla="*/ 39014 w 923925"/>
                <a:gd name="connsiteY89" fmla="*/ 352731 h 485775"/>
                <a:gd name="connsiteX90" fmla="*/ 39014 w 923925"/>
                <a:gd name="connsiteY90" fmla="*/ 356417 h 485775"/>
                <a:gd name="connsiteX91" fmla="*/ 42703 w 923925"/>
                <a:gd name="connsiteY91" fmla="*/ 356417 h 485775"/>
                <a:gd name="connsiteX92" fmla="*/ 46393 w 923925"/>
                <a:gd name="connsiteY92" fmla="*/ 360113 h 485775"/>
                <a:gd name="connsiteX93" fmla="*/ 72217 w 923925"/>
                <a:gd name="connsiteY93" fmla="*/ 360113 h 485775"/>
                <a:gd name="connsiteX94" fmla="*/ 72217 w 923925"/>
                <a:gd name="connsiteY94" fmla="*/ 363799 h 485775"/>
                <a:gd name="connsiteX95" fmla="*/ 75906 w 923925"/>
                <a:gd name="connsiteY95" fmla="*/ 367485 h 485775"/>
                <a:gd name="connsiteX96" fmla="*/ 75906 w 923925"/>
                <a:gd name="connsiteY96" fmla="*/ 378563 h 485775"/>
                <a:gd name="connsiteX97" fmla="*/ 79595 w 923925"/>
                <a:gd name="connsiteY97" fmla="*/ 374867 h 485775"/>
                <a:gd name="connsiteX98" fmla="*/ 90662 w 923925"/>
                <a:gd name="connsiteY98" fmla="*/ 378563 h 485775"/>
                <a:gd name="connsiteX99" fmla="*/ 94352 w 923925"/>
                <a:gd name="connsiteY99" fmla="*/ 378563 h 485775"/>
                <a:gd name="connsiteX100" fmla="*/ 98041 w 923925"/>
                <a:gd name="connsiteY100" fmla="*/ 378563 h 485775"/>
                <a:gd name="connsiteX101" fmla="*/ 101730 w 923925"/>
                <a:gd name="connsiteY101" fmla="*/ 378563 h 485775"/>
                <a:gd name="connsiteX102" fmla="*/ 105419 w 923925"/>
                <a:gd name="connsiteY102" fmla="*/ 378563 h 485775"/>
                <a:gd name="connsiteX103" fmla="*/ 109108 w 923925"/>
                <a:gd name="connsiteY103" fmla="*/ 374867 h 485775"/>
                <a:gd name="connsiteX104" fmla="*/ 116487 w 923925"/>
                <a:gd name="connsiteY104" fmla="*/ 371181 h 485775"/>
                <a:gd name="connsiteX105" fmla="*/ 120176 w 923925"/>
                <a:gd name="connsiteY105" fmla="*/ 371181 h 485775"/>
                <a:gd name="connsiteX106" fmla="*/ 120176 w 923925"/>
                <a:gd name="connsiteY106" fmla="*/ 367485 h 485775"/>
                <a:gd name="connsiteX107" fmla="*/ 120176 w 923925"/>
                <a:gd name="connsiteY107" fmla="*/ 363799 h 485775"/>
                <a:gd name="connsiteX108" fmla="*/ 101730 w 923925"/>
                <a:gd name="connsiteY108" fmla="*/ 337967 h 485775"/>
                <a:gd name="connsiteX109" fmla="*/ 98041 w 923925"/>
                <a:gd name="connsiteY109" fmla="*/ 326890 h 485775"/>
                <a:gd name="connsiteX110" fmla="*/ 101730 w 923925"/>
                <a:gd name="connsiteY110" fmla="*/ 323204 h 485775"/>
                <a:gd name="connsiteX111" fmla="*/ 105419 w 923925"/>
                <a:gd name="connsiteY111" fmla="*/ 323204 h 485775"/>
                <a:gd name="connsiteX112" fmla="*/ 105419 w 923925"/>
                <a:gd name="connsiteY112" fmla="*/ 319508 h 485775"/>
                <a:gd name="connsiteX113" fmla="*/ 105419 w 923925"/>
                <a:gd name="connsiteY113" fmla="*/ 315822 h 485775"/>
                <a:gd name="connsiteX114" fmla="*/ 105419 w 923925"/>
                <a:gd name="connsiteY114" fmla="*/ 312136 h 485775"/>
                <a:gd name="connsiteX115" fmla="*/ 105419 w 923925"/>
                <a:gd name="connsiteY115" fmla="*/ 308440 h 485775"/>
                <a:gd name="connsiteX116" fmla="*/ 101730 w 923925"/>
                <a:gd name="connsiteY116" fmla="*/ 308440 h 485775"/>
                <a:gd name="connsiteX117" fmla="*/ 98041 w 923925"/>
                <a:gd name="connsiteY117" fmla="*/ 304754 h 485775"/>
                <a:gd name="connsiteX118" fmla="*/ 101730 w 923925"/>
                <a:gd name="connsiteY118" fmla="*/ 301058 h 485775"/>
                <a:gd name="connsiteX119" fmla="*/ 127554 w 923925"/>
                <a:gd name="connsiteY119" fmla="*/ 289990 h 485775"/>
                <a:gd name="connsiteX120" fmla="*/ 134932 w 923925"/>
                <a:gd name="connsiteY120" fmla="*/ 289990 h 485775"/>
                <a:gd name="connsiteX121" fmla="*/ 138621 w 923925"/>
                <a:gd name="connsiteY121" fmla="*/ 286294 h 485775"/>
                <a:gd name="connsiteX122" fmla="*/ 142311 w 923925"/>
                <a:gd name="connsiteY122" fmla="*/ 282608 h 485775"/>
                <a:gd name="connsiteX123" fmla="*/ 146000 w 923925"/>
                <a:gd name="connsiteY123" fmla="*/ 282608 h 485775"/>
                <a:gd name="connsiteX124" fmla="*/ 149690 w 923925"/>
                <a:gd name="connsiteY124" fmla="*/ 282608 h 485775"/>
                <a:gd name="connsiteX125" fmla="*/ 175514 w 923925"/>
                <a:gd name="connsiteY125" fmla="*/ 278912 h 485775"/>
                <a:gd name="connsiteX126" fmla="*/ 179203 w 923925"/>
                <a:gd name="connsiteY126" fmla="*/ 286294 h 485775"/>
                <a:gd name="connsiteX127" fmla="*/ 171825 w 923925"/>
                <a:gd name="connsiteY127" fmla="*/ 304754 h 485775"/>
                <a:gd name="connsiteX128" fmla="*/ 175514 w 923925"/>
                <a:gd name="connsiteY128" fmla="*/ 326890 h 485775"/>
                <a:gd name="connsiteX129" fmla="*/ 193960 w 923925"/>
                <a:gd name="connsiteY129" fmla="*/ 319508 h 485775"/>
                <a:gd name="connsiteX130" fmla="*/ 197649 w 923925"/>
                <a:gd name="connsiteY130" fmla="*/ 319508 h 485775"/>
                <a:gd name="connsiteX131" fmla="*/ 205027 w 923925"/>
                <a:gd name="connsiteY131" fmla="*/ 319508 h 485775"/>
                <a:gd name="connsiteX132" fmla="*/ 219784 w 923925"/>
                <a:gd name="connsiteY132" fmla="*/ 323204 h 485775"/>
                <a:gd name="connsiteX133" fmla="*/ 227162 w 923925"/>
                <a:gd name="connsiteY133" fmla="*/ 326890 h 485775"/>
                <a:gd name="connsiteX134" fmla="*/ 230851 w 923925"/>
                <a:gd name="connsiteY134" fmla="*/ 326890 h 485775"/>
                <a:gd name="connsiteX135" fmla="*/ 230851 w 923925"/>
                <a:gd name="connsiteY135" fmla="*/ 323204 h 485775"/>
                <a:gd name="connsiteX136" fmla="*/ 234541 w 923925"/>
                <a:gd name="connsiteY136" fmla="*/ 326890 h 485775"/>
                <a:gd name="connsiteX137" fmla="*/ 241919 w 923925"/>
                <a:gd name="connsiteY137" fmla="*/ 323204 h 485775"/>
                <a:gd name="connsiteX138" fmla="*/ 238230 w 923925"/>
                <a:gd name="connsiteY138" fmla="*/ 308440 h 485775"/>
                <a:gd name="connsiteX139" fmla="*/ 249297 w 923925"/>
                <a:gd name="connsiteY139" fmla="*/ 304754 h 485775"/>
                <a:gd name="connsiteX140" fmla="*/ 252986 w 923925"/>
                <a:gd name="connsiteY140" fmla="*/ 304754 h 485775"/>
                <a:gd name="connsiteX141" fmla="*/ 256676 w 923925"/>
                <a:gd name="connsiteY141" fmla="*/ 293676 h 485775"/>
                <a:gd name="connsiteX142" fmla="*/ 264054 w 923925"/>
                <a:gd name="connsiteY142" fmla="*/ 289990 h 485775"/>
                <a:gd name="connsiteX143" fmla="*/ 267743 w 923925"/>
                <a:gd name="connsiteY143" fmla="*/ 286294 h 485775"/>
                <a:gd name="connsiteX144" fmla="*/ 271432 w 923925"/>
                <a:gd name="connsiteY144" fmla="*/ 278912 h 485775"/>
                <a:gd name="connsiteX145" fmla="*/ 278811 w 923925"/>
                <a:gd name="connsiteY145" fmla="*/ 275226 h 485775"/>
                <a:gd name="connsiteX146" fmla="*/ 282500 w 923925"/>
                <a:gd name="connsiteY146" fmla="*/ 271531 h 485775"/>
                <a:gd name="connsiteX147" fmla="*/ 278811 w 923925"/>
                <a:gd name="connsiteY147" fmla="*/ 267844 h 485775"/>
                <a:gd name="connsiteX148" fmla="*/ 282500 w 923925"/>
                <a:gd name="connsiteY148" fmla="*/ 267844 h 485775"/>
                <a:gd name="connsiteX149" fmla="*/ 286189 w 923925"/>
                <a:gd name="connsiteY149" fmla="*/ 267844 h 485775"/>
                <a:gd name="connsiteX150" fmla="*/ 286189 w 923925"/>
                <a:gd name="connsiteY150" fmla="*/ 264158 h 485775"/>
                <a:gd name="connsiteX151" fmla="*/ 293568 w 923925"/>
                <a:gd name="connsiteY151" fmla="*/ 260462 h 485775"/>
                <a:gd name="connsiteX152" fmla="*/ 297257 w 923925"/>
                <a:gd name="connsiteY152" fmla="*/ 264158 h 485775"/>
                <a:gd name="connsiteX153" fmla="*/ 297257 w 923925"/>
                <a:gd name="connsiteY153" fmla="*/ 267844 h 485775"/>
                <a:gd name="connsiteX154" fmla="*/ 300946 w 923925"/>
                <a:gd name="connsiteY154" fmla="*/ 267844 h 485775"/>
                <a:gd name="connsiteX155" fmla="*/ 304636 w 923925"/>
                <a:gd name="connsiteY155" fmla="*/ 267844 h 485775"/>
                <a:gd name="connsiteX156" fmla="*/ 312014 w 923925"/>
                <a:gd name="connsiteY156" fmla="*/ 271531 h 485775"/>
                <a:gd name="connsiteX157" fmla="*/ 315703 w 923925"/>
                <a:gd name="connsiteY157" fmla="*/ 271531 h 485775"/>
                <a:gd name="connsiteX158" fmla="*/ 315703 w 923925"/>
                <a:gd name="connsiteY158" fmla="*/ 275226 h 485775"/>
                <a:gd name="connsiteX159" fmla="*/ 315703 w 923925"/>
                <a:gd name="connsiteY159" fmla="*/ 278912 h 485775"/>
                <a:gd name="connsiteX160" fmla="*/ 319392 w 923925"/>
                <a:gd name="connsiteY160" fmla="*/ 282608 h 485775"/>
                <a:gd name="connsiteX161" fmla="*/ 323081 w 923925"/>
                <a:gd name="connsiteY161" fmla="*/ 278912 h 485775"/>
                <a:gd name="connsiteX162" fmla="*/ 326771 w 923925"/>
                <a:gd name="connsiteY162" fmla="*/ 282608 h 485775"/>
                <a:gd name="connsiteX163" fmla="*/ 323081 w 923925"/>
                <a:gd name="connsiteY163" fmla="*/ 289990 h 485775"/>
                <a:gd name="connsiteX164" fmla="*/ 323081 w 923925"/>
                <a:gd name="connsiteY164" fmla="*/ 297372 h 485775"/>
                <a:gd name="connsiteX165" fmla="*/ 326771 w 923925"/>
                <a:gd name="connsiteY165" fmla="*/ 297372 h 485775"/>
                <a:gd name="connsiteX166" fmla="*/ 326771 w 923925"/>
                <a:gd name="connsiteY166" fmla="*/ 301058 h 485775"/>
                <a:gd name="connsiteX167" fmla="*/ 323081 w 923925"/>
                <a:gd name="connsiteY167" fmla="*/ 301058 h 485775"/>
                <a:gd name="connsiteX168" fmla="*/ 319392 w 923925"/>
                <a:gd name="connsiteY168" fmla="*/ 304754 h 485775"/>
                <a:gd name="connsiteX169" fmla="*/ 315703 w 923925"/>
                <a:gd name="connsiteY169" fmla="*/ 308440 h 485775"/>
                <a:gd name="connsiteX170" fmla="*/ 319392 w 923925"/>
                <a:gd name="connsiteY170" fmla="*/ 323204 h 485775"/>
                <a:gd name="connsiteX171" fmla="*/ 319392 w 923925"/>
                <a:gd name="connsiteY171" fmla="*/ 326890 h 485775"/>
                <a:gd name="connsiteX172" fmla="*/ 323081 w 923925"/>
                <a:gd name="connsiteY172" fmla="*/ 326890 h 485775"/>
                <a:gd name="connsiteX173" fmla="*/ 326771 w 923925"/>
                <a:gd name="connsiteY173" fmla="*/ 326890 h 485775"/>
                <a:gd name="connsiteX174" fmla="*/ 326771 w 923925"/>
                <a:gd name="connsiteY174" fmla="*/ 330585 h 485775"/>
                <a:gd name="connsiteX175" fmla="*/ 323081 w 923925"/>
                <a:gd name="connsiteY175" fmla="*/ 330585 h 485775"/>
                <a:gd name="connsiteX176" fmla="*/ 312014 w 923925"/>
                <a:gd name="connsiteY176" fmla="*/ 326890 h 485775"/>
                <a:gd name="connsiteX177" fmla="*/ 308325 w 923925"/>
                <a:gd name="connsiteY177" fmla="*/ 323204 h 485775"/>
                <a:gd name="connsiteX178" fmla="*/ 300946 w 923925"/>
                <a:gd name="connsiteY178" fmla="*/ 323204 h 485775"/>
                <a:gd name="connsiteX179" fmla="*/ 300946 w 923925"/>
                <a:gd name="connsiteY179" fmla="*/ 319508 h 485775"/>
                <a:gd name="connsiteX180" fmla="*/ 297257 w 923925"/>
                <a:gd name="connsiteY180" fmla="*/ 319508 h 485775"/>
                <a:gd name="connsiteX181" fmla="*/ 289878 w 923925"/>
                <a:gd name="connsiteY181" fmla="*/ 323204 h 485775"/>
                <a:gd name="connsiteX182" fmla="*/ 289878 w 923925"/>
                <a:gd name="connsiteY182" fmla="*/ 326890 h 485775"/>
                <a:gd name="connsiteX183" fmla="*/ 289878 w 923925"/>
                <a:gd name="connsiteY183" fmla="*/ 330585 h 485775"/>
                <a:gd name="connsiteX184" fmla="*/ 293568 w 923925"/>
                <a:gd name="connsiteY184" fmla="*/ 334272 h 485775"/>
                <a:gd name="connsiteX185" fmla="*/ 300946 w 923925"/>
                <a:gd name="connsiteY185" fmla="*/ 337967 h 485775"/>
                <a:gd name="connsiteX186" fmla="*/ 304636 w 923925"/>
                <a:gd name="connsiteY186" fmla="*/ 337967 h 485775"/>
                <a:gd name="connsiteX187" fmla="*/ 315703 w 923925"/>
                <a:gd name="connsiteY187" fmla="*/ 334272 h 485775"/>
                <a:gd name="connsiteX188" fmla="*/ 323081 w 923925"/>
                <a:gd name="connsiteY188" fmla="*/ 334272 h 485775"/>
                <a:gd name="connsiteX189" fmla="*/ 330460 w 923925"/>
                <a:gd name="connsiteY189" fmla="*/ 334272 h 485775"/>
                <a:gd name="connsiteX190" fmla="*/ 334149 w 923925"/>
                <a:gd name="connsiteY190" fmla="*/ 337967 h 485775"/>
                <a:gd name="connsiteX191" fmla="*/ 337838 w 923925"/>
                <a:gd name="connsiteY191" fmla="*/ 337967 h 485775"/>
                <a:gd name="connsiteX192" fmla="*/ 337838 w 923925"/>
                <a:gd name="connsiteY192" fmla="*/ 334272 h 485775"/>
                <a:gd name="connsiteX193" fmla="*/ 341527 w 923925"/>
                <a:gd name="connsiteY193" fmla="*/ 334272 h 485775"/>
                <a:gd name="connsiteX194" fmla="*/ 345217 w 923925"/>
                <a:gd name="connsiteY194" fmla="*/ 334272 h 485775"/>
                <a:gd name="connsiteX195" fmla="*/ 348906 w 923925"/>
                <a:gd name="connsiteY195" fmla="*/ 334272 h 485775"/>
                <a:gd name="connsiteX196" fmla="*/ 352595 w 923925"/>
                <a:gd name="connsiteY196" fmla="*/ 334272 h 485775"/>
                <a:gd name="connsiteX197" fmla="*/ 359973 w 923925"/>
                <a:gd name="connsiteY197" fmla="*/ 341654 h 485775"/>
                <a:gd name="connsiteX198" fmla="*/ 359973 w 923925"/>
                <a:gd name="connsiteY198" fmla="*/ 345349 h 485775"/>
                <a:gd name="connsiteX199" fmla="*/ 363662 w 923925"/>
                <a:gd name="connsiteY199" fmla="*/ 345349 h 485775"/>
                <a:gd name="connsiteX200" fmla="*/ 367351 w 923925"/>
                <a:gd name="connsiteY200" fmla="*/ 349036 h 485775"/>
                <a:gd name="connsiteX201" fmla="*/ 371041 w 923925"/>
                <a:gd name="connsiteY201" fmla="*/ 349036 h 485775"/>
                <a:gd name="connsiteX202" fmla="*/ 385797 w 923925"/>
                <a:gd name="connsiteY202" fmla="*/ 326890 h 485775"/>
                <a:gd name="connsiteX203" fmla="*/ 407932 w 923925"/>
                <a:gd name="connsiteY203" fmla="*/ 312136 h 485775"/>
                <a:gd name="connsiteX204" fmla="*/ 407932 w 923925"/>
                <a:gd name="connsiteY204" fmla="*/ 304754 h 485775"/>
                <a:gd name="connsiteX205" fmla="*/ 411621 w 923925"/>
                <a:gd name="connsiteY205" fmla="*/ 304754 h 485775"/>
                <a:gd name="connsiteX206" fmla="*/ 411621 w 923925"/>
                <a:gd name="connsiteY206" fmla="*/ 301058 h 485775"/>
                <a:gd name="connsiteX207" fmla="*/ 407932 w 923925"/>
                <a:gd name="connsiteY207" fmla="*/ 297372 h 485775"/>
                <a:gd name="connsiteX208" fmla="*/ 407932 w 923925"/>
                <a:gd name="connsiteY208" fmla="*/ 293676 h 485775"/>
                <a:gd name="connsiteX209" fmla="*/ 411621 w 923925"/>
                <a:gd name="connsiteY209" fmla="*/ 289990 h 485775"/>
                <a:gd name="connsiteX210" fmla="*/ 411621 w 923925"/>
                <a:gd name="connsiteY210" fmla="*/ 286294 h 485775"/>
                <a:gd name="connsiteX211" fmla="*/ 415310 w 923925"/>
                <a:gd name="connsiteY211" fmla="*/ 282608 h 485775"/>
                <a:gd name="connsiteX212" fmla="*/ 422689 w 923925"/>
                <a:gd name="connsiteY212" fmla="*/ 278912 h 485775"/>
                <a:gd name="connsiteX213" fmla="*/ 426378 w 923925"/>
                <a:gd name="connsiteY213" fmla="*/ 278912 h 485775"/>
                <a:gd name="connsiteX214" fmla="*/ 422689 w 923925"/>
                <a:gd name="connsiteY214" fmla="*/ 282608 h 485775"/>
                <a:gd name="connsiteX215" fmla="*/ 426378 w 923925"/>
                <a:gd name="connsiteY215" fmla="*/ 286294 h 485775"/>
                <a:gd name="connsiteX216" fmla="*/ 426378 w 923925"/>
                <a:gd name="connsiteY216" fmla="*/ 289990 h 485775"/>
                <a:gd name="connsiteX217" fmla="*/ 430067 w 923925"/>
                <a:gd name="connsiteY217" fmla="*/ 289990 h 485775"/>
                <a:gd name="connsiteX218" fmla="*/ 444825 w 923925"/>
                <a:gd name="connsiteY218" fmla="*/ 289990 h 485775"/>
                <a:gd name="connsiteX219" fmla="*/ 455892 w 923925"/>
                <a:gd name="connsiteY219" fmla="*/ 323204 h 485775"/>
                <a:gd name="connsiteX220" fmla="*/ 452203 w 923925"/>
                <a:gd name="connsiteY220" fmla="*/ 330585 h 485775"/>
                <a:gd name="connsiteX221" fmla="*/ 441136 w 923925"/>
                <a:gd name="connsiteY221" fmla="*/ 352731 h 485775"/>
                <a:gd name="connsiteX222" fmla="*/ 463271 w 923925"/>
                <a:gd name="connsiteY222" fmla="*/ 378563 h 485775"/>
                <a:gd name="connsiteX223" fmla="*/ 463271 w 923925"/>
                <a:gd name="connsiteY223" fmla="*/ 382249 h 485775"/>
                <a:gd name="connsiteX224" fmla="*/ 466960 w 923925"/>
                <a:gd name="connsiteY224" fmla="*/ 385945 h 485775"/>
                <a:gd name="connsiteX225" fmla="*/ 470649 w 923925"/>
                <a:gd name="connsiteY225" fmla="*/ 389631 h 485775"/>
                <a:gd name="connsiteX226" fmla="*/ 470649 w 923925"/>
                <a:gd name="connsiteY226" fmla="*/ 415463 h 485775"/>
                <a:gd name="connsiteX227" fmla="*/ 485405 w 923925"/>
                <a:gd name="connsiteY227" fmla="*/ 419159 h 485775"/>
                <a:gd name="connsiteX228" fmla="*/ 489095 w 923925"/>
                <a:gd name="connsiteY228" fmla="*/ 415463 h 485775"/>
                <a:gd name="connsiteX229" fmla="*/ 500162 w 923925"/>
                <a:gd name="connsiteY229" fmla="*/ 411777 h 485775"/>
                <a:gd name="connsiteX230" fmla="*/ 503851 w 923925"/>
                <a:gd name="connsiteY230" fmla="*/ 411777 h 485775"/>
                <a:gd name="connsiteX231" fmla="*/ 503851 w 923925"/>
                <a:gd name="connsiteY231" fmla="*/ 408091 h 485775"/>
                <a:gd name="connsiteX232" fmla="*/ 525986 w 923925"/>
                <a:gd name="connsiteY232" fmla="*/ 422845 h 485775"/>
                <a:gd name="connsiteX233" fmla="*/ 518608 w 923925"/>
                <a:gd name="connsiteY233" fmla="*/ 452372 h 485775"/>
                <a:gd name="connsiteX234" fmla="*/ 522297 w 923925"/>
                <a:gd name="connsiteY234" fmla="*/ 456068 h 485775"/>
                <a:gd name="connsiteX235" fmla="*/ 537051 w 923925"/>
                <a:gd name="connsiteY235" fmla="*/ 452372 h 485775"/>
                <a:gd name="connsiteX236" fmla="*/ 551815 w 923925"/>
                <a:gd name="connsiteY236" fmla="*/ 456068 h 485775"/>
                <a:gd name="connsiteX237" fmla="*/ 562874 w 923925"/>
                <a:gd name="connsiteY237" fmla="*/ 456068 h 485775"/>
                <a:gd name="connsiteX238" fmla="*/ 570255 w 923925"/>
                <a:gd name="connsiteY238" fmla="*/ 456068 h 485775"/>
                <a:gd name="connsiteX239" fmla="*/ 573942 w 923925"/>
                <a:gd name="connsiteY239" fmla="*/ 452372 h 485775"/>
                <a:gd name="connsiteX240" fmla="*/ 577637 w 923925"/>
                <a:gd name="connsiteY240" fmla="*/ 444990 h 485775"/>
                <a:gd name="connsiteX241" fmla="*/ 588705 w 923925"/>
                <a:gd name="connsiteY241" fmla="*/ 448686 h 485775"/>
                <a:gd name="connsiteX242" fmla="*/ 603460 w 923925"/>
                <a:gd name="connsiteY242" fmla="*/ 452372 h 485775"/>
                <a:gd name="connsiteX243" fmla="*/ 610841 w 923925"/>
                <a:gd name="connsiteY243" fmla="*/ 456068 h 485775"/>
                <a:gd name="connsiteX244" fmla="*/ 621910 w 923925"/>
                <a:gd name="connsiteY244" fmla="*/ 444990 h 485775"/>
                <a:gd name="connsiteX245" fmla="*/ 625596 w 923925"/>
                <a:gd name="connsiteY245" fmla="*/ 441304 h 485775"/>
                <a:gd name="connsiteX246" fmla="*/ 636664 w 923925"/>
                <a:gd name="connsiteY246" fmla="*/ 437608 h 485775"/>
                <a:gd name="connsiteX247" fmla="*/ 640350 w 923925"/>
                <a:gd name="connsiteY247" fmla="*/ 433922 h 485775"/>
                <a:gd name="connsiteX248" fmla="*/ 644036 w 923925"/>
                <a:gd name="connsiteY248" fmla="*/ 430227 h 485775"/>
                <a:gd name="connsiteX249" fmla="*/ 644036 w 923925"/>
                <a:gd name="connsiteY249" fmla="*/ 426540 h 485775"/>
                <a:gd name="connsiteX250" fmla="*/ 647732 w 923925"/>
                <a:gd name="connsiteY250" fmla="*/ 426540 h 485775"/>
                <a:gd name="connsiteX251" fmla="*/ 662486 w 923925"/>
                <a:gd name="connsiteY251" fmla="*/ 430227 h 485775"/>
                <a:gd name="connsiteX252" fmla="*/ 662486 w 923925"/>
                <a:gd name="connsiteY252" fmla="*/ 433922 h 485775"/>
                <a:gd name="connsiteX253" fmla="*/ 666172 w 923925"/>
                <a:gd name="connsiteY253" fmla="*/ 441304 h 485775"/>
                <a:gd name="connsiteX254" fmla="*/ 677240 w 923925"/>
                <a:gd name="connsiteY254" fmla="*/ 448686 h 485775"/>
                <a:gd name="connsiteX255" fmla="*/ 680936 w 923925"/>
                <a:gd name="connsiteY255" fmla="*/ 452372 h 485775"/>
                <a:gd name="connsiteX256" fmla="*/ 680936 w 923925"/>
                <a:gd name="connsiteY256" fmla="*/ 456068 h 485775"/>
                <a:gd name="connsiteX257" fmla="*/ 680936 w 923925"/>
                <a:gd name="connsiteY257" fmla="*/ 459754 h 485775"/>
                <a:gd name="connsiteX258" fmla="*/ 680936 w 923925"/>
                <a:gd name="connsiteY258" fmla="*/ 463440 h 485775"/>
                <a:gd name="connsiteX259" fmla="*/ 680936 w 923925"/>
                <a:gd name="connsiteY259" fmla="*/ 467136 h 485775"/>
                <a:gd name="connsiteX260" fmla="*/ 680936 w 923925"/>
                <a:gd name="connsiteY260" fmla="*/ 474518 h 485775"/>
                <a:gd name="connsiteX261" fmla="*/ 684622 w 923925"/>
                <a:gd name="connsiteY261" fmla="*/ 489282 h 485775"/>
                <a:gd name="connsiteX262" fmla="*/ 688308 w 923925"/>
                <a:gd name="connsiteY262" fmla="*/ 489282 h 485775"/>
                <a:gd name="connsiteX263" fmla="*/ 699376 w 923925"/>
                <a:gd name="connsiteY263" fmla="*/ 485586 h 485775"/>
                <a:gd name="connsiteX264" fmla="*/ 703063 w 923925"/>
                <a:gd name="connsiteY264" fmla="*/ 485586 h 485775"/>
                <a:gd name="connsiteX265" fmla="*/ 714131 w 923925"/>
                <a:gd name="connsiteY265" fmla="*/ 481900 h 485775"/>
                <a:gd name="connsiteX266" fmla="*/ 714131 w 923925"/>
                <a:gd name="connsiteY266" fmla="*/ 467136 h 485775"/>
                <a:gd name="connsiteX267" fmla="*/ 717826 w 923925"/>
                <a:gd name="connsiteY267" fmla="*/ 448686 h 485775"/>
                <a:gd name="connsiteX268" fmla="*/ 725199 w 923925"/>
                <a:gd name="connsiteY268" fmla="*/ 433922 h 485775"/>
                <a:gd name="connsiteX269" fmla="*/ 728894 w 923925"/>
                <a:gd name="connsiteY269" fmla="*/ 426540 h 485775"/>
                <a:gd name="connsiteX270" fmla="*/ 739962 w 923925"/>
                <a:gd name="connsiteY270" fmla="*/ 415463 h 485775"/>
                <a:gd name="connsiteX271" fmla="*/ 754717 w 923925"/>
                <a:gd name="connsiteY271" fmla="*/ 408091 h 485775"/>
                <a:gd name="connsiteX272" fmla="*/ 758403 w 923925"/>
                <a:gd name="connsiteY272" fmla="*/ 408091 h 485775"/>
                <a:gd name="connsiteX273" fmla="*/ 776853 w 923925"/>
                <a:gd name="connsiteY273" fmla="*/ 404395 h 485775"/>
                <a:gd name="connsiteX274" fmla="*/ 784225 w 923925"/>
                <a:gd name="connsiteY274" fmla="*/ 400709 h 485775"/>
                <a:gd name="connsiteX275" fmla="*/ 787921 w 923925"/>
                <a:gd name="connsiteY275" fmla="*/ 400709 h 485775"/>
                <a:gd name="connsiteX276" fmla="*/ 791607 w 923925"/>
                <a:gd name="connsiteY276" fmla="*/ 397013 h 485775"/>
                <a:gd name="connsiteX277" fmla="*/ 821125 w 923925"/>
                <a:gd name="connsiteY277" fmla="*/ 389631 h 485775"/>
                <a:gd name="connsiteX278" fmla="*/ 832193 w 923925"/>
                <a:gd name="connsiteY278" fmla="*/ 385945 h 485775"/>
                <a:gd name="connsiteX279" fmla="*/ 835879 w 923925"/>
                <a:gd name="connsiteY279" fmla="*/ 385945 h 485775"/>
                <a:gd name="connsiteX280" fmla="*/ 839565 w 923925"/>
                <a:gd name="connsiteY280" fmla="*/ 382249 h 485775"/>
                <a:gd name="connsiteX281" fmla="*/ 843252 w 923925"/>
                <a:gd name="connsiteY281" fmla="*/ 382249 h 485775"/>
                <a:gd name="connsiteX282" fmla="*/ 850633 w 923925"/>
                <a:gd name="connsiteY282" fmla="*/ 374867 h 485775"/>
                <a:gd name="connsiteX283" fmla="*/ 861701 w 923925"/>
                <a:gd name="connsiteY283" fmla="*/ 363799 h 485775"/>
                <a:gd name="connsiteX284" fmla="*/ 869083 w 923925"/>
                <a:gd name="connsiteY284" fmla="*/ 360113 h 485775"/>
                <a:gd name="connsiteX285" fmla="*/ 861701 w 923925"/>
                <a:gd name="connsiteY285" fmla="*/ 349036 h 485775"/>
                <a:gd name="connsiteX286" fmla="*/ 854319 w 923925"/>
                <a:gd name="connsiteY286" fmla="*/ 334272 h 485775"/>
                <a:gd name="connsiteX287" fmla="*/ 839565 w 923925"/>
                <a:gd name="connsiteY287" fmla="*/ 308440 h 485775"/>
                <a:gd name="connsiteX288" fmla="*/ 839565 w 923925"/>
                <a:gd name="connsiteY288" fmla="*/ 304754 h 485775"/>
                <a:gd name="connsiteX289" fmla="*/ 832193 w 923925"/>
                <a:gd name="connsiteY289" fmla="*/ 271531 h 485775"/>
                <a:gd name="connsiteX290" fmla="*/ 828497 w 923925"/>
                <a:gd name="connsiteY290" fmla="*/ 264158 h 485775"/>
                <a:gd name="connsiteX291" fmla="*/ 828497 w 923925"/>
                <a:gd name="connsiteY291" fmla="*/ 256776 h 485775"/>
                <a:gd name="connsiteX292" fmla="*/ 824811 w 923925"/>
                <a:gd name="connsiteY292" fmla="*/ 245699 h 485775"/>
                <a:gd name="connsiteX293" fmla="*/ 821125 w 923925"/>
                <a:gd name="connsiteY293" fmla="*/ 212485 h 485775"/>
                <a:gd name="connsiteX294" fmla="*/ 835879 w 923925"/>
                <a:gd name="connsiteY294" fmla="*/ 216181 h 485775"/>
                <a:gd name="connsiteX295" fmla="*/ 846947 w 923925"/>
                <a:gd name="connsiteY295" fmla="*/ 219867 h 485775"/>
                <a:gd name="connsiteX296" fmla="*/ 854319 w 923925"/>
                <a:gd name="connsiteY296" fmla="*/ 223553 h 485775"/>
                <a:gd name="connsiteX297" fmla="*/ 861701 w 923925"/>
                <a:gd name="connsiteY297" fmla="*/ 223553 h 485775"/>
                <a:gd name="connsiteX298" fmla="*/ 869083 w 923925"/>
                <a:gd name="connsiteY298" fmla="*/ 223553 h 485775"/>
                <a:gd name="connsiteX299" fmla="*/ 876456 w 923925"/>
                <a:gd name="connsiteY299" fmla="*/ 219867 h 485775"/>
                <a:gd name="connsiteX300" fmla="*/ 887524 w 923925"/>
                <a:gd name="connsiteY300" fmla="*/ 216181 h 485775"/>
                <a:gd name="connsiteX301" fmla="*/ 894905 w 923925"/>
                <a:gd name="connsiteY301" fmla="*/ 212485 h 485775"/>
                <a:gd name="connsiteX302" fmla="*/ 902287 w 923925"/>
                <a:gd name="connsiteY302" fmla="*/ 208799 h 485775"/>
                <a:gd name="connsiteX303" fmla="*/ 902287 w 923925"/>
                <a:gd name="connsiteY303" fmla="*/ 212485 h 485775"/>
                <a:gd name="connsiteX304" fmla="*/ 905974 w 923925"/>
                <a:gd name="connsiteY304" fmla="*/ 212485 h 485775"/>
                <a:gd name="connsiteX305" fmla="*/ 909660 w 923925"/>
                <a:gd name="connsiteY305" fmla="*/ 216181 h 485775"/>
                <a:gd name="connsiteX306" fmla="*/ 917042 w 923925"/>
                <a:gd name="connsiteY306" fmla="*/ 223553 h 485775"/>
                <a:gd name="connsiteX307" fmla="*/ 917042 w 923925"/>
                <a:gd name="connsiteY307" fmla="*/ 219867 h 485775"/>
                <a:gd name="connsiteX308" fmla="*/ 920728 w 923925"/>
                <a:gd name="connsiteY308" fmla="*/ 219867 h 485775"/>
                <a:gd name="connsiteX309" fmla="*/ 924414 w 923925"/>
                <a:gd name="connsiteY309" fmla="*/ 219867 h 485775"/>
                <a:gd name="connsiteX310" fmla="*/ 920728 w 923925"/>
                <a:gd name="connsiteY310" fmla="*/ 216181 h 485775"/>
                <a:gd name="connsiteX311" fmla="*/ 920728 w 923925"/>
                <a:gd name="connsiteY311" fmla="*/ 212485 h 485775"/>
                <a:gd name="connsiteX312" fmla="*/ 920728 w 923925"/>
                <a:gd name="connsiteY312" fmla="*/ 208799 h 485775"/>
                <a:gd name="connsiteX313" fmla="*/ 920728 w 923925"/>
                <a:gd name="connsiteY313" fmla="*/ 205103 h 485775"/>
                <a:gd name="connsiteX314" fmla="*/ 920728 w 923925"/>
                <a:gd name="connsiteY314" fmla="*/ 201417 h 485775"/>
                <a:gd name="connsiteX315" fmla="*/ 917042 w 923925"/>
                <a:gd name="connsiteY315" fmla="*/ 194035 h 485775"/>
                <a:gd name="connsiteX316" fmla="*/ 913356 w 923925"/>
                <a:gd name="connsiteY316" fmla="*/ 190339 h 485775"/>
                <a:gd name="connsiteX317" fmla="*/ 913356 w 923925"/>
                <a:gd name="connsiteY317" fmla="*/ 186653 h 485775"/>
                <a:gd name="connsiteX318" fmla="*/ 913356 w 923925"/>
                <a:gd name="connsiteY318" fmla="*/ 175576 h 485775"/>
                <a:gd name="connsiteX319" fmla="*/ 909660 w 923925"/>
                <a:gd name="connsiteY319" fmla="*/ 171890 h 485775"/>
                <a:gd name="connsiteX320" fmla="*/ 909660 w 923925"/>
                <a:gd name="connsiteY320" fmla="*/ 168203 h 485775"/>
                <a:gd name="connsiteX321" fmla="*/ 905974 w 923925"/>
                <a:gd name="connsiteY321" fmla="*/ 164508 h 485775"/>
                <a:gd name="connsiteX322" fmla="*/ 902287 w 923925"/>
                <a:gd name="connsiteY322" fmla="*/ 160821 h 485775"/>
                <a:gd name="connsiteX323" fmla="*/ 898592 w 923925"/>
                <a:gd name="connsiteY323" fmla="*/ 157126 h 485775"/>
                <a:gd name="connsiteX324" fmla="*/ 887524 w 923925"/>
                <a:gd name="connsiteY324" fmla="*/ 153440 h 485775"/>
                <a:gd name="connsiteX325" fmla="*/ 887524 w 923925"/>
                <a:gd name="connsiteY325" fmla="*/ 149744 h 485775"/>
                <a:gd name="connsiteX326" fmla="*/ 883838 w 923925"/>
                <a:gd name="connsiteY326" fmla="*/ 146058 h 485775"/>
                <a:gd name="connsiteX327" fmla="*/ 883838 w 923925"/>
                <a:gd name="connsiteY327" fmla="*/ 134980 h 485775"/>
                <a:gd name="connsiteX328" fmla="*/ 883838 w 923925"/>
                <a:gd name="connsiteY328" fmla="*/ 131294 h 485775"/>
                <a:gd name="connsiteX329" fmla="*/ 883838 w 923925"/>
                <a:gd name="connsiteY329" fmla="*/ 127598 h 485775"/>
                <a:gd name="connsiteX330" fmla="*/ 883838 w 923925"/>
                <a:gd name="connsiteY330" fmla="*/ 120226 h 485775"/>
                <a:gd name="connsiteX331" fmla="*/ 880151 w 923925"/>
                <a:gd name="connsiteY331" fmla="*/ 120226 h 485775"/>
                <a:gd name="connsiteX332" fmla="*/ 880151 w 923925"/>
                <a:gd name="connsiteY332" fmla="*/ 116530 h 485775"/>
                <a:gd name="connsiteX333" fmla="*/ 880151 w 923925"/>
                <a:gd name="connsiteY333" fmla="*/ 109148 h 485775"/>
                <a:gd name="connsiteX334" fmla="*/ 876456 w 923925"/>
                <a:gd name="connsiteY334" fmla="*/ 98080 h 485775"/>
                <a:gd name="connsiteX335" fmla="*/ 872769 w 923925"/>
                <a:gd name="connsiteY335" fmla="*/ 98080 h 485775"/>
                <a:gd name="connsiteX336" fmla="*/ 869083 w 923925"/>
                <a:gd name="connsiteY336" fmla="*/ 94385 h 485775"/>
                <a:gd name="connsiteX337" fmla="*/ 861701 w 923925"/>
                <a:gd name="connsiteY337" fmla="*/ 94385 h 485775"/>
                <a:gd name="connsiteX338" fmla="*/ 854319 w 923925"/>
                <a:gd name="connsiteY338" fmla="*/ 90698 h 485775"/>
                <a:gd name="connsiteX339" fmla="*/ 846947 w 923925"/>
                <a:gd name="connsiteY339" fmla="*/ 90698 h 485775"/>
                <a:gd name="connsiteX340" fmla="*/ 843252 w 923925"/>
                <a:gd name="connsiteY340" fmla="*/ 87003 h 485775"/>
                <a:gd name="connsiteX341" fmla="*/ 843252 w 923925"/>
                <a:gd name="connsiteY341" fmla="*/ 79621 h 485775"/>
                <a:gd name="connsiteX342" fmla="*/ 839565 w 923925"/>
                <a:gd name="connsiteY342" fmla="*/ 72248 h 485775"/>
                <a:gd name="connsiteX343" fmla="*/ 839565 w 923925"/>
                <a:gd name="connsiteY343" fmla="*/ 68553 h 485775"/>
                <a:gd name="connsiteX344" fmla="*/ 839565 w 923925"/>
                <a:gd name="connsiteY344" fmla="*/ 64867 h 485775"/>
                <a:gd name="connsiteX345" fmla="*/ 835879 w 923925"/>
                <a:gd name="connsiteY345" fmla="*/ 64867 h 485775"/>
                <a:gd name="connsiteX346" fmla="*/ 832193 w 923925"/>
                <a:gd name="connsiteY346" fmla="*/ 61171 h 485775"/>
                <a:gd name="connsiteX347" fmla="*/ 828497 w 923925"/>
                <a:gd name="connsiteY347" fmla="*/ 61171 h 485775"/>
                <a:gd name="connsiteX348" fmla="*/ 821125 w 923925"/>
                <a:gd name="connsiteY348" fmla="*/ 61171 h 485775"/>
                <a:gd name="connsiteX349" fmla="*/ 810057 w 923925"/>
                <a:gd name="connsiteY349" fmla="*/ 61171 h 485775"/>
                <a:gd name="connsiteX350" fmla="*/ 806361 w 923925"/>
                <a:gd name="connsiteY350" fmla="*/ 61171 h 485775"/>
                <a:gd name="connsiteX351" fmla="*/ 795293 w 923925"/>
                <a:gd name="connsiteY351" fmla="*/ 64867 h 485775"/>
                <a:gd name="connsiteX352" fmla="*/ 791607 w 923925"/>
                <a:gd name="connsiteY352" fmla="*/ 64867 h 485775"/>
                <a:gd name="connsiteX353" fmla="*/ 784225 w 923925"/>
                <a:gd name="connsiteY353" fmla="*/ 64867 h 485775"/>
                <a:gd name="connsiteX354" fmla="*/ 780539 w 923925"/>
                <a:gd name="connsiteY354" fmla="*/ 64867 h 485775"/>
                <a:gd name="connsiteX355" fmla="*/ 776853 w 923925"/>
                <a:gd name="connsiteY355" fmla="*/ 64867 h 485775"/>
                <a:gd name="connsiteX356" fmla="*/ 773157 w 923925"/>
                <a:gd name="connsiteY356" fmla="*/ 61171 h 485775"/>
                <a:gd name="connsiteX357" fmla="*/ 773157 w 923925"/>
                <a:gd name="connsiteY357" fmla="*/ 57485 h 485775"/>
                <a:gd name="connsiteX358" fmla="*/ 769471 w 923925"/>
                <a:gd name="connsiteY358" fmla="*/ 53789 h 485775"/>
                <a:gd name="connsiteX359" fmla="*/ 765785 w 923925"/>
                <a:gd name="connsiteY359" fmla="*/ 50103 h 485775"/>
                <a:gd name="connsiteX360" fmla="*/ 762098 w 923925"/>
                <a:gd name="connsiteY360" fmla="*/ 50103 h 485775"/>
                <a:gd name="connsiteX361" fmla="*/ 758403 w 923925"/>
                <a:gd name="connsiteY361" fmla="*/ 50103 h 485775"/>
                <a:gd name="connsiteX362" fmla="*/ 754717 w 923925"/>
                <a:gd name="connsiteY362" fmla="*/ 46407 h 485775"/>
                <a:gd name="connsiteX363" fmla="*/ 751030 w 923925"/>
                <a:gd name="connsiteY363" fmla="*/ 46407 h 485775"/>
                <a:gd name="connsiteX364" fmla="*/ 751030 w 923925"/>
                <a:gd name="connsiteY364" fmla="*/ 39025 h 485775"/>
                <a:gd name="connsiteX365" fmla="*/ 747335 w 923925"/>
                <a:gd name="connsiteY365" fmla="*/ 39025 h 485775"/>
                <a:gd name="connsiteX366" fmla="*/ 743649 w 923925"/>
                <a:gd name="connsiteY366" fmla="*/ 35339 h 485775"/>
                <a:gd name="connsiteX367" fmla="*/ 739962 w 923925"/>
                <a:gd name="connsiteY367" fmla="*/ 35339 h 485775"/>
                <a:gd name="connsiteX368" fmla="*/ 736267 w 923925"/>
                <a:gd name="connsiteY368" fmla="*/ 35339 h 485775"/>
                <a:gd name="connsiteX369" fmla="*/ 732581 w 923925"/>
                <a:gd name="connsiteY369" fmla="*/ 31643 h 485775"/>
                <a:gd name="connsiteX370" fmla="*/ 728894 w 923925"/>
                <a:gd name="connsiteY370" fmla="*/ 27957 h 485775"/>
                <a:gd name="connsiteX371" fmla="*/ 725199 w 923925"/>
                <a:gd name="connsiteY371" fmla="*/ 24271 h 485775"/>
                <a:gd name="connsiteX372" fmla="*/ 725199 w 923925"/>
                <a:gd name="connsiteY372" fmla="*/ 16889 h 485775"/>
                <a:gd name="connsiteX373" fmla="*/ 721512 w 923925"/>
                <a:gd name="connsiteY373" fmla="*/ 13194 h 485775"/>
                <a:gd name="connsiteX374" fmla="*/ 714131 w 923925"/>
                <a:gd name="connsiteY374" fmla="*/ 13194 h 485775"/>
                <a:gd name="connsiteX375" fmla="*/ 710444 w 923925"/>
                <a:gd name="connsiteY375" fmla="*/ 13194 h 485775"/>
                <a:gd name="connsiteX376" fmla="*/ 706758 w 923925"/>
                <a:gd name="connsiteY376" fmla="*/ 9507 h 485775"/>
                <a:gd name="connsiteX377" fmla="*/ 699376 w 923925"/>
                <a:gd name="connsiteY377" fmla="*/ 5812 h 485775"/>
                <a:gd name="connsiteX378" fmla="*/ 695690 w 923925"/>
                <a:gd name="connsiteY378" fmla="*/ 5812 h 485775"/>
                <a:gd name="connsiteX379" fmla="*/ 692004 w 923925"/>
                <a:gd name="connsiteY379" fmla="*/ 5812 h 485775"/>
                <a:gd name="connsiteX380" fmla="*/ 684622 w 923925"/>
                <a:gd name="connsiteY380" fmla="*/ 5812 h 485775"/>
                <a:gd name="connsiteX381" fmla="*/ 680936 w 923925"/>
                <a:gd name="connsiteY381" fmla="*/ 5812 h 485775"/>
                <a:gd name="connsiteX382" fmla="*/ 677240 w 923925"/>
                <a:gd name="connsiteY382" fmla="*/ 9507 h 485775"/>
                <a:gd name="connsiteX383" fmla="*/ 677240 w 923925"/>
                <a:gd name="connsiteY383" fmla="*/ 13194 h 485775"/>
                <a:gd name="connsiteX384" fmla="*/ 673554 w 923925"/>
                <a:gd name="connsiteY384" fmla="*/ 16889 h 485775"/>
                <a:gd name="connsiteX385" fmla="*/ 669868 w 923925"/>
                <a:gd name="connsiteY385" fmla="*/ 16889 h 485775"/>
                <a:gd name="connsiteX386" fmla="*/ 666172 w 923925"/>
                <a:gd name="connsiteY386" fmla="*/ 13194 h 485775"/>
                <a:gd name="connsiteX387" fmla="*/ 662486 w 923925"/>
                <a:gd name="connsiteY387" fmla="*/ 13194 h 485775"/>
                <a:gd name="connsiteX388" fmla="*/ 658800 w 923925"/>
                <a:gd name="connsiteY388" fmla="*/ 13194 h 485775"/>
                <a:gd name="connsiteX389" fmla="*/ 658800 w 923925"/>
                <a:gd name="connsiteY389" fmla="*/ 9507 h 485775"/>
                <a:gd name="connsiteX390" fmla="*/ 655104 w 923925"/>
                <a:gd name="connsiteY390" fmla="*/ 5812 h 485775"/>
                <a:gd name="connsiteX391" fmla="*/ 651418 w 923925"/>
                <a:gd name="connsiteY391" fmla="*/ 5812 h 485775"/>
                <a:gd name="connsiteX392" fmla="*/ 647732 w 923925"/>
                <a:gd name="connsiteY392" fmla="*/ 5812 h 485775"/>
                <a:gd name="connsiteX393" fmla="*/ 644036 w 923925"/>
                <a:gd name="connsiteY393" fmla="*/ 5812 h 485775"/>
                <a:gd name="connsiteX394" fmla="*/ 644036 w 923925"/>
                <a:gd name="connsiteY394" fmla="*/ 9507 h 485775"/>
                <a:gd name="connsiteX395" fmla="*/ 640350 w 923925"/>
                <a:gd name="connsiteY395" fmla="*/ 16889 h 485775"/>
                <a:gd name="connsiteX396" fmla="*/ 636664 w 923925"/>
                <a:gd name="connsiteY396" fmla="*/ 20575 h 485775"/>
                <a:gd name="connsiteX397" fmla="*/ 629282 w 923925"/>
                <a:gd name="connsiteY397" fmla="*/ 20575 h 485775"/>
                <a:gd name="connsiteX398" fmla="*/ 621910 w 923925"/>
                <a:gd name="connsiteY398" fmla="*/ 20575 h 485775"/>
                <a:gd name="connsiteX399" fmla="*/ 618214 w 923925"/>
                <a:gd name="connsiteY399" fmla="*/ 20575 h 485775"/>
                <a:gd name="connsiteX400" fmla="*/ 614528 w 923925"/>
                <a:gd name="connsiteY400" fmla="*/ 16889 h 485775"/>
                <a:gd name="connsiteX401" fmla="*/ 610841 w 923925"/>
                <a:gd name="connsiteY401" fmla="*/ 13194 h 485775"/>
                <a:gd name="connsiteX402" fmla="*/ 610841 w 923925"/>
                <a:gd name="connsiteY402" fmla="*/ 9507 h 485775"/>
                <a:gd name="connsiteX403" fmla="*/ 607146 w 923925"/>
                <a:gd name="connsiteY403" fmla="*/ 9507 h 485775"/>
                <a:gd name="connsiteX404" fmla="*/ 603460 w 923925"/>
                <a:gd name="connsiteY404" fmla="*/ 13194 h 485775"/>
                <a:gd name="connsiteX405" fmla="*/ 603460 w 923925"/>
                <a:gd name="connsiteY405" fmla="*/ 16889 h 485775"/>
                <a:gd name="connsiteX406" fmla="*/ 599773 w 923925"/>
                <a:gd name="connsiteY406" fmla="*/ 20575 h 485775"/>
                <a:gd name="connsiteX407" fmla="*/ 596078 w 923925"/>
                <a:gd name="connsiteY407" fmla="*/ 24271 h 485775"/>
                <a:gd name="connsiteX408" fmla="*/ 588705 w 923925"/>
                <a:gd name="connsiteY408" fmla="*/ 35339 h 485775"/>
                <a:gd name="connsiteX409" fmla="*/ 588705 w 923925"/>
                <a:gd name="connsiteY409" fmla="*/ 39025 h 485775"/>
                <a:gd name="connsiteX410" fmla="*/ 585010 w 923925"/>
                <a:gd name="connsiteY410" fmla="*/ 46407 h 485775"/>
                <a:gd name="connsiteX411" fmla="*/ 585010 w 923925"/>
                <a:gd name="connsiteY411" fmla="*/ 53789 h 485775"/>
                <a:gd name="connsiteX412" fmla="*/ 585010 w 923925"/>
                <a:gd name="connsiteY412" fmla="*/ 61171 h 485775"/>
                <a:gd name="connsiteX413" fmla="*/ 581323 w 923925"/>
                <a:gd name="connsiteY413" fmla="*/ 61171 h 485775"/>
                <a:gd name="connsiteX414" fmla="*/ 581323 w 923925"/>
                <a:gd name="connsiteY414" fmla="*/ 64867 h 485775"/>
                <a:gd name="connsiteX415" fmla="*/ 562874 w 923925"/>
                <a:gd name="connsiteY415" fmla="*/ 72248 h 485775"/>
                <a:gd name="connsiteX416" fmla="*/ 555501 w 923925"/>
                <a:gd name="connsiteY416" fmla="*/ 75935 h 485775"/>
                <a:gd name="connsiteX417" fmla="*/ 555501 w 923925"/>
                <a:gd name="connsiteY417" fmla="*/ 79621 h 485775"/>
                <a:gd name="connsiteX418" fmla="*/ 551815 w 923925"/>
                <a:gd name="connsiteY418" fmla="*/ 79621 h 485775"/>
                <a:gd name="connsiteX419" fmla="*/ 544433 w 923925"/>
                <a:gd name="connsiteY419" fmla="*/ 75935 h 485775"/>
                <a:gd name="connsiteX420" fmla="*/ 537051 w 923925"/>
                <a:gd name="connsiteY420" fmla="*/ 75935 h 485775"/>
                <a:gd name="connsiteX421" fmla="*/ 533365 w 923925"/>
                <a:gd name="connsiteY421" fmla="*/ 79621 h 485775"/>
                <a:gd name="connsiteX422" fmla="*/ 529675 w 923925"/>
                <a:gd name="connsiteY422" fmla="*/ 83317 h 485775"/>
                <a:gd name="connsiteX423" fmla="*/ 525986 w 923925"/>
                <a:gd name="connsiteY423" fmla="*/ 79621 h 485775"/>
                <a:gd name="connsiteX424" fmla="*/ 518608 w 923925"/>
                <a:gd name="connsiteY424" fmla="*/ 75935 h 485775"/>
                <a:gd name="connsiteX425" fmla="*/ 514919 w 923925"/>
                <a:gd name="connsiteY425" fmla="*/ 72248 h 485775"/>
                <a:gd name="connsiteX426" fmla="*/ 511230 w 923925"/>
                <a:gd name="connsiteY426" fmla="*/ 75935 h 485775"/>
                <a:gd name="connsiteX427" fmla="*/ 507540 w 923925"/>
                <a:gd name="connsiteY427" fmla="*/ 75935 h 485775"/>
                <a:gd name="connsiteX428" fmla="*/ 503851 w 923925"/>
                <a:gd name="connsiteY428" fmla="*/ 75935 h 485775"/>
                <a:gd name="connsiteX429" fmla="*/ 496473 w 923925"/>
                <a:gd name="connsiteY429" fmla="*/ 75935 h 485775"/>
                <a:gd name="connsiteX430" fmla="*/ 492784 w 923925"/>
                <a:gd name="connsiteY430" fmla="*/ 75935 h 485775"/>
                <a:gd name="connsiteX431" fmla="*/ 485405 w 923925"/>
                <a:gd name="connsiteY431" fmla="*/ 75935 h 485775"/>
                <a:gd name="connsiteX432" fmla="*/ 478027 w 923925"/>
                <a:gd name="connsiteY432" fmla="*/ 75935 h 485775"/>
                <a:gd name="connsiteX433" fmla="*/ 470649 w 923925"/>
                <a:gd name="connsiteY433" fmla="*/ 79621 h 485775"/>
                <a:gd name="connsiteX434" fmla="*/ 466960 w 923925"/>
                <a:gd name="connsiteY434" fmla="*/ 75935 h 485775"/>
                <a:gd name="connsiteX435" fmla="*/ 466960 w 923925"/>
                <a:gd name="connsiteY435" fmla="*/ 72248 h 485775"/>
                <a:gd name="connsiteX436" fmla="*/ 470649 w 923925"/>
                <a:gd name="connsiteY436" fmla="*/ 72248 h 485775"/>
                <a:gd name="connsiteX437" fmla="*/ 474338 w 923925"/>
                <a:gd name="connsiteY437" fmla="*/ 68553 h 485775"/>
                <a:gd name="connsiteX438" fmla="*/ 478027 w 923925"/>
                <a:gd name="connsiteY438" fmla="*/ 64867 h 485775"/>
                <a:gd name="connsiteX439" fmla="*/ 474338 w 923925"/>
                <a:gd name="connsiteY439" fmla="*/ 61171 h 485775"/>
                <a:gd name="connsiteX440" fmla="*/ 474338 w 923925"/>
                <a:gd name="connsiteY440" fmla="*/ 57485 h 485775"/>
                <a:gd name="connsiteX441" fmla="*/ 474338 w 923925"/>
                <a:gd name="connsiteY441" fmla="*/ 53789 h 485775"/>
                <a:gd name="connsiteX442" fmla="*/ 474338 w 923925"/>
                <a:gd name="connsiteY442" fmla="*/ 50103 h 485775"/>
                <a:gd name="connsiteX443" fmla="*/ 463271 w 923925"/>
                <a:gd name="connsiteY443" fmla="*/ 46407 h 485775"/>
                <a:gd name="connsiteX444" fmla="*/ 459581 w 923925"/>
                <a:gd name="connsiteY444" fmla="*/ 42721 h 485775"/>
                <a:gd name="connsiteX445" fmla="*/ 455892 w 923925"/>
                <a:gd name="connsiteY445" fmla="*/ 39025 h 485775"/>
                <a:gd name="connsiteX446" fmla="*/ 452203 w 923925"/>
                <a:gd name="connsiteY446" fmla="*/ 39025 h 485775"/>
                <a:gd name="connsiteX447" fmla="*/ 448514 w 923925"/>
                <a:gd name="connsiteY447" fmla="*/ 42721 h 485775"/>
                <a:gd name="connsiteX448" fmla="*/ 444825 w 923925"/>
                <a:gd name="connsiteY448" fmla="*/ 46407 h 485775"/>
                <a:gd name="connsiteX449" fmla="*/ 441136 w 923925"/>
                <a:gd name="connsiteY449" fmla="*/ 46407 h 485775"/>
                <a:gd name="connsiteX450" fmla="*/ 441136 w 923925"/>
                <a:gd name="connsiteY450" fmla="*/ 42721 h 485775"/>
                <a:gd name="connsiteX451" fmla="*/ 437445 w 923925"/>
                <a:gd name="connsiteY451" fmla="*/ 42721 h 485775"/>
                <a:gd name="connsiteX452" fmla="*/ 437445 w 923925"/>
                <a:gd name="connsiteY452" fmla="*/ 39025 h 485775"/>
                <a:gd name="connsiteX453" fmla="*/ 433756 w 923925"/>
                <a:gd name="connsiteY453" fmla="*/ 35339 h 485775"/>
                <a:gd name="connsiteX454" fmla="*/ 433756 w 923925"/>
                <a:gd name="connsiteY454" fmla="*/ 31643 h 485775"/>
                <a:gd name="connsiteX455" fmla="*/ 430067 w 923925"/>
                <a:gd name="connsiteY455" fmla="*/ 31643 h 485775"/>
                <a:gd name="connsiteX456" fmla="*/ 426378 w 923925"/>
                <a:gd name="connsiteY456" fmla="*/ 27957 h 485775"/>
                <a:gd name="connsiteX457" fmla="*/ 419000 w 923925"/>
                <a:gd name="connsiteY457" fmla="*/ 24271 h 485775"/>
                <a:gd name="connsiteX458" fmla="*/ 415310 w 923925"/>
                <a:gd name="connsiteY458" fmla="*/ 20575 h 485775"/>
                <a:gd name="connsiteX459" fmla="*/ 411621 w 923925"/>
                <a:gd name="connsiteY459" fmla="*/ 20575 h 485775"/>
                <a:gd name="connsiteX460" fmla="*/ 411621 w 923925"/>
                <a:gd name="connsiteY460" fmla="*/ 16889 h 485775"/>
                <a:gd name="connsiteX461" fmla="*/ 411621 w 923925"/>
                <a:gd name="connsiteY461" fmla="*/ 13194 h 485775"/>
                <a:gd name="connsiteX462" fmla="*/ 407932 w 923925"/>
                <a:gd name="connsiteY462" fmla="*/ 13194 h 485775"/>
                <a:gd name="connsiteX463" fmla="*/ 400554 w 923925"/>
                <a:gd name="connsiteY463" fmla="*/ 13194 h 485775"/>
                <a:gd name="connsiteX464" fmla="*/ 396865 w 923925"/>
                <a:gd name="connsiteY464" fmla="*/ 9507 h 485775"/>
                <a:gd name="connsiteX465" fmla="*/ 393175 w 923925"/>
                <a:gd name="connsiteY465" fmla="*/ 9507 h 485775"/>
                <a:gd name="connsiteX466" fmla="*/ 385797 w 923925"/>
                <a:gd name="connsiteY466" fmla="*/ 9507 h 485775"/>
                <a:gd name="connsiteX467" fmla="*/ 378419 w 923925"/>
                <a:gd name="connsiteY467" fmla="*/ 5812 h 485775"/>
                <a:gd name="connsiteX468" fmla="*/ 374730 w 923925"/>
                <a:gd name="connsiteY468" fmla="*/ 5812 h 485775"/>
                <a:gd name="connsiteX469" fmla="*/ 371041 w 923925"/>
                <a:gd name="connsiteY469" fmla="*/ 5812 h 485775"/>
                <a:gd name="connsiteX470" fmla="*/ 363662 w 923925"/>
                <a:gd name="connsiteY470" fmla="*/ 5812 h 485775"/>
                <a:gd name="connsiteX471" fmla="*/ 367351 w 923925"/>
                <a:gd name="connsiteY471" fmla="*/ 349036 h 485775"/>
                <a:gd name="connsiteX472" fmla="*/ 363662 w 923925"/>
                <a:gd name="connsiteY472" fmla="*/ 349036 h 485775"/>
                <a:gd name="connsiteX473" fmla="*/ 359973 w 923925"/>
                <a:gd name="connsiteY473" fmla="*/ 349036 h 485775"/>
                <a:gd name="connsiteX474" fmla="*/ 363662 w 923925"/>
                <a:gd name="connsiteY474" fmla="*/ 352731 h 485775"/>
                <a:gd name="connsiteX475" fmla="*/ 367351 w 923925"/>
                <a:gd name="connsiteY475" fmla="*/ 349036 h 485775"/>
                <a:gd name="connsiteX476" fmla="*/ 363662 w 923925"/>
                <a:gd name="connsiteY476" fmla="*/ 308440 h 485775"/>
                <a:gd name="connsiteX477" fmla="*/ 367351 w 923925"/>
                <a:gd name="connsiteY477" fmla="*/ 308440 h 485775"/>
                <a:gd name="connsiteX478" fmla="*/ 367351 w 923925"/>
                <a:gd name="connsiteY478" fmla="*/ 312136 h 485775"/>
                <a:gd name="connsiteX479" fmla="*/ 371041 w 923925"/>
                <a:gd name="connsiteY479" fmla="*/ 315822 h 485775"/>
                <a:gd name="connsiteX480" fmla="*/ 374730 w 923925"/>
                <a:gd name="connsiteY480" fmla="*/ 315822 h 485775"/>
                <a:gd name="connsiteX481" fmla="*/ 374730 w 923925"/>
                <a:gd name="connsiteY481" fmla="*/ 319508 h 485775"/>
                <a:gd name="connsiteX482" fmla="*/ 374730 w 923925"/>
                <a:gd name="connsiteY482" fmla="*/ 323204 h 485775"/>
                <a:gd name="connsiteX483" fmla="*/ 371041 w 923925"/>
                <a:gd name="connsiteY483" fmla="*/ 323204 h 485775"/>
                <a:gd name="connsiteX484" fmla="*/ 367351 w 923925"/>
                <a:gd name="connsiteY484" fmla="*/ 319508 h 485775"/>
                <a:gd name="connsiteX485" fmla="*/ 363662 w 923925"/>
                <a:gd name="connsiteY485" fmla="*/ 319508 h 485775"/>
                <a:gd name="connsiteX486" fmla="*/ 367351 w 923925"/>
                <a:gd name="connsiteY486" fmla="*/ 315822 h 485775"/>
                <a:gd name="connsiteX487" fmla="*/ 363662 w 923925"/>
                <a:gd name="connsiteY487" fmla="*/ 312136 h 485775"/>
                <a:gd name="connsiteX488" fmla="*/ 363662 w 923925"/>
                <a:gd name="connsiteY488" fmla="*/ 308440 h 485775"/>
                <a:gd name="connsiteX489" fmla="*/ 371041 w 923925"/>
                <a:gd name="connsiteY489" fmla="*/ 308440 h 485775"/>
                <a:gd name="connsiteX490" fmla="*/ 374730 w 923925"/>
                <a:gd name="connsiteY490" fmla="*/ 312136 h 485775"/>
                <a:gd name="connsiteX491" fmla="*/ 371041 w 923925"/>
                <a:gd name="connsiteY491" fmla="*/ 312136 h 485775"/>
                <a:gd name="connsiteX492" fmla="*/ 371041 w 923925"/>
                <a:gd name="connsiteY492" fmla="*/ 308440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Lst>
              <a:rect l="l" t="t" r="r" b="b"/>
              <a:pathLst>
                <a:path w="923925" h="485775">
                  <a:moveTo>
                    <a:pt x="363662" y="5812"/>
                  </a:moveTo>
                  <a:lnTo>
                    <a:pt x="359973" y="9507"/>
                  </a:lnTo>
                  <a:lnTo>
                    <a:pt x="352595" y="13194"/>
                  </a:lnTo>
                  <a:lnTo>
                    <a:pt x="348906" y="13194"/>
                  </a:lnTo>
                  <a:lnTo>
                    <a:pt x="341527" y="24271"/>
                  </a:lnTo>
                  <a:lnTo>
                    <a:pt x="337838" y="24271"/>
                  </a:lnTo>
                  <a:lnTo>
                    <a:pt x="330460" y="27957"/>
                  </a:lnTo>
                  <a:lnTo>
                    <a:pt x="326771" y="27957"/>
                  </a:lnTo>
                  <a:lnTo>
                    <a:pt x="319392" y="27957"/>
                  </a:lnTo>
                  <a:lnTo>
                    <a:pt x="312014" y="27957"/>
                  </a:lnTo>
                  <a:lnTo>
                    <a:pt x="304636" y="27957"/>
                  </a:lnTo>
                  <a:lnTo>
                    <a:pt x="297257" y="31643"/>
                  </a:lnTo>
                  <a:lnTo>
                    <a:pt x="293568" y="31643"/>
                  </a:lnTo>
                  <a:lnTo>
                    <a:pt x="289878" y="35339"/>
                  </a:lnTo>
                  <a:lnTo>
                    <a:pt x="289878" y="39025"/>
                  </a:lnTo>
                  <a:lnTo>
                    <a:pt x="286189" y="42721"/>
                  </a:lnTo>
                  <a:lnTo>
                    <a:pt x="282500" y="46407"/>
                  </a:lnTo>
                  <a:lnTo>
                    <a:pt x="278811" y="57485"/>
                  </a:lnTo>
                  <a:lnTo>
                    <a:pt x="275121" y="61171"/>
                  </a:lnTo>
                  <a:lnTo>
                    <a:pt x="271432" y="68553"/>
                  </a:lnTo>
                  <a:lnTo>
                    <a:pt x="260365" y="75935"/>
                  </a:lnTo>
                  <a:lnTo>
                    <a:pt x="252986" y="79621"/>
                  </a:lnTo>
                  <a:lnTo>
                    <a:pt x="249297" y="83317"/>
                  </a:lnTo>
                  <a:lnTo>
                    <a:pt x="245608" y="87003"/>
                  </a:lnTo>
                  <a:lnTo>
                    <a:pt x="230851" y="90698"/>
                  </a:lnTo>
                  <a:lnTo>
                    <a:pt x="230851" y="94385"/>
                  </a:lnTo>
                  <a:lnTo>
                    <a:pt x="223473" y="98080"/>
                  </a:lnTo>
                  <a:lnTo>
                    <a:pt x="219784" y="101766"/>
                  </a:lnTo>
                  <a:lnTo>
                    <a:pt x="216095" y="101766"/>
                  </a:lnTo>
                  <a:lnTo>
                    <a:pt x="212406" y="105462"/>
                  </a:lnTo>
                  <a:lnTo>
                    <a:pt x="208717" y="109148"/>
                  </a:lnTo>
                  <a:lnTo>
                    <a:pt x="179203" y="116530"/>
                  </a:lnTo>
                  <a:lnTo>
                    <a:pt x="175514" y="116530"/>
                  </a:lnTo>
                  <a:lnTo>
                    <a:pt x="171825" y="116530"/>
                  </a:lnTo>
                  <a:lnTo>
                    <a:pt x="160757" y="120226"/>
                  </a:lnTo>
                  <a:lnTo>
                    <a:pt x="153379" y="120226"/>
                  </a:lnTo>
                  <a:lnTo>
                    <a:pt x="142311" y="116530"/>
                  </a:lnTo>
                  <a:lnTo>
                    <a:pt x="138621" y="112844"/>
                  </a:lnTo>
                  <a:lnTo>
                    <a:pt x="134932" y="112844"/>
                  </a:lnTo>
                  <a:lnTo>
                    <a:pt x="131243" y="109148"/>
                  </a:lnTo>
                  <a:lnTo>
                    <a:pt x="127554" y="109148"/>
                  </a:lnTo>
                  <a:lnTo>
                    <a:pt x="120176" y="109148"/>
                  </a:lnTo>
                  <a:lnTo>
                    <a:pt x="116487" y="112844"/>
                  </a:lnTo>
                  <a:lnTo>
                    <a:pt x="109108" y="116530"/>
                  </a:lnTo>
                  <a:lnTo>
                    <a:pt x="105419" y="120226"/>
                  </a:lnTo>
                  <a:lnTo>
                    <a:pt x="105419" y="123912"/>
                  </a:lnTo>
                  <a:lnTo>
                    <a:pt x="101730" y="131294"/>
                  </a:lnTo>
                  <a:lnTo>
                    <a:pt x="98041" y="134980"/>
                  </a:lnTo>
                  <a:lnTo>
                    <a:pt x="94352" y="138676"/>
                  </a:lnTo>
                  <a:lnTo>
                    <a:pt x="90662" y="142362"/>
                  </a:lnTo>
                  <a:lnTo>
                    <a:pt x="83284" y="146058"/>
                  </a:lnTo>
                  <a:lnTo>
                    <a:pt x="79595" y="146058"/>
                  </a:lnTo>
                  <a:lnTo>
                    <a:pt x="75906" y="149744"/>
                  </a:lnTo>
                  <a:lnTo>
                    <a:pt x="72217" y="149744"/>
                  </a:lnTo>
                  <a:lnTo>
                    <a:pt x="72217" y="146058"/>
                  </a:lnTo>
                  <a:lnTo>
                    <a:pt x="68527" y="146058"/>
                  </a:lnTo>
                  <a:lnTo>
                    <a:pt x="64838" y="149744"/>
                  </a:lnTo>
                  <a:lnTo>
                    <a:pt x="57460" y="149744"/>
                  </a:lnTo>
                  <a:lnTo>
                    <a:pt x="53771" y="149744"/>
                  </a:lnTo>
                  <a:lnTo>
                    <a:pt x="50082" y="153440"/>
                  </a:lnTo>
                  <a:lnTo>
                    <a:pt x="46393" y="153440"/>
                  </a:lnTo>
                  <a:lnTo>
                    <a:pt x="42703" y="153440"/>
                  </a:lnTo>
                  <a:lnTo>
                    <a:pt x="39014" y="160821"/>
                  </a:lnTo>
                  <a:lnTo>
                    <a:pt x="35325" y="160821"/>
                  </a:lnTo>
                  <a:lnTo>
                    <a:pt x="35325" y="157126"/>
                  </a:lnTo>
                  <a:lnTo>
                    <a:pt x="31636" y="157126"/>
                  </a:lnTo>
                  <a:lnTo>
                    <a:pt x="27947" y="157126"/>
                  </a:lnTo>
                  <a:lnTo>
                    <a:pt x="16879" y="160821"/>
                  </a:lnTo>
                  <a:lnTo>
                    <a:pt x="13190" y="164508"/>
                  </a:lnTo>
                  <a:lnTo>
                    <a:pt x="9501" y="168203"/>
                  </a:lnTo>
                  <a:lnTo>
                    <a:pt x="5812" y="175576"/>
                  </a:lnTo>
                  <a:lnTo>
                    <a:pt x="5812" y="179271"/>
                  </a:lnTo>
                  <a:lnTo>
                    <a:pt x="5812" y="186653"/>
                  </a:lnTo>
                  <a:lnTo>
                    <a:pt x="5812" y="190339"/>
                  </a:lnTo>
                  <a:lnTo>
                    <a:pt x="9501" y="194035"/>
                  </a:lnTo>
                  <a:lnTo>
                    <a:pt x="24258" y="212485"/>
                  </a:lnTo>
                  <a:lnTo>
                    <a:pt x="24258" y="219867"/>
                  </a:lnTo>
                  <a:lnTo>
                    <a:pt x="27947" y="223553"/>
                  </a:lnTo>
                  <a:lnTo>
                    <a:pt x="27947" y="227249"/>
                  </a:lnTo>
                  <a:lnTo>
                    <a:pt x="24258" y="234631"/>
                  </a:lnTo>
                  <a:lnTo>
                    <a:pt x="20568" y="245699"/>
                  </a:lnTo>
                  <a:lnTo>
                    <a:pt x="16879" y="253081"/>
                  </a:lnTo>
                  <a:lnTo>
                    <a:pt x="16879" y="256776"/>
                  </a:lnTo>
                  <a:lnTo>
                    <a:pt x="24258" y="271531"/>
                  </a:lnTo>
                  <a:lnTo>
                    <a:pt x="39014" y="312136"/>
                  </a:lnTo>
                  <a:lnTo>
                    <a:pt x="46393" y="323204"/>
                  </a:lnTo>
                  <a:lnTo>
                    <a:pt x="39014" y="326890"/>
                  </a:lnTo>
                  <a:lnTo>
                    <a:pt x="39014" y="330585"/>
                  </a:lnTo>
                  <a:lnTo>
                    <a:pt x="42703" y="341654"/>
                  </a:lnTo>
                  <a:lnTo>
                    <a:pt x="39014" y="352731"/>
                  </a:lnTo>
                  <a:lnTo>
                    <a:pt x="39014" y="356417"/>
                  </a:lnTo>
                  <a:lnTo>
                    <a:pt x="42703" y="356417"/>
                  </a:lnTo>
                  <a:lnTo>
                    <a:pt x="46393" y="360113"/>
                  </a:lnTo>
                  <a:lnTo>
                    <a:pt x="72217" y="360113"/>
                  </a:lnTo>
                  <a:lnTo>
                    <a:pt x="72217" y="363799"/>
                  </a:lnTo>
                  <a:lnTo>
                    <a:pt x="75906" y="367485"/>
                  </a:lnTo>
                  <a:lnTo>
                    <a:pt x="75906" y="378563"/>
                  </a:lnTo>
                  <a:lnTo>
                    <a:pt x="79595" y="374867"/>
                  </a:lnTo>
                  <a:lnTo>
                    <a:pt x="90662" y="378563"/>
                  </a:lnTo>
                  <a:lnTo>
                    <a:pt x="94352" y="378563"/>
                  </a:lnTo>
                  <a:lnTo>
                    <a:pt x="98041" y="378563"/>
                  </a:lnTo>
                  <a:lnTo>
                    <a:pt x="101730" y="378563"/>
                  </a:lnTo>
                  <a:lnTo>
                    <a:pt x="105419" y="378563"/>
                  </a:lnTo>
                  <a:lnTo>
                    <a:pt x="109108" y="374867"/>
                  </a:lnTo>
                  <a:lnTo>
                    <a:pt x="116487" y="371181"/>
                  </a:lnTo>
                  <a:lnTo>
                    <a:pt x="120176" y="371181"/>
                  </a:lnTo>
                  <a:lnTo>
                    <a:pt x="120176" y="367485"/>
                  </a:lnTo>
                  <a:lnTo>
                    <a:pt x="120176" y="363799"/>
                  </a:lnTo>
                  <a:lnTo>
                    <a:pt x="101730" y="337967"/>
                  </a:lnTo>
                  <a:lnTo>
                    <a:pt x="98041" y="326890"/>
                  </a:lnTo>
                  <a:lnTo>
                    <a:pt x="101730" y="323204"/>
                  </a:lnTo>
                  <a:lnTo>
                    <a:pt x="105419" y="323204"/>
                  </a:lnTo>
                  <a:lnTo>
                    <a:pt x="105419" y="319508"/>
                  </a:lnTo>
                  <a:lnTo>
                    <a:pt x="105419" y="315822"/>
                  </a:lnTo>
                  <a:lnTo>
                    <a:pt x="105419" y="312136"/>
                  </a:lnTo>
                  <a:lnTo>
                    <a:pt x="105419" y="308440"/>
                  </a:lnTo>
                  <a:lnTo>
                    <a:pt x="101730" y="308440"/>
                  </a:lnTo>
                  <a:lnTo>
                    <a:pt x="98041" y="304754"/>
                  </a:lnTo>
                  <a:lnTo>
                    <a:pt x="101730" y="301058"/>
                  </a:lnTo>
                  <a:lnTo>
                    <a:pt x="127554" y="289990"/>
                  </a:lnTo>
                  <a:lnTo>
                    <a:pt x="134932" y="289990"/>
                  </a:lnTo>
                  <a:lnTo>
                    <a:pt x="138621" y="286294"/>
                  </a:lnTo>
                  <a:lnTo>
                    <a:pt x="142311" y="282608"/>
                  </a:lnTo>
                  <a:lnTo>
                    <a:pt x="146000" y="282608"/>
                  </a:lnTo>
                  <a:lnTo>
                    <a:pt x="149690" y="282608"/>
                  </a:lnTo>
                  <a:lnTo>
                    <a:pt x="175514" y="278912"/>
                  </a:lnTo>
                  <a:lnTo>
                    <a:pt x="179203" y="286294"/>
                  </a:lnTo>
                  <a:lnTo>
                    <a:pt x="171825" y="304754"/>
                  </a:lnTo>
                  <a:lnTo>
                    <a:pt x="175514" y="326890"/>
                  </a:lnTo>
                  <a:lnTo>
                    <a:pt x="193960" y="319508"/>
                  </a:lnTo>
                  <a:lnTo>
                    <a:pt x="197649" y="319508"/>
                  </a:lnTo>
                  <a:lnTo>
                    <a:pt x="205027" y="319508"/>
                  </a:lnTo>
                  <a:lnTo>
                    <a:pt x="219784" y="323204"/>
                  </a:lnTo>
                  <a:lnTo>
                    <a:pt x="227162" y="326890"/>
                  </a:lnTo>
                  <a:lnTo>
                    <a:pt x="230851" y="326890"/>
                  </a:lnTo>
                  <a:lnTo>
                    <a:pt x="230851" y="323204"/>
                  </a:lnTo>
                  <a:lnTo>
                    <a:pt x="234541" y="326890"/>
                  </a:lnTo>
                  <a:lnTo>
                    <a:pt x="241919" y="323204"/>
                  </a:lnTo>
                  <a:lnTo>
                    <a:pt x="238230" y="308440"/>
                  </a:lnTo>
                  <a:lnTo>
                    <a:pt x="249297" y="304754"/>
                  </a:lnTo>
                  <a:lnTo>
                    <a:pt x="252986" y="304754"/>
                  </a:lnTo>
                  <a:lnTo>
                    <a:pt x="256676" y="293676"/>
                  </a:lnTo>
                  <a:lnTo>
                    <a:pt x="264054" y="289990"/>
                  </a:lnTo>
                  <a:lnTo>
                    <a:pt x="267743" y="286294"/>
                  </a:lnTo>
                  <a:lnTo>
                    <a:pt x="271432" y="278912"/>
                  </a:lnTo>
                  <a:lnTo>
                    <a:pt x="278811" y="275226"/>
                  </a:lnTo>
                  <a:lnTo>
                    <a:pt x="282500" y="271531"/>
                  </a:lnTo>
                  <a:lnTo>
                    <a:pt x="278811" y="267844"/>
                  </a:lnTo>
                  <a:lnTo>
                    <a:pt x="282500" y="267844"/>
                  </a:lnTo>
                  <a:lnTo>
                    <a:pt x="286189" y="267844"/>
                  </a:lnTo>
                  <a:lnTo>
                    <a:pt x="286189" y="264158"/>
                  </a:lnTo>
                  <a:lnTo>
                    <a:pt x="293568" y="260462"/>
                  </a:lnTo>
                  <a:lnTo>
                    <a:pt x="297257" y="264158"/>
                  </a:lnTo>
                  <a:lnTo>
                    <a:pt x="297257" y="267844"/>
                  </a:lnTo>
                  <a:lnTo>
                    <a:pt x="300946" y="267844"/>
                  </a:lnTo>
                  <a:lnTo>
                    <a:pt x="304636" y="267844"/>
                  </a:lnTo>
                  <a:lnTo>
                    <a:pt x="312014" y="271531"/>
                  </a:lnTo>
                  <a:lnTo>
                    <a:pt x="315703" y="271531"/>
                  </a:lnTo>
                  <a:lnTo>
                    <a:pt x="315703" y="275226"/>
                  </a:lnTo>
                  <a:lnTo>
                    <a:pt x="315703" y="278912"/>
                  </a:lnTo>
                  <a:lnTo>
                    <a:pt x="319392" y="282608"/>
                  </a:lnTo>
                  <a:lnTo>
                    <a:pt x="323081" y="278912"/>
                  </a:lnTo>
                  <a:lnTo>
                    <a:pt x="326771" y="282608"/>
                  </a:lnTo>
                  <a:lnTo>
                    <a:pt x="323081" y="289990"/>
                  </a:lnTo>
                  <a:lnTo>
                    <a:pt x="323081" y="297372"/>
                  </a:lnTo>
                  <a:lnTo>
                    <a:pt x="326771" y="297372"/>
                  </a:lnTo>
                  <a:lnTo>
                    <a:pt x="326771" y="301058"/>
                  </a:lnTo>
                  <a:lnTo>
                    <a:pt x="323081" y="301058"/>
                  </a:lnTo>
                  <a:lnTo>
                    <a:pt x="319392" y="304754"/>
                  </a:lnTo>
                  <a:lnTo>
                    <a:pt x="315703" y="308440"/>
                  </a:lnTo>
                  <a:lnTo>
                    <a:pt x="319392" y="323204"/>
                  </a:lnTo>
                  <a:lnTo>
                    <a:pt x="319392" y="326890"/>
                  </a:lnTo>
                  <a:lnTo>
                    <a:pt x="323081" y="326890"/>
                  </a:lnTo>
                  <a:lnTo>
                    <a:pt x="326771" y="326890"/>
                  </a:lnTo>
                  <a:lnTo>
                    <a:pt x="326771" y="330585"/>
                  </a:lnTo>
                  <a:lnTo>
                    <a:pt x="323081" y="330585"/>
                  </a:lnTo>
                  <a:lnTo>
                    <a:pt x="312014" y="326890"/>
                  </a:lnTo>
                  <a:lnTo>
                    <a:pt x="308325" y="323204"/>
                  </a:lnTo>
                  <a:lnTo>
                    <a:pt x="300946" y="323204"/>
                  </a:lnTo>
                  <a:lnTo>
                    <a:pt x="300946" y="319508"/>
                  </a:lnTo>
                  <a:lnTo>
                    <a:pt x="297257" y="319508"/>
                  </a:lnTo>
                  <a:lnTo>
                    <a:pt x="289878" y="323204"/>
                  </a:lnTo>
                  <a:lnTo>
                    <a:pt x="289878" y="326890"/>
                  </a:lnTo>
                  <a:lnTo>
                    <a:pt x="289878" y="330585"/>
                  </a:lnTo>
                  <a:lnTo>
                    <a:pt x="293568" y="334272"/>
                  </a:lnTo>
                  <a:lnTo>
                    <a:pt x="300946" y="337967"/>
                  </a:lnTo>
                  <a:lnTo>
                    <a:pt x="304636" y="337967"/>
                  </a:lnTo>
                  <a:lnTo>
                    <a:pt x="315703" y="334272"/>
                  </a:lnTo>
                  <a:lnTo>
                    <a:pt x="323081" y="334272"/>
                  </a:lnTo>
                  <a:lnTo>
                    <a:pt x="330460" y="334272"/>
                  </a:lnTo>
                  <a:lnTo>
                    <a:pt x="334149" y="337967"/>
                  </a:lnTo>
                  <a:lnTo>
                    <a:pt x="337838" y="337967"/>
                  </a:lnTo>
                  <a:lnTo>
                    <a:pt x="337838" y="334272"/>
                  </a:lnTo>
                  <a:lnTo>
                    <a:pt x="341527" y="334272"/>
                  </a:lnTo>
                  <a:lnTo>
                    <a:pt x="345217" y="334272"/>
                  </a:lnTo>
                  <a:lnTo>
                    <a:pt x="348906" y="334272"/>
                  </a:lnTo>
                  <a:lnTo>
                    <a:pt x="352595" y="334272"/>
                  </a:lnTo>
                  <a:lnTo>
                    <a:pt x="359973" y="341654"/>
                  </a:lnTo>
                  <a:lnTo>
                    <a:pt x="359973" y="345349"/>
                  </a:lnTo>
                  <a:lnTo>
                    <a:pt x="363662" y="345349"/>
                  </a:lnTo>
                  <a:lnTo>
                    <a:pt x="367351" y="349036"/>
                  </a:lnTo>
                  <a:lnTo>
                    <a:pt x="371041" y="349036"/>
                  </a:lnTo>
                  <a:lnTo>
                    <a:pt x="385797" y="326890"/>
                  </a:lnTo>
                  <a:lnTo>
                    <a:pt x="407932" y="312136"/>
                  </a:lnTo>
                  <a:lnTo>
                    <a:pt x="407932" y="304754"/>
                  </a:lnTo>
                  <a:lnTo>
                    <a:pt x="411621" y="304754"/>
                  </a:lnTo>
                  <a:lnTo>
                    <a:pt x="411621" y="301058"/>
                  </a:lnTo>
                  <a:lnTo>
                    <a:pt x="407932" y="297372"/>
                  </a:lnTo>
                  <a:lnTo>
                    <a:pt x="407932" y="293676"/>
                  </a:lnTo>
                  <a:lnTo>
                    <a:pt x="411621" y="289990"/>
                  </a:lnTo>
                  <a:lnTo>
                    <a:pt x="411621" y="286294"/>
                  </a:lnTo>
                  <a:lnTo>
                    <a:pt x="415310" y="282608"/>
                  </a:lnTo>
                  <a:lnTo>
                    <a:pt x="422689" y="278912"/>
                  </a:lnTo>
                  <a:lnTo>
                    <a:pt x="426378" y="278912"/>
                  </a:lnTo>
                  <a:lnTo>
                    <a:pt x="422689" y="282608"/>
                  </a:lnTo>
                  <a:lnTo>
                    <a:pt x="426378" y="286294"/>
                  </a:lnTo>
                  <a:lnTo>
                    <a:pt x="426378" y="289990"/>
                  </a:lnTo>
                  <a:lnTo>
                    <a:pt x="430067" y="289990"/>
                  </a:lnTo>
                  <a:lnTo>
                    <a:pt x="444825" y="289990"/>
                  </a:lnTo>
                  <a:lnTo>
                    <a:pt x="455892" y="323204"/>
                  </a:lnTo>
                  <a:lnTo>
                    <a:pt x="452203" y="330585"/>
                  </a:lnTo>
                  <a:lnTo>
                    <a:pt x="441136" y="352731"/>
                  </a:lnTo>
                  <a:lnTo>
                    <a:pt x="463271" y="378563"/>
                  </a:lnTo>
                  <a:lnTo>
                    <a:pt x="463271" y="382249"/>
                  </a:lnTo>
                  <a:lnTo>
                    <a:pt x="466960" y="385945"/>
                  </a:lnTo>
                  <a:lnTo>
                    <a:pt x="470649" y="389631"/>
                  </a:lnTo>
                  <a:lnTo>
                    <a:pt x="470649" y="415463"/>
                  </a:lnTo>
                  <a:lnTo>
                    <a:pt x="485405" y="419159"/>
                  </a:lnTo>
                  <a:lnTo>
                    <a:pt x="489095" y="415463"/>
                  </a:lnTo>
                  <a:lnTo>
                    <a:pt x="500162" y="411777"/>
                  </a:lnTo>
                  <a:lnTo>
                    <a:pt x="503851" y="411777"/>
                  </a:lnTo>
                  <a:lnTo>
                    <a:pt x="503851" y="408091"/>
                  </a:lnTo>
                  <a:lnTo>
                    <a:pt x="525986" y="422845"/>
                  </a:lnTo>
                  <a:lnTo>
                    <a:pt x="518608" y="452372"/>
                  </a:lnTo>
                  <a:lnTo>
                    <a:pt x="522297" y="456068"/>
                  </a:lnTo>
                  <a:lnTo>
                    <a:pt x="537051" y="452372"/>
                  </a:lnTo>
                  <a:lnTo>
                    <a:pt x="551815" y="456068"/>
                  </a:lnTo>
                  <a:lnTo>
                    <a:pt x="562874" y="456068"/>
                  </a:lnTo>
                  <a:lnTo>
                    <a:pt x="570255" y="456068"/>
                  </a:lnTo>
                  <a:lnTo>
                    <a:pt x="573942" y="452372"/>
                  </a:lnTo>
                  <a:lnTo>
                    <a:pt x="577637" y="444990"/>
                  </a:lnTo>
                  <a:lnTo>
                    <a:pt x="588705" y="448686"/>
                  </a:lnTo>
                  <a:lnTo>
                    <a:pt x="603460" y="452372"/>
                  </a:lnTo>
                  <a:lnTo>
                    <a:pt x="610841" y="456068"/>
                  </a:lnTo>
                  <a:lnTo>
                    <a:pt x="621910" y="444990"/>
                  </a:lnTo>
                  <a:lnTo>
                    <a:pt x="625596" y="441304"/>
                  </a:lnTo>
                  <a:lnTo>
                    <a:pt x="636664" y="437608"/>
                  </a:lnTo>
                  <a:lnTo>
                    <a:pt x="640350" y="433922"/>
                  </a:lnTo>
                  <a:lnTo>
                    <a:pt x="644036" y="430227"/>
                  </a:lnTo>
                  <a:lnTo>
                    <a:pt x="644036" y="426540"/>
                  </a:lnTo>
                  <a:lnTo>
                    <a:pt x="647732" y="426540"/>
                  </a:lnTo>
                  <a:lnTo>
                    <a:pt x="662486" y="430227"/>
                  </a:lnTo>
                  <a:lnTo>
                    <a:pt x="662486" y="433922"/>
                  </a:lnTo>
                  <a:lnTo>
                    <a:pt x="666172" y="441304"/>
                  </a:lnTo>
                  <a:lnTo>
                    <a:pt x="677240" y="448686"/>
                  </a:lnTo>
                  <a:lnTo>
                    <a:pt x="680936" y="452372"/>
                  </a:lnTo>
                  <a:lnTo>
                    <a:pt x="680936" y="456068"/>
                  </a:lnTo>
                  <a:lnTo>
                    <a:pt x="680936" y="459754"/>
                  </a:lnTo>
                  <a:lnTo>
                    <a:pt x="680936" y="463440"/>
                  </a:lnTo>
                  <a:lnTo>
                    <a:pt x="680936" y="467136"/>
                  </a:lnTo>
                  <a:lnTo>
                    <a:pt x="680936" y="474518"/>
                  </a:lnTo>
                  <a:lnTo>
                    <a:pt x="684622" y="489282"/>
                  </a:lnTo>
                  <a:lnTo>
                    <a:pt x="688308" y="489282"/>
                  </a:lnTo>
                  <a:lnTo>
                    <a:pt x="699376" y="485586"/>
                  </a:lnTo>
                  <a:lnTo>
                    <a:pt x="703063" y="485586"/>
                  </a:lnTo>
                  <a:lnTo>
                    <a:pt x="714131" y="481900"/>
                  </a:lnTo>
                  <a:lnTo>
                    <a:pt x="714131" y="467136"/>
                  </a:lnTo>
                  <a:lnTo>
                    <a:pt x="717826" y="448686"/>
                  </a:lnTo>
                  <a:lnTo>
                    <a:pt x="725199" y="433922"/>
                  </a:lnTo>
                  <a:lnTo>
                    <a:pt x="728894" y="426540"/>
                  </a:lnTo>
                  <a:lnTo>
                    <a:pt x="739962" y="415463"/>
                  </a:lnTo>
                  <a:lnTo>
                    <a:pt x="754717" y="408091"/>
                  </a:lnTo>
                  <a:lnTo>
                    <a:pt x="758403" y="408091"/>
                  </a:lnTo>
                  <a:lnTo>
                    <a:pt x="776853" y="404395"/>
                  </a:lnTo>
                  <a:lnTo>
                    <a:pt x="784225" y="400709"/>
                  </a:lnTo>
                  <a:lnTo>
                    <a:pt x="787921" y="400709"/>
                  </a:lnTo>
                  <a:lnTo>
                    <a:pt x="791607" y="397013"/>
                  </a:lnTo>
                  <a:lnTo>
                    <a:pt x="821125" y="389631"/>
                  </a:lnTo>
                  <a:lnTo>
                    <a:pt x="832193" y="385945"/>
                  </a:lnTo>
                  <a:lnTo>
                    <a:pt x="835879" y="385945"/>
                  </a:lnTo>
                  <a:lnTo>
                    <a:pt x="839565" y="382249"/>
                  </a:lnTo>
                  <a:lnTo>
                    <a:pt x="843252" y="382249"/>
                  </a:lnTo>
                  <a:lnTo>
                    <a:pt x="850633" y="374867"/>
                  </a:lnTo>
                  <a:lnTo>
                    <a:pt x="861701" y="363799"/>
                  </a:lnTo>
                  <a:lnTo>
                    <a:pt x="869083" y="360113"/>
                  </a:lnTo>
                  <a:lnTo>
                    <a:pt x="861701" y="349036"/>
                  </a:lnTo>
                  <a:lnTo>
                    <a:pt x="854319" y="334272"/>
                  </a:lnTo>
                  <a:lnTo>
                    <a:pt x="839565" y="308440"/>
                  </a:lnTo>
                  <a:lnTo>
                    <a:pt x="839565" y="304754"/>
                  </a:lnTo>
                  <a:lnTo>
                    <a:pt x="832193" y="271531"/>
                  </a:lnTo>
                  <a:lnTo>
                    <a:pt x="828497" y="264158"/>
                  </a:lnTo>
                  <a:lnTo>
                    <a:pt x="828497" y="256776"/>
                  </a:lnTo>
                  <a:lnTo>
                    <a:pt x="824811" y="245699"/>
                  </a:lnTo>
                  <a:lnTo>
                    <a:pt x="821125" y="212485"/>
                  </a:lnTo>
                  <a:lnTo>
                    <a:pt x="835879" y="216181"/>
                  </a:lnTo>
                  <a:lnTo>
                    <a:pt x="846947" y="219867"/>
                  </a:lnTo>
                  <a:lnTo>
                    <a:pt x="854319" y="223553"/>
                  </a:lnTo>
                  <a:lnTo>
                    <a:pt x="861701" y="223553"/>
                  </a:lnTo>
                  <a:lnTo>
                    <a:pt x="869083" y="223553"/>
                  </a:lnTo>
                  <a:lnTo>
                    <a:pt x="876456" y="219867"/>
                  </a:lnTo>
                  <a:lnTo>
                    <a:pt x="887524" y="216181"/>
                  </a:lnTo>
                  <a:lnTo>
                    <a:pt x="894905" y="212485"/>
                  </a:lnTo>
                  <a:lnTo>
                    <a:pt x="902287" y="208799"/>
                  </a:lnTo>
                  <a:lnTo>
                    <a:pt x="902287" y="212485"/>
                  </a:lnTo>
                  <a:lnTo>
                    <a:pt x="905974" y="212485"/>
                  </a:lnTo>
                  <a:lnTo>
                    <a:pt x="909660" y="216181"/>
                  </a:lnTo>
                  <a:lnTo>
                    <a:pt x="917042" y="223553"/>
                  </a:lnTo>
                  <a:lnTo>
                    <a:pt x="917042" y="219867"/>
                  </a:lnTo>
                  <a:lnTo>
                    <a:pt x="920728" y="219867"/>
                  </a:lnTo>
                  <a:lnTo>
                    <a:pt x="924414" y="219867"/>
                  </a:lnTo>
                  <a:lnTo>
                    <a:pt x="920728" y="216181"/>
                  </a:lnTo>
                  <a:lnTo>
                    <a:pt x="920728" y="212485"/>
                  </a:lnTo>
                  <a:lnTo>
                    <a:pt x="920728" y="208799"/>
                  </a:lnTo>
                  <a:lnTo>
                    <a:pt x="920728" y="205103"/>
                  </a:lnTo>
                  <a:lnTo>
                    <a:pt x="920728" y="201417"/>
                  </a:lnTo>
                  <a:lnTo>
                    <a:pt x="917042" y="194035"/>
                  </a:lnTo>
                  <a:lnTo>
                    <a:pt x="913356" y="190339"/>
                  </a:lnTo>
                  <a:lnTo>
                    <a:pt x="913356" y="186653"/>
                  </a:lnTo>
                  <a:lnTo>
                    <a:pt x="913356" y="175576"/>
                  </a:lnTo>
                  <a:lnTo>
                    <a:pt x="909660" y="171890"/>
                  </a:lnTo>
                  <a:lnTo>
                    <a:pt x="909660" y="168203"/>
                  </a:lnTo>
                  <a:lnTo>
                    <a:pt x="905974" y="164508"/>
                  </a:lnTo>
                  <a:lnTo>
                    <a:pt x="902287" y="160821"/>
                  </a:lnTo>
                  <a:lnTo>
                    <a:pt x="898592" y="157126"/>
                  </a:lnTo>
                  <a:lnTo>
                    <a:pt x="887524" y="153440"/>
                  </a:lnTo>
                  <a:lnTo>
                    <a:pt x="887524" y="149744"/>
                  </a:lnTo>
                  <a:lnTo>
                    <a:pt x="883838" y="146058"/>
                  </a:lnTo>
                  <a:lnTo>
                    <a:pt x="883838" y="134980"/>
                  </a:lnTo>
                  <a:lnTo>
                    <a:pt x="883838" y="131294"/>
                  </a:lnTo>
                  <a:lnTo>
                    <a:pt x="883838" y="127598"/>
                  </a:lnTo>
                  <a:lnTo>
                    <a:pt x="883838" y="120226"/>
                  </a:lnTo>
                  <a:lnTo>
                    <a:pt x="880151" y="120226"/>
                  </a:lnTo>
                  <a:lnTo>
                    <a:pt x="880151" y="116530"/>
                  </a:lnTo>
                  <a:lnTo>
                    <a:pt x="880151" y="109148"/>
                  </a:lnTo>
                  <a:lnTo>
                    <a:pt x="876456" y="98080"/>
                  </a:lnTo>
                  <a:lnTo>
                    <a:pt x="872769" y="98080"/>
                  </a:lnTo>
                  <a:lnTo>
                    <a:pt x="869083" y="94385"/>
                  </a:lnTo>
                  <a:lnTo>
                    <a:pt x="861701" y="94385"/>
                  </a:lnTo>
                  <a:lnTo>
                    <a:pt x="854319" y="90698"/>
                  </a:lnTo>
                  <a:lnTo>
                    <a:pt x="846947" y="90698"/>
                  </a:lnTo>
                  <a:lnTo>
                    <a:pt x="843252" y="87003"/>
                  </a:lnTo>
                  <a:lnTo>
                    <a:pt x="843252" y="79621"/>
                  </a:lnTo>
                  <a:lnTo>
                    <a:pt x="839565" y="72248"/>
                  </a:lnTo>
                  <a:lnTo>
                    <a:pt x="839565" y="68553"/>
                  </a:lnTo>
                  <a:lnTo>
                    <a:pt x="839565" y="64867"/>
                  </a:lnTo>
                  <a:lnTo>
                    <a:pt x="835879" y="64867"/>
                  </a:lnTo>
                  <a:lnTo>
                    <a:pt x="832193" y="61171"/>
                  </a:lnTo>
                  <a:lnTo>
                    <a:pt x="828497" y="61171"/>
                  </a:lnTo>
                  <a:lnTo>
                    <a:pt x="821125" y="61171"/>
                  </a:lnTo>
                  <a:lnTo>
                    <a:pt x="810057" y="61171"/>
                  </a:lnTo>
                  <a:lnTo>
                    <a:pt x="806361" y="61171"/>
                  </a:lnTo>
                  <a:lnTo>
                    <a:pt x="795293" y="64867"/>
                  </a:lnTo>
                  <a:lnTo>
                    <a:pt x="791607" y="64867"/>
                  </a:lnTo>
                  <a:lnTo>
                    <a:pt x="784225" y="64867"/>
                  </a:lnTo>
                  <a:lnTo>
                    <a:pt x="780539" y="64867"/>
                  </a:lnTo>
                  <a:lnTo>
                    <a:pt x="776853" y="64867"/>
                  </a:lnTo>
                  <a:lnTo>
                    <a:pt x="773157" y="61171"/>
                  </a:lnTo>
                  <a:lnTo>
                    <a:pt x="773157" y="57485"/>
                  </a:lnTo>
                  <a:lnTo>
                    <a:pt x="769471" y="53789"/>
                  </a:lnTo>
                  <a:lnTo>
                    <a:pt x="765785" y="50103"/>
                  </a:lnTo>
                  <a:lnTo>
                    <a:pt x="762098" y="50103"/>
                  </a:lnTo>
                  <a:lnTo>
                    <a:pt x="758403" y="50103"/>
                  </a:lnTo>
                  <a:lnTo>
                    <a:pt x="754717" y="46407"/>
                  </a:lnTo>
                  <a:lnTo>
                    <a:pt x="751030" y="46407"/>
                  </a:lnTo>
                  <a:lnTo>
                    <a:pt x="751030" y="39025"/>
                  </a:lnTo>
                  <a:lnTo>
                    <a:pt x="747335" y="39025"/>
                  </a:lnTo>
                  <a:lnTo>
                    <a:pt x="743649" y="35339"/>
                  </a:lnTo>
                  <a:lnTo>
                    <a:pt x="739962" y="35339"/>
                  </a:lnTo>
                  <a:lnTo>
                    <a:pt x="736267" y="35339"/>
                  </a:lnTo>
                  <a:lnTo>
                    <a:pt x="732581" y="31643"/>
                  </a:lnTo>
                  <a:lnTo>
                    <a:pt x="728894" y="27957"/>
                  </a:lnTo>
                  <a:lnTo>
                    <a:pt x="725199" y="24271"/>
                  </a:lnTo>
                  <a:lnTo>
                    <a:pt x="725199" y="16889"/>
                  </a:lnTo>
                  <a:lnTo>
                    <a:pt x="721512" y="13194"/>
                  </a:lnTo>
                  <a:lnTo>
                    <a:pt x="714131" y="13194"/>
                  </a:lnTo>
                  <a:lnTo>
                    <a:pt x="710444" y="13194"/>
                  </a:lnTo>
                  <a:lnTo>
                    <a:pt x="706758" y="9507"/>
                  </a:lnTo>
                  <a:lnTo>
                    <a:pt x="699376" y="5812"/>
                  </a:lnTo>
                  <a:lnTo>
                    <a:pt x="695690" y="5812"/>
                  </a:lnTo>
                  <a:lnTo>
                    <a:pt x="692004" y="5812"/>
                  </a:lnTo>
                  <a:lnTo>
                    <a:pt x="684622" y="5812"/>
                  </a:lnTo>
                  <a:lnTo>
                    <a:pt x="680936" y="5812"/>
                  </a:lnTo>
                  <a:lnTo>
                    <a:pt x="677240" y="9507"/>
                  </a:lnTo>
                  <a:lnTo>
                    <a:pt x="677240" y="13194"/>
                  </a:lnTo>
                  <a:lnTo>
                    <a:pt x="673554" y="16889"/>
                  </a:lnTo>
                  <a:lnTo>
                    <a:pt x="669868" y="16889"/>
                  </a:lnTo>
                  <a:lnTo>
                    <a:pt x="666172" y="13194"/>
                  </a:lnTo>
                  <a:lnTo>
                    <a:pt x="662486" y="13194"/>
                  </a:lnTo>
                  <a:lnTo>
                    <a:pt x="658800" y="13194"/>
                  </a:lnTo>
                  <a:lnTo>
                    <a:pt x="658800" y="9507"/>
                  </a:lnTo>
                  <a:lnTo>
                    <a:pt x="655104" y="5812"/>
                  </a:lnTo>
                  <a:lnTo>
                    <a:pt x="651418" y="5812"/>
                  </a:lnTo>
                  <a:lnTo>
                    <a:pt x="647732" y="5812"/>
                  </a:lnTo>
                  <a:lnTo>
                    <a:pt x="644036" y="5812"/>
                  </a:lnTo>
                  <a:lnTo>
                    <a:pt x="644036" y="9507"/>
                  </a:lnTo>
                  <a:lnTo>
                    <a:pt x="640350" y="16889"/>
                  </a:lnTo>
                  <a:lnTo>
                    <a:pt x="636664" y="20575"/>
                  </a:lnTo>
                  <a:lnTo>
                    <a:pt x="629282" y="20575"/>
                  </a:lnTo>
                  <a:lnTo>
                    <a:pt x="621910" y="20575"/>
                  </a:lnTo>
                  <a:lnTo>
                    <a:pt x="618214" y="20575"/>
                  </a:lnTo>
                  <a:lnTo>
                    <a:pt x="614528" y="16889"/>
                  </a:lnTo>
                  <a:lnTo>
                    <a:pt x="610841" y="13194"/>
                  </a:lnTo>
                  <a:lnTo>
                    <a:pt x="610841" y="9507"/>
                  </a:lnTo>
                  <a:lnTo>
                    <a:pt x="607146" y="9507"/>
                  </a:lnTo>
                  <a:lnTo>
                    <a:pt x="603460" y="13194"/>
                  </a:lnTo>
                  <a:lnTo>
                    <a:pt x="603460" y="16889"/>
                  </a:lnTo>
                  <a:lnTo>
                    <a:pt x="599773" y="20575"/>
                  </a:lnTo>
                  <a:lnTo>
                    <a:pt x="596078" y="24271"/>
                  </a:lnTo>
                  <a:lnTo>
                    <a:pt x="588705" y="35339"/>
                  </a:lnTo>
                  <a:lnTo>
                    <a:pt x="588705" y="39025"/>
                  </a:lnTo>
                  <a:lnTo>
                    <a:pt x="585010" y="46407"/>
                  </a:lnTo>
                  <a:lnTo>
                    <a:pt x="585010" y="53789"/>
                  </a:lnTo>
                  <a:lnTo>
                    <a:pt x="585010" y="61171"/>
                  </a:lnTo>
                  <a:lnTo>
                    <a:pt x="581323" y="61171"/>
                  </a:lnTo>
                  <a:lnTo>
                    <a:pt x="581323" y="64867"/>
                  </a:lnTo>
                  <a:lnTo>
                    <a:pt x="562874" y="72248"/>
                  </a:lnTo>
                  <a:lnTo>
                    <a:pt x="555501" y="75935"/>
                  </a:lnTo>
                  <a:lnTo>
                    <a:pt x="555501" y="79621"/>
                  </a:lnTo>
                  <a:lnTo>
                    <a:pt x="551815" y="79621"/>
                  </a:lnTo>
                  <a:lnTo>
                    <a:pt x="544433" y="75935"/>
                  </a:lnTo>
                  <a:lnTo>
                    <a:pt x="537051" y="75935"/>
                  </a:lnTo>
                  <a:lnTo>
                    <a:pt x="533365" y="79621"/>
                  </a:lnTo>
                  <a:lnTo>
                    <a:pt x="529675" y="83317"/>
                  </a:lnTo>
                  <a:lnTo>
                    <a:pt x="525986" y="79621"/>
                  </a:lnTo>
                  <a:lnTo>
                    <a:pt x="518608" y="75935"/>
                  </a:lnTo>
                  <a:lnTo>
                    <a:pt x="514919" y="72248"/>
                  </a:lnTo>
                  <a:lnTo>
                    <a:pt x="511230" y="75935"/>
                  </a:lnTo>
                  <a:lnTo>
                    <a:pt x="507540" y="75935"/>
                  </a:lnTo>
                  <a:lnTo>
                    <a:pt x="503851" y="75935"/>
                  </a:lnTo>
                  <a:lnTo>
                    <a:pt x="496473" y="75935"/>
                  </a:lnTo>
                  <a:lnTo>
                    <a:pt x="492784" y="75935"/>
                  </a:lnTo>
                  <a:lnTo>
                    <a:pt x="485405" y="75935"/>
                  </a:lnTo>
                  <a:lnTo>
                    <a:pt x="478027" y="75935"/>
                  </a:lnTo>
                  <a:lnTo>
                    <a:pt x="470649" y="79621"/>
                  </a:lnTo>
                  <a:lnTo>
                    <a:pt x="466960" y="75935"/>
                  </a:lnTo>
                  <a:lnTo>
                    <a:pt x="466960" y="72248"/>
                  </a:lnTo>
                  <a:lnTo>
                    <a:pt x="470649" y="72248"/>
                  </a:lnTo>
                  <a:lnTo>
                    <a:pt x="474338" y="68553"/>
                  </a:lnTo>
                  <a:lnTo>
                    <a:pt x="478027" y="64867"/>
                  </a:lnTo>
                  <a:lnTo>
                    <a:pt x="474338" y="61171"/>
                  </a:lnTo>
                  <a:lnTo>
                    <a:pt x="474338" y="57485"/>
                  </a:lnTo>
                  <a:lnTo>
                    <a:pt x="474338" y="53789"/>
                  </a:lnTo>
                  <a:lnTo>
                    <a:pt x="474338" y="50103"/>
                  </a:lnTo>
                  <a:lnTo>
                    <a:pt x="463271" y="46407"/>
                  </a:lnTo>
                  <a:lnTo>
                    <a:pt x="459581" y="42721"/>
                  </a:lnTo>
                  <a:lnTo>
                    <a:pt x="455892" y="39025"/>
                  </a:lnTo>
                  <a:lnTo>
                    <a:pt x="452203" y="39025"/>
                  </a:lnTo>
                  <a:lnTo>
                    <a:pt x="448514" y="42721"/>
                  </a:lnTo>
                  <a:lnTo>
                    <a:pt x="444825" y="46407"/>
                  </a:lnTo>
                  <a:lnTo>
                    <a:pt x="441136" y="46407"/>
                  </a:lnTo>
                  <a:lnTo>
                    <a:pt x="441136" y="42721"/>
                  </a:lnTo>
                  <a:lnTo>
                    <a:pt x="437445" y="42721"/>
                  </a:lnTo>
                  <a:lnTo>
                    <a:pt x="437445" y="39025"/>
                  </a:lnTo>
                  <a:lnTo>
                    <a:pt x="433756" y="35339"/>
                  </a:lnTo>
                  <a:lnTo>
                    <a:pt x="433756" y="31643"/>
                  </a:lnTo>
                  <a:lnTo>
                    <a:pt x="430067" y="31643"/>
                  </a:lnTo>
                  <a:lnTo>
                    <a:pt x="426378" y="27957"/>
                  </a:lnTo>
                  <a:lnTo>
                    <a:pt x="419000" y="24271"/>
                  </a:lnTo>
                  <a:lnTo>
                    <a:pt x="415310" y="20575"/>
                  </a:lnTo>
                  <a:lnTo>
                    <a:pt x="411621" y="20575"/>
                  </a:lnTo>
                  <a:lnTo>
                    <a:pt x="411621" y="16889"/>
                  </a:lnTo>
                  <a:lnTo>
                    <a:pt x="411621" y="13194"/>
                  </a:lnTo>
                  <a:lnTo>
                    <a:pt x="407932" y="13194"/>
                  </a:lnTo>
                  <a:lnTo>
                    <a:pt x="400554" y="13194"/>
                  </a:lnTo>
                  <a:lnTo>
                    <a:pt x="396865" y="9507"/>
                  </a:lnTo>
                  <a:lnTo>
                    <a:pt x="393175" y="9507"/>
                  </a:lnTo>
                  <a:lnTo>
                    <a:pt x="385797" y="9507"/>
                  </a:lnTo>
                  <a:lnTo>
                    <a:pt x="378419" y="5812"/>
                  </a:lnTo>
                  <a:lnTo>
                    <a:pt x="374730" y="5812"/>
                  </a:lnTo>
                  <a:lnTo>
                    <a:pt x="371041" y="5812"/>
                  </a:lnTo>
                  <a:lnTo>
                    <a:pt x="363662" y="5812"/>
                  </a:lnTo>
                  <a:close/>
                  <a:moveTo>
                    <a:pt x="367351" y="349036"/>
                  </a:moveTo>
                  <a:lnTo>
                    <a:pt x="363662" y="349036"/>
                  </a:lnTo>
                  <a:lnTo>
                    <a:pt x="359973" y="349036"/>
                  </a:lnTo>
                  <a:lnTo>
                    <a:pt x="363662" y="352731"/>
                  </a:lnTo>
                  <a:lnTo>
                    <a:pt x="367351" y="349036"/>
                  </a:lnTo>
                  <a:close/>
                  <a:moveTo>
                    <a:pt x="363662" y="308440"/>
                  </a:moveTo>
                  <a:lnTo>
                    <a:pt x="367351" y="308440"/>
                  </a:lnTo>
                  <a:lnTo>
                    <a:pt x="367351" y="312136"/>
                  </a:lnTo>
                  <a:lnTo>
                    <a:pt x="371041" y="315822"/>
                  </a:lnTo>
                  <a:lnTo>
                    <a:pt x="374730" y="315822"/>
                  </a:lnTo>
                  <a:lnTo>
                    <a:pt x="374730" y="319508"/>
                  </a:lnTo>
                  <a:lnTo>
                    <a:pt x="374730" y="323204"/>
                  </a:lnTo>
                  <a:lnTo>
                    <a:pt x="371041" y="323204"/>
                  </a:lnTo>
                  <a:lnTo>
                    <a:pt x="367351" y="319508"/>
                  </a:lnTo>
                  <a:lnTo>
                    <a:pt x="363662" y="319508"/>
                  </a:lnTo>
                  <a:lnTo>
                    <a:pt x="367351" y="315822"/>
                  </a:lnTo>
                  <a:lnTo>
                    <a:pt x="363662" y="312136"/>
                  </a:lnTo>
                  <a:lnTo>
                    <a:pt x="363662" y="308440"/>
                  </a:lnTo>
                  <a:close/>
                  <a:moveTo>
                    <a:pt x="371041" y="308440"/>
                  </a:moveTo>
                  <a:lnTo>
                    <a:pt x="374730" y="312136"/>
                  </a:lnTo>
                  <a:lnTo>
                    <a:pt x="371041" y="312136"/>
                  </a:lnTo>
                  <a:lnTo>
                    <a:pt x="371041" y="308440"/>
                  </a:lnTo>
                  <a:close/>
                </a:path>
              </a:pathLst>
            </a:custGeom>
            <a:solidFill>
              <a:srgbClr val="59943A"/>
            </a:solidFill>
            <a:ln w="12821" cap="flat">
              <a:solidFill>
                <a:schemeClr val="bg1"/>
              </a:solidFill>
              <a:prstDash val="solid"/>
              <a:round/>
            </a:ln>
          </p:spPr>
          <p:txBody>
            <a:bodyPr rot="0" spcFirstLastPara="0" vertOverflow="overflow" horzOverflow="overflow" vert="horz" wrap="square" lIns="91440" tIns="45720" rIns="91440" bIns="21600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76</a:t>
              </a:r>
            </a:p>
          </p:txBody>
        </p:sp>
        <p:sp>
          <p:nvSpPr>
            <p:cNvPr id="254" name="Freeform: Shape 253">
              <a:extLst>
                <a:ext uri="{FF2B5EF4-FFF2-40B4-BE49-F238E27FC236}">
                  <a16:creationId xmlns:a16="http://schemas.microsoft.com/office/drawing/2014/main" id="{98043B44-91F7-43DC-83D7-37A79F75B52A}"/>
                </a:ext>
              </a:extLst>
            </p:cNvPr>
            <p:cNvSpPr/>
            <p:nvPr/>
          </p:nvSpPr>
          <p:spPr>
            <a:xfrm>
              <a:off x="4888576" y="5218732"/>
              <a:ext cx="30745" cy="30745"/>
            </a:xfrm>
            <a:custGeom>
              <a:avLst/>
              <a:gdLst>
                <a:gd name="connsiteX0" fmla="*/ 13190 w 19050"/>
                <a:gd name="connsiteY0" fmla="*/ 5812 h 19050"/>
                <a:gd name="connsiteX1" fmla="*/ 13190 w 19050"/>
                <a:gd name="connsiteY1" fmla="*/ 9507 h 19050"/>
                <a:gd name="connsiteX2" fmla="*/ 16879 w 19050"/>
                <a:gd name="connsiteY2" fmla="*/ 9507 h 19050"/>
                <a:gd name="connsiteX3" fmla="*/ 16879 w 19050"/>
                <a:gd name="connsiteY3" fmla="*/ 13193 h 19050"/>
                <a:gd name="connsiteX4" fmla="*/ 13190 w 19050"/>
                <a:gd name="connsiteY4" fmla="*/ 13193 h 19050"/>
                <a:gd name="connsiteX5" fmla="*/ 13190 w 19050"/>
                <a:gd name="connsiteY5" fmla="*/ 16889 h 19050"/>
                <a:gd name="connsiteX6" fmla="*/ 16879 w 19050"/>
                <a:gd name="connsiteY6" fmla="*/ 16889 h 19050"/>
                <a:gd name="connsiteX7" fmla="*/ 13190 w 19050"/>
                <a:gd name="connsiteY7" fmla="*/ 16889 h 19050"/>
                <a:gd name="connsiteX8" fmla="*/ 9501 w 19050"/>
                <a:gd name="connsiteY8" fmla="*/ 16889 h 19050"/>
                <a:gd name="connsiteX9" fmla="*/ 5812 w 19050"/>
                <a:gd name="connsiteY9" fmla="*/ 13193 h 19050"/>
                <a:gd name="connsiteX10" fmla="*/ 5812 w 19050"/>
                <a:gd name="connsiteY10" fmla="*/ 9507 h 19050"/>
                <a:gd name="connsiteX11" fmla="*/ 5812 w 19050"/>
                <a:gd name="connsiteY11" fmla="*/ 5812 h 19050"/>
                <a:gd name="connsiteX12" fmla="*/ 5812 w 19050"/>
                <a:gd name="connsiteY12" fmla="*/ 5812 h 19050"/>
                <a:gd name="connsiteX13" fmla="*/ 5812 w 19050"/>
                <a:gd name="connsiteY13" fmla="*/ 5812 h 19050"/>
                <a:gd name="connsiteX14" fmla="*/ 9501 w 19050"/>
                <a:gd name="connsiteY14" fmla="*/ 5812 h 19050"/>
                <a:gd name="connsiteX15" fmla="*/ 13190 w 19050"/>
                <a:gd name="connsiteY15"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050" h="19050">
                  <a:moveTo>
                    <a:pt x="13190" y="5812"/>
                  </a:moveTo>
                  <a:lnTo>
                    <a:pt x="13190" y="9507"/>
                  </a:lnTo>
                  <a:lnTo>
                    <a:pt x="16879" y="9507"/>
                  </a:lnTo>
                  <a:lnTo>
                    <a:pt x="16879" y="13193"/>
                  </a:lnTo>
                  <a:lnTo>
                    <a:pt x="13190" y="13193"/>
                  </a:lnTo>
                  <a:lnTo>
                    <a:pt x="13190" y="16889"/>
                  </a:lnTo>
                  <a:lnTo>
                    <a:pt x="16879" y="16889"/>
                  </a:lnTo>
                  <a:lnTo>
                    <a:pt x="13190" y="16889"/>
                  </a:lnTo>
                  <a:lnTo>
                    <a:pt x="9501" y="16889"/>
                  </a:lnTo>
                  <a:lnTo>
                    <a:pt x="5812" y="13193"/>
                  </a:lnTo>
                  <a:lnTo>
                    <a:pt x="5812" y="9507"/>
                  </a:lnTo>
                  <a:lnTo>
                    <a:pt x="5812" y="5812"/>
                  </a:lnTo>
                  <a:lnTo>
                    <a:pt x="5812" y="5812"/>
                  </a:lnTo>
                  <a:lnTo>
                    <a:pt x="5812" y="5812"/>
                  </a:lnTo>
                  <a:lnTo>
                    <a:pt x="9501" y="5812"/>
                  </a:lnTo>
                  <a:lnTo>
                    <a:pt x="13190" y="5812"/>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55" name="Freeform: Shape 254">
              <a:extLst>
                <a:ext uri="{FF2B5EF4-FFF2-40B4-BE49-F238E27FC236}">
                  <a16:creationId xmlns:a16="http://schemas.microsoft.com/office/drawing/2014/main" id="{CC5C1D79-CC63-4AAE-9C02-1695D8F51574}"/>
                </a:ext>
              </a:extLst>
            </p:cNvPr>
            <p:cNvSpPr/>
            <p:nvPr/>
          </p:nvSpPr>
          <p:spPr>
            <a:xfrm>
              <a:off x="4715910" y="5212783"/>
              <a:ext cx="15373" cy="15373"/>
            </a:xfrm>
            <a:custGeom>
              <a:avLst/>
              <a:gdLst>
                <a:gd name="connsiteX0" fmla="*/ 5812 w 9525"/>
                <a:gd name="connsiteY0" fmla="*/ 9498 h 9525"/>
                <a:gd name="connsiteX1" fmla="*/ 9501 w 9525"/>
                <a:gd name="connsiteY1" fmla="*/ 9498 h 9525"/>
                <a:gd name="connsiteX2" fmla="*/ 13190 w 9525"/>
                <a:gd name="connsiteY2" fmla="*/ 5812 h 9525"/>
                <a:gd name="connsiteX3" fmla="*/ 13190 w 9525"/>
                <a:gd name="connsiteY3" fmla="*/ 9498 h 9525"/>
                <a:gd name="connsiteX4" fmla="*/ 13190 w 9525"/>
                <a:gd name="connsiteY4" fmla="*/ 9498 h 9525"/>
                <a:gd name="connsiteX5" fmla="*/ 13190 w 9525"/>
                <a:gd name="connsiteY5" fmla="*/ 9498 h 9525"/>
                <a:gd name="connsiteX6" fmla="*/ 5812 w 9525"/>
                <a:gd name="connsiteY6" fmla="*/ 9498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9525">
                  <a:moveTo>
                    <a:pt x="5812" y="9498"/>
                  </a:moveTo>
                  <a:lnTo>
                    <a:pt x="9501" y="9498"/>
                  </a:lnTo>
                  <a:lnTo>
                    <a:pt x="13190" y="5812"/>
                  </a:lnTo>
                  <a:lnTo>
                    <a:pt x="13190" y="9498"/>
                  </a:lnTo>
                  <a:lnTo>
                    <a:pt x="13190" y="9498"/>
                  </a:lnTo>
                  <a:lnTo>
                    <a:pt x="13190" y="9498"/>
                  </a:lnTo>
                  <a:lnTo>
                    <a:pt x="5812" y="9498"/>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56" name="Freeform: Shape 255">
              <a:extLst>
                <a:ext uri="{FF2B5EF4-FFF2-40B4-BE49-F238E27FC236}">
                  <a16:creationId xmlns:a16="http://schemas.microsoft.com/office/drawing/2014/main" id="{C505D7F2-6B97-49D5-9062-667A5F7DD7D8}"/>
                </a:ext>
              </a:extLst>
            </p:cNvPr>
            <p:cNvSpPr/>
            <p:nvPr/>
          </p:nvSpPr>
          <p:spPr>
            <a:xfrm>
              <a:off x="4852852" y="5224698"/>
              <a:ext cx="46118" cy="30745"/>
            </a:xfrm>
            <a:custGeom>
              <a:avLst/>
              <a:gdLst>
                <a:gd name="connsiteX0" fmla="*/ 24258 w 28575"/>
                <a:gd name="connsiteY0" fmla="*/ 13193 h 19050"/>
                <a:gd name="connsiteX1" fmla="*/ 24258 w 28575"/>
                <a:gd name="connsiteY1" fmla="*/ 13193 h 19050"/>
                <a:gd name="connsiteX2" fmla="*/ 24258 w 28575"/>
                <a:gd name="connsiteY2" fmla="*/ 16880 h 19050"/>
                <a:gd name="connsiteX3" fmla="*/ 24258 w 28575"/>
                <a:gd name="connsiteY3" fmla="*/ 16880 h 19050"/>
                <a:gd name="connsiteX4" fmla="*/ 24258 w 28575"/>
                <a:gd name="connsiteY4" fmla="*/ 20575 h 19050"/>
                <a:gd name="connsiteX5" fmla="*/ 24258 w 28575"/>
                <a:gd name="connsiteY5" fmla="*/ 20575 h 19050"/>
                <a:gd name="connsiteX6" fmla="*/ 20568 w 28575"/>
                <a:gd name="connsiteY6" fmla="*/ 20575 h 19050"/>
                <a:gd name="connsiteX7" fmla="*/ 20568 w 28575"/>
                <a:gd name="connsiteY7" fmla="*/ 20575 h 19050"/>
                <a:gd name="connsiteX8" fmla="*/ 16879 w 28575"/>
                <a:gd name="connsiteY8" fmla="*/ 20575 h 19050"/>
                <a:gd name="connsiteX9" fmla="*/ 16879 w 28575"/>
                <a:gd name="connsiteY9" fmla="*/ 16880 h 19050"/>
                <a:gd name="connsiteX10" fmla="*/ 13190 w 28575"/>
                <a:gd name="connsiteY10" fmla="*/ 16880 h 19050"/>
                <a:gd name="connsiteX11" fmla="*/ 13190 w 28575"/>
                <a:gd name="connsiteY11" fmla="*/ 16880 h 19050"/>
                <a:gd name="connsiteX12" fmla="*/ 16879 w 28575"/>
                <a:gd name="connsiteY12" fmla="*/ 16880 h 19050"/>
                <a:gd name="connsiteX13" fmla="*/ 20568 w 28575"/>
                <a:gd name="connsiteY13" fmla="*/ 16880 h 19050"/>
                <a:gd name="connsiteX14" fmla="*/ 16879 w 28575"/>
                <a:gd name="connsiteY14" fmla="*/ 13193 h 19050"/>
                <a:gd name="connsiteX15" fmla="*/ 20568 w 28575"/>
                <a:gd name="connsiteY15" fmla="*/ 13193 h 19050"/>
                <a:gd name="connsiteX16" fmla="*/ 20568 w 28575"/>
                <a:gd name="connsiteY16" fmla="*/ 13193 h 19050"/>
                <a:gd name="connsiteX17" fmla="*/ 16879 w 28575"/>
                <a:gd name="connsiteY17" fmla="*/ 13193 h 19050"/>
                <a:gd name="connsiteX18" fmla="*/ 13190 w 28575"/>
                <a:gd name="connsiteY18" fmla="*/ 16880 h 19050"/>
                <a:gd name="connsiteX19" fmla="*/ 13190 w 28575"/>
                <a:gd name="connsiteY19" fmla="*/ 13193 h 19050"/>
                <a:gd name="connsiteX20" fmla="*/ 13190 w 28575"/>
                <a:gd name="connsiteY20" fmla="*/ 13193 h 19050"/>
                <a:gd name="connsiteX21" fmla="*/ 16879 w 28575"/>
                <a:gd name="connsiteY21" fmla="*/ 13193 h 19050"/>
                <a:gd name="connsiteX22" fmla="*/ 16879 w 28575"/>
                <a:gd name="connsiteY22" fmla="*/ 13193 h 19050"/>
                <a:gd name="connsiteX23" fmla="*/ 13190 w 28575"/>
                <a:gd name="connsiteY23" fmla="*/ 13193 h 19050"/>
                <a:gd name="connsiteX24" fmla="*/ 16879 w 28575"/>
                <a:gd name="connsiteY24" fmla="*/ 9498 h 19050"/>
                <a:gd name="connsiteX25" fmla="*/ 16879 w 28575"/>
                <a:gd name="connsiteY25" fmla="*/ 9498 h 19050"/>
                <a:gd name="connsiteX26" fmla="*/ 13190 w 28575"/>
                <a:gd name="connsiteY26" fmla="*/ 9498 h 19050"/>
                <a:gd name="connsiteX27" fmla="*/ 13190 w 28575"/>
                <a:gd name="connsiteY27" fmla="*/ 9498 h 19050"/>
                <a:gd name="connsiteX28" fmla="*/ 9501 w 28575"/>
                <a:gd name="connsiteY28" fmla="*/ 9498 h 19050"/>
                <a:gd name="connsiteX29" fmla="*/ 9501 w 28575"/>
                <a:gd name="connsiteY29" fmla="*/ 9498 h 19050"/>
                <a:gd name="connsiteX30" fmla="*/ 9501 w 28575"/>
                <a:gd name="connsiteY30" fmla="*/ 5812 h 19050"/>
                <a:gd name="connsiteX31" fmla="*/ 9501 w 28575"/>
                <a:gd name="connsiteY31" fmla="*/ 9498 h 19050"/>
                <a:gd name="connsiteX32" fmla="*/ 5812 w 28575"/>
                <a:gd name="connsiteY32" fmla="*/ 9498 h 19050"/>
                <a:gd name="connsiteX33" fmla="*/ 5812 w 28575"/>
                <a:gd name="connsiteY33" fmla="*/ 5812 h 19050"/>
                <a:gd name="connsiteX34" fmla="*/ 13190 w 28575"/>
                <a:gd name="connsiteY34" fmla="*/ 5812 h 19050"/>
                <a:gd name="connsiteX35" fmla="*/ 16879 w 28575"/>
                <a:gd name="connsiteY35" fmla="*/ 5812 h 19050"/>
                <a:gd name="connsiteX36" fmla="*/ 16879 w 28575"/>
                <a:gd name="connsiteY36" fmla="*/ 5812 h 19050"/>
                <a:gd name="connsiteX37" fmla="*/ 20568 w 28575"/>
                <a:gd name="connsiteY37" fmla="*/ 9498 h 19050"/>
                <a:gd name="connsiteX38" fmla="*/ 20568 w 28575"/>
                <a:gd name="connsiteY38" fmla="*/ 9498 h 19050"/>
                <a:gd name="connsiteX39" fmla="*/ 24258 w 28575"/>
                <a:gd name="connsiteY39" fmla="*/ 13193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575" h="19050">
                  <a:moveTo>
                    <a:pt x="24258" y="13193"/>
                  </a:moveTo>
                  <a:lnTo>
                    <a:pt x="24258" y="13193"/>
                  </a:lnTo>
                  <a:lnTo>
                    <a:pt x="24258" y="16880"/>
                  </a:lnTo>
                  <a:lnTo>
                    <a:pt x="24258" y="16880"/>
                  </a:lnTo>
                  <a:lnTo>
                    <a:pt x="24258" y="20575"/>
                  </a:lnTo>
                  <a:lnTo>
                    <a:pt x="24258" y="20575"/>
                  </a:lnTo>
                  <a:lnTo>
                    <a:pt x="20568" y="20575"/>
                  </a:lnTo>
                  <a:lnTo>
                    <a:pt x="20568" y="20575"/>
                  </a:lnTo>
                  <a:lnTo>
                    <a:pt x="16879" y="20575"/>
                  </a:lnTo>
                  <a:lnTo>
                    <a:pt x="16879" y="16880"/>
                  </a:lnTo>
                  <a:lnTo>
                    <a:pt x="13190" y="16880"/>
                  </a:lnTo>
                  <a:lnTo>
                    <a:pt x="13190" y="16880"/>
                  </a:lnTo>
                  <a:lnTo>
                    <a:pt x="16879" y="16880"/>
                  </a:lnTo>
                  <a:lnTo>
                    <a:pt x="20568" y="16880"/>
                  </a:lnTo>
                  <a:lnTo>
                    <a:pt x="16879" y="13193"/>
                  </a:lnTo>
                  <a:lnTo>
                    <a:pt x="20568" y="13193"/>
                  </a:lnTo>
                  <a:lnTo>
                    <a:pt x="20568" y="13193"/>
                  </a:lnTo>
                  <a:lnTo>
                    <a:pt x="16879" y="13193"/>
                  </a:lnTo>
                  <a:lnTo>
                    <a:pt x="13190" y="16880"/>
                  </a:lnTo>
                  <a:lnTo>
                    <a:pt x="13190" y="13193"/>
                  </a:lnTo>
                  <a:lnTo>
                    <a:pt x="13190" y="13193"/>
                  </a:lnTo>
                  <a:lnTo>
                    <a:pt x="16879" y="13193"/>
                  </a:lnTo>
                  <a:lnTo>
                    <a:pt x="16879" y="13193"/>
                  </a:lnTo>
                  <a:lnTo>
                    <a:pt x="13190" y="13193"/>
                  </a:lnTo>
                  <a:lnTo>
                    <a:pt x="16879" y="9498"/>
                  </a:lnTo>
                  <a:lnTo>
                    <a:pt x="16879" y="9498"/>
                  </a:lnTo>
                  <a:lnTo>
                    <a:pt x="13190" y="9498"/>
                  </a:lnTo>
                  <a:lnTo>
                    <a:pt x="13190" y="9498"/>
                  </a:lnTo>
                  <a:lnTo>
                    <a:pt x="9501" y="9498"/>
                  </a:lnTo>
                  <a:lnTo>
                    <a:pt x="9501" y="9498"/>
                  </a:lnTo>
                  <a:lnTo>
                    <a:pt x="9501" y="5812"/>
                  </a:lnTo>
                  <a:lnTo>
                    <a:pt x="9501" y="9498"/>
                  </a:lnTo>
                  <a:lnTo>
                    <a:pt x="5812" y="9498"/>
                  </a:lnTo>
                  <a:lnTo>
                    <a:pt x="5812" y="5812"/>
                  </a:lnTo>
                  <a:lnTo>
                    <a:pt x="13190" y="5812"/>
                  </a:lnTo>
                  <a:lnTo>
                    <a:pt x="16879" y="5812"/>
                  </a:lnTo>
                  <a:lnTo>
                    <a:pt x="16879" y="5812"/>
                  </a:lnTo>
                  <a:lnTo>
                    <a:pt x="20568" y="9498"/>
                  </a:lnTo>
                  <a:lnTo>
                    <a:pt x="20568" y="9498"/>
                  </a:lnTo>
                  <a:lnTo>
                    <a:pt x="24258" y="13193"/>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57" name="Freeform: Shape 256">
              <a:extLst>
                <a:ext uri="{FF2B5EF4-FFF2-40B4-BE49-F238E27FC236}">
                  <a16:creationId xmlns:a16="http://schemas.microsoft.com/office/drawing/2014/main" id="{7EBD015D-FEC5-47E6-BA4D-72DF212FFE07}"/>
                </a:ext>
              </a:extLst>
            </p:cNvPr>
            <p:cNvSpPr/>
            <p:nvPr/>
          </p:nvSpPr>
          <p:spPr>
            <a:xfrm>
              <a:off x="4245536" y="5159176"/>
              <a:ext cx="722515" cy="276709"/>
            </a:xfrm>
            <a:custGeom>
              <a:avLst/>
              <a:gdLst>
                <a:gd name="connsiteX0" fmla="*/ 79595 w 447675"/>
                <a:gd name="connsiteY0" fmla="*/ 5812 h 171450"/>
                <a:gd name="connsiteX1" fmla="*/ 79595 w 447675"/>
                <a:gd name="connsiteY1" fmla="*/ 9498 h 171450"/>
                <a:gd name="connsiteX2" fmla="*/ 75906 w 447675"/>
                <a:gd name="connsiteY2" fmla="*/ 9498 h 171450"/>
                <a:gd name="connsiteX3" fmla="*/ 72217 w 447675"/>
                <a:gd name="connsiteY3" fmla="*/ 9498 h 171450"/>
                <a:gd name="connsiteX4" fmla="*/ 64839 w 447675"/>
                <a:gd name="connsiteY4" fmla="*/ 13194 h 171450"/>
                <a:gd name="connsiteX5" fmla="*/ 61149 w 447675"/>
                <a:gd name="connsiteY5" fmla="*/ 13194 h 171450"/>
                <a:gd name="connsiteX6" fmla="*/ 57460 w 447675"/>
                <a:gd name="connsiteY6" fmla="*/ 13194 h 171450"/>
                <a:gd name="connsiteX7" fmla="*/ 53771 w 447675"/>
                <a:gd name="connsiteY7" fmla="*/ 16880 h 171450"/>
                <a:gd name="connsiteX8" fmla="*/ 50082 w 447675"/>
                <a:gd name="connsiteY8" fmla="*/ 16880 h 171450"/>
                <a:gd name="connsiteX9" fmla="*/ 46393 w 447675"/>
                <a:gd name="connsiteY9" fmla="*/ 16880 h 171450"/>
                <a:gd name="connsiteX10" fmla="*/ 42703 w 447675"/>
                <a:gd name="connsiteY10" fmla="*/ 16880 h 171450"/>
                <a:gd name="connsiteX11" fmla="*/ 39014 w 447675"/>
                <a:gd name="connsiteY11" fmla="*/ 16880 h 171450"/>
                <a:gd name="connsiteX12" fmla="*/ 35325 w 447675"/>
                <a:gd name="connsiteY12" fmla="*/ 16880 h 171450"/>
                <a:gd name="connsiteX13" fmla="*/ 35325 w 447675"/>
                <a:gd name="connsiteY13" fmla="*/ 20575 h 171450"/>
                <a:gd name="connsiteX14" fmla="*/ 31636 w 447675"/>
                <a:gd name="connsiteY14" fmla="*/ 20575 h 171450"/>
                <a:gd name="connsiteX15" fmla="*/ 27947 w 447675"/>
                <a:gd name="connsiteY15" fmla="*/ 24262 h 171450"/>
                <a:gd name="connsiteX16" fmla="*/ 24258 w 447675"/>
                <a:gd name="connsiteY16" fmla="*/ 24262 h 171450"/>
                <a:gd name="connsiteX17" fmla="*/ 20568 w 447675"/>
                <a:gd name="connsiteY17" fmla="*/ 24262 h 171450"/>
                <a:gd name="connsiteX18" fmla="*/ 16879 w 447675"/>
                <a:gd name="connsiteY18" fmla="*/ 27957 h 171450"/>
                <a:gd name="connsiteX19" fmla="*/ 13190 w 447675"/>
                <a:gd name="connsiteY19" fmla="*/ 27957 h 171450"/>
                <a:gd name="connsiteX20" fmla="*/ 13190 w 447675"/>
                <a:gd name="connsiteY20" fmla="*/ 31643 h 171450"/>
                <a:gd name="connsiteX21" fmla="*/ 16879 w 447675"/>
                <a:gd name="connsiteY21" fmla="*/ 35339 h 171450"/>
                <a:gd name="connsiteX22" fmla="*/ 16879 w 447675"/>
                <a:gd name="connsiteY22" fmla="*/ 42711 h 171450"/>
                <a:gd name="connsiteX23" fmla="*/ 16879 w 447675"/>
                <a:gd name="connsiteY23" fmla="*/ 46407 h 171450"/>
                <a:gd name="connsiteX24" fmla="*/ 16879 w 447675"/>
                <a:gd name="connsiteY24" fmla="*/ 50093 h 171450"/>
                <a:gd name="connsiteX25" fmla="*/ 20568 w 447675"/>
                <a:gd name="connsiteY25" fmla="*/ 53789 h 171450"/>
                <a:gd name="connsiteX26" fmla="*/ 20568 w 447675"/>
                <a:gd name="connsiteY26" fmla="*/ 61171 h 171450"/>
                <a:gd name="connsiteX27" fmla="*/ 9501 w 447675"/>
                <a:gd name="connsiteY27" fmla="*/ 72239 h 171450"/>
                <a:gd name="connsiteX28" fmla="*/ 5812 w 447675"/>
                <a:gd name="connsiteY28" fmla="*/ 75935 h 171450"/>
                <a:gd name="connsiteX29" fmla="*/ 9501 w 447675"/>
                <a:gd name="connsiteY29" fmla="*/ 79621 h 171450"/>
                <a:gd name="connsiteX30" fmla="*/ 16879 w 447675"/>
                <a:gd name="connsiteY30" fmla="*/ 87003 h 171450"/>
                <a:gd name="connsiteX31" fmla="*/ 13190 w 447675"/>
                <a:gd name="connsiteY31" fmla="*/ 87003 h 171450"/>
                <a:gd name="connsiteX32" fmla="*/ 9501 w 447675"/>
                <a:gd name="connsiteY32" fmla="*/ 87003 h 171450"/>
                <a:gd name="connsiteX33" fmla="*/ 9501 w 447675"/>
                <a:gd name="connsiteY33" fmla="*/ 90689 h 171450"/>
                <a:gd name="connsiteX34" fmla="*/ 13190 w 447675"/>
                <a:gd name="connsiteY34" fmla="*/ 94385 h 171450"/>
                <a:gd name="connsiteX35" fmla="*/ 16879 w 447675"/>
                <a:gd name="connsiteY35" fmla="*/ 98071 h 171450"/>
                <a:gd name="connsiteX36" fmla="*/ 16879 w 447675"/>
                <a:gd name="connsiteY36" fmla="*/ 101766 h 171450"/>
                <a:gd name="connsiteX37" fmla="*/ 13190 w 447675"/>
                <a:gd name="connsiteY37" fmla="*/ 105453 h 171450"/>
                <a:gd name="connsiteX38" fmla="*/ 16879 w 447675"/>
                <a:gd name="connsiteY38" fmla="*/ 109148 h 171450"/>
                <a:gd name="connsiteX39" fmla="*/ 20568 w 447675"/>
                <a:gd name="connsiteY39" fmla="*/ 109148 h 171450"/>
                <a:gd name="connsiteX40" fmla="*/ 24258 w 447675"/>
                <a:gd name="connsiteY40" fmla="*/ 116530 h 171450"/>
                <a:gd name="connsiteX41" fmla="*/ 27947 w 447675"/>
                <a:gd name="connsiteY41" fmla="*/ 116530 h 171450"/>
                <a:gd name="connsiteX42" fmla="*/ 31636 w 447675"/>
                <a:gd name="connsiteY42" fmla="*/ 123912 h 171450"/>
                <a:gd name="connsiteX43" fmla="*/ 35325 w 447675"/>
                <a:gd name="connsiteY43" fmla="*/ 120216 h 171450"/>
                <a:gd name="connsiteX44" fmla="*/ 39014 w 447675"/>
                <a:gd name="connsiteY44" fmla="*/ 123912 h 171450"/>
                <a:gd name="connsiteX45" fmla="*/ 39014 w 447675"/>
                <a:gd name="connsiteY45" fmla="*/ 127598 h 171450"/>
                <a:gd name="connsiteX46" fmla="*/ 39014 w 447675"/>
                <a:gd name="connsiteY46" fmla="*/ 131294 h 171450"/>
                <a:gd name="connsiteX47" fmla="*/ 42703 w 447675"/>
                <a:gd name="connsiteY47" fmla="*/ 131294 h 171450"/>
                <a:gd name="connsiteX48" fmla="*/ 46393 w 447675"/>
                <a:gd name="connsiteY48" fmla="*/ 134980 h 171450"/>
                <a:gd name="connsiteX49" fmla="*/ 50082 w 447675"/>
                <a:gd name="connsiteY49" fmla="*/ 134980 h 171450"/>
                <a:gd name="connsiteX50" fmla="*/ 61149 w 447675"/>
                <a:gd name="connsiteY50" fmla="*/ 134980 h 171450"/>
                <a:gd name="connsiteX51" fmla="*/ 90663 w 447675"/>
                <a:gd name="connsiteY51" fmla="*/ 131294 h 171450"/>
                <a:gd name="connsiteX52" fmla="*/ 86974 w 447675"/>
                <a:gd name="connsiteY52" fmla="*/ 105453 h 171450"/>
                <a:gd name="connsiteX53" fmla="*/ 83284 w 447675"/>
                <a:gd name="connsiteY53" fmla="*/ 101766 h 171450"/>
                <a:gd name="connsiteX54" fmla="*/ 90663 w 447675"/>
                <a:gd name="connsiteY54" fmla="*/ 98071 h 171450"/>
                <a:gd name="connsiteX55" fmla="*/ 94352 w 447675"/>
                <a:gd name="connsiteY55" fmla="*/ 101766 h 171450"/>
                <a:gd name="connsiteX56" fmla="*/ 98042 w 447675"/>
                <a:gd name="connsiteY56" fmla="*/ 101766 h 171450"/>
                <a:gd name="connsiteX57" fmla="*/ 98042 w 447675"/>
                <a:gd name="connsiteY57" fmla="*/ 98071 h 171450"/>
                <a:gd name="connsiteX58" fmla="*/ 101731 w 447675"/>
                <a:gd name="connsiteY58" fmla="*/ 98071 h 171450"/>
                <a:gd name="connsiteX59" fmla="*/ 105420 w 447675"/>
                <a:gd name="connsiteY59" fmla="*/ 98071 h 171450"/>
                <a:gd name="connsiteX60" fmla="*/ 105420 w 447675"/>
                <a:gd name="connsiteY60" fmla="*/ 94385 h 171450"/>
                <a:gd name="connsiteX61" fmla="*/ 109109 w 447675"/>
                <a:gd name="connsiteY61" fmla="*/ 94385 h 171450"/>
                <a:gd name="connsiteX62" fmla="*/ 112798 w 447675"/>
                <a:gd name="connsiteY62" fmla="*/ 98071 h 171450"/>
                <a:gd name="connsiteX63" fmla="*/ 116487 w 447675"/>
                <a:gd name="connsiteY63" fmla="*/ 101766 h 171450"/>
                <a:gd name="connsiteX64" fmla="*/ 120177 w 447675"/>
                <a:gd name="connsiteY64" fmla="*/ 98071 h 171450"/>
                <a:gd name="connsiteX65" fmla="*/ 116487 w 447675"/>
                <a:gd name="connsiteY65" fmla="*/ 90689 h 171450"/>
                <a:gd name="connsiteX66" fmla="*/ 123866 w 447675"/>
                <a:gd name="connsiteY66" fmla="*/ 87003 h 171450"/>
                <a:gd name="connsiteX67" fmla="*/ 127555 w 447675"/>
                <a:gd name="connsiteY67" fmla="*/ 90689 h 171450"/>
                <a:gd name="connsiteX68" fmla="*/ 134933 w 447675"/>
                <a:gd name="connsiteY68" fmla="*/ 94385 h 171450"/>
                <a:gd name="connsiteX69" fmla="*/ 138622 w 447675"/>
                <a:gd name="connsiteY69" fmla="*/ 98071 h 171450"/>
                <a:gd name="connsiteX70" fmla="*/ 146001 w 447675"/>
                <a:gd name="connsiteY70" fmla="*/ 101766 h 171450"/>
                <a:gd name="connsiteX71" fmla="*/ 149690 w 447675"/>
                <a:gd name="connsiteY71" fmla="*/ 101766 h 171450"/>
                <a:gd name="connsiteX72" fmla="*/ 149690 w 447675"/>
                <a:gd name="connsiteY72" fmla="*/ 98071 h 171450"/>
                <a:gd name="connsiteX73" fmla="*/ 157068 w 447675"/>
                <a:gd name="connsiteY73" fmla="*/ 98071 h 171450"/>
                <a:gd name="connsiteX74" fmla="*/ 164446 w 447675"/>
                <a:gd name="connsiteY74" fmla="*/ 105453 h 171450"/>
                <a:gd name="connsiteX75" fmla="*/ 168136 w 447675"/>
                <a:gd name="connsiteY75" fmla="*/ 105453 h 171450"/>
                <a:gd name="connsiteX76" fmla="*/ 171825 w 447675"/>
                <a:gd name="connsiteY76" fmla="*/ 109148 h 171450"/>
                <a:gd name="connsiteX77" fmla="*/ 171825 w 447675"/>
                <a:gd name="connsiteY77" fmla="*/ 112835 h 171450"/>
                <a:gd name="connsiteX78" fmla="*/ 182892 w 447675"/>
                <a:gd name="connsiteY78" fmla="*/ 112835 h 171450"/>
                <a:gd name="connsiteX79" fmla="*/ 186581 w 447675"/>
                <a:gd name="connsiteY79" fmla="*/ 116530 h 171450"/>
                <a:gd name="connsiteX80" fmla="*/ 186581 w 447675"/>
                <a:gd name="connsiteY80" fmla="*/ 112835 h 171450"/>
                <a:gd name="connsiteX81" fmla="*/ 201338 w 447675"/>
                <a:gd name="connsiteY81" fmla="*/ 116530 h 171450"/>
                <a:gd name="connsiteX82" fmla="*/ 205027 w 447675"/>
                <a:gd name="connsiteY82" fmla="*/ 116530 h 171450"/>
                <a:gd name="connsiteX83" fmla="*/ 208716 w 447675"/>
                <a:gd name="connsiteY83" fmla="*/ 123912 h 171450"/>
                <a:gd name="connsiteX84" fmla="*/ 212406 w 447675"/>
                <a:gd name="connsiteY84" fmla="*/ 123912 h 171450"/>
                <a:gd name="connsiteX85" fmla="*/ 212406 w 447675"/>
                <a:gd name="connsiteY85" fmla="*/ 120216 h 171450"/>
                <a:gd name="connsiteX86" fmla="*/ 216095 w 447675"/>
                <a:gd name="connsiteY86" fmla="*/ 123912 h 171450"/>
                <a:gd name="connsiteX87" fmla="*/ 219784 w 447675"/>
                <a:gd name="connsiteY87" fmla="*/ 127598 h 171450"/>
                <a:gd name="connsiteX88" fmla="*/ 223473 w 447675"/>
                <a:gd name="connsiteY88" fmla="*/ 127598 h 171450"/>
                <a:gd name="connsiteX89" fmla="*/ 223473 w 447675"/>
                <a:gd name="connsiteY89" fmla="*/ 131294 h 171450"/>
                <a:gd name="connsiteX90" fmla="*/ 219784 w 447675"/>
                <a:gd name="connsiteY90" fmla="*/ 134980 h 171450"/>
                <a:gd name="connsiteX91" fmla="*/ 219784 w 447675"/>
                <a:gd name="connsiteY91" fmla="*/ 142362 h 171450"/>
                <a:gd name="connsiteX92" fmla="*/ 219784 w 447675"/>
                <a:gd name="connsiteY92" fmla="*/ 153430 h 171450"/>
                <a:gd name="connsiteX93" fmla="*/ 219784 w 447675"/>
                <a:gd name="connsiteY93" fmla="*/ 160812 h 171450"/>
                <a:gd name="connsiteX94" fmla="*/ 223473 w 447675"/>
                <a:gd name="connsiteY94" fmla="*/ 164508 h 171450"/>
                <a:gd name="connsiteX95" fmla="*/ 227162 w 447675"/>
                <a:gd name="connsiteY95" fmla="*/ 164508 h 171450"/>
                <a:gd name="connsiteX96" fmla="*/ 227162 w 447675"/>
                <a:gd name="connsiteY96" fmla="*/ 160812 h 171450"/>
                <a:gd name="connsiteX97" fmla="*/ 230852 w 447675"/>
                <a:gd name="connsiteY97" fmla="*/ 164508 h 171450"/>
                <a:gd name="connsiteX98" fmla="*/ 234541 w 447675"/>
                <a:gd name="connsiteY98" fmla="*/ 164508 h 171450"/>
                <a:gd name="connsiteX99" fmla="*/ 238231 w 447675"/>
                <a:gd name="connsiteY99" fmla="*/ 164508 h 171450"/>
                <a:gd name="connsiteX100" fmla="*/ 241920 w 447675"/>
                <a:gd name="connsiteY100" fmla="*/ 164508 h 171450"/>
                <a:gd name="connsiteX101" fmla="*/ 245609 w 447675"/>
                <a:gd name="connsiteY101" fmla="*/ 164508 h 171450"/>
                <a:gd name="connsiteX102" fmla="*/ 249298 w 447675"/>
                <a:gd name="connsiteY102" fmla="*/ 164508 h 171450"/>
                <a:gd name="connsiteX103" fmla="*/ 252987 w 447675"/>
                <a:gd name="connsiteY103" fmla="*/ 164508 h 171450"/>
                <a:gd name="connsiteX104" fmla="*/ 256676 w 447675"/>
                <a:gd name="connsiteY104" fmla="*/ 164508 h 171450"/>
                <a:gd name="connsiteX105" fmla="*/ 264055 w 447675"/>
                <a:gd name="connsiteY105" fmla="*/ 157126 h 171450"/>
                <a:gd name="connsiteX106" fmla="*/ 267744 w 447675"/>
                <a:gd name="connsiteY106" fmla="*/ 157126 h 171450"/>
                <a:gd name="connsiteX107" fmla="*/ 271433 w 447675"/>
                <a:gd name="connsiteY107" fmla="*/ 157126 h 171450"/>
                <a:gd name="connsiteX108" fmla="*/ 271433 w 447675"/>
                <a:gd name="connsiteY108" fmla="*/ 164508 h 171450"/>
                <a:gd name="connsiteX109" fmla="*/ 267744 w 447675"/>
                <a:gd name="connsiteY109" fmla="*/ 164508 h 171450"/>
                <a:gd name="connsiteX110" fmla="*/ 264055 w 447675"/>
                <a:gd name="connsiteY110" fmla="*/ 168194 h 171450"/>
                <a:gd name="connsiteX111" fmla="*/ 267744 w 447675"/>
                <a:gd name="connsiteY111" fmla="*/ 171890 h 171450"/>
                <a:gd name="connsiteX112" fmla="*/ 271433 w 447675"/>
                <a:gd name="connsiteY112" fmla="*/ 171890 h 171450"/>
                <a:gd name="connsiteX113" fmla="*/ 275122 w 447675"/>
                <a:gd name="connsiteY113" fmla="*/ 171890 h 171450"/>
                <a:gd name="connsiteX114" fmla="*/ 282501 w 447675"/>
                <a:gd name="connsiteY114" fmla="*/ 168194 h 171450"/>
                <a:gd name="connsiteX115" fmla="*/ 286190 w 447675"/>
                <a:gd name="connsiteY115" fmla="*/ 168194 h 171450"/>
                <a:gd name="connsiteX116" fmla="*/ 282501 w 447675"/>
                <a:gd name="connsiteY116" fmla="*/ 160812 h 171450"/>
                <a:gd name="connsiteX117" fmla="*/ 289879 w 447675"/>
                <a:gd name="connsiteY117" fmla="*/ 157126 h 171450"/>
                <a:gd name="connsiteX118" fmla="*/ 293568 w 447675"/>
                <a:gd name="connsiteY118" fmla="*/ 164508 h 171450"/>
                <a:gd name="connsiteX119" fmla="*/ 297257 w 447675"/>
                <a:gd name="connsiteY119" fmla="*/ 164508 h 171450"/>
                <a:gd name="connsiteX120" fmla="*/ 297257 w 447675"/>
                <a:gd name="connsiteY120" fmla="*/ 160812 h 171450"/>
                <a:gd name="connsiteX121" fmla="*/ 300946 w 447675"/>
                <a:gd name="connsiteY121" fmla="*/ 160812 h 171450"/>
                <a:gd name="connsiteX122" fmla="*/ 304635 w 447675"/>
                <a:gd name="connsiteY122" fmla="*/ 160812 h 171450"/>
                <a:gd name="connsiteX123" fmla="*/ 308325 w 447675"/>
                <a:gd name="connsiteY123" fmla="*/ 157126 h 171450"/>
                <a:gd name="connsiteX124" fmla="*/ 308325 w 447675"/>
                <a:gd name="connsiteY124" fmla="*/ 153430 h 171450"/>
                <a:gd name="connsiteX125" fmla="*/ 315703 w 447675"/>
                <a:gd name="connsiteY125" fmla="*/ 153430 h 171450"/>
                <a:gd name="connsiteX126" fmla="*/ 319392 w 447675"/>
                <a:gd name="connsiteY126" fmla="*/ 146048 h 171450"/>
                <a:gd name="connsiteX127" fmla="*/ 323081 w 447675"/>
                <a:gd name="connsiteY127" fmla="*/ 146048 h 171450"/>
                <a:gd name="connsiteX128" fmla="*/ 326770 w 447675"/>
                <a:gd name="connsiteY128" fmla="*/ 142362 h 171450"/>
                <a:gd name="connsiteX129" fmla="*/ 334149 w 447675"/>
                <a:gd name="connsiteY129" fmla="*/ 138666 h 171450"/>
                <a:gd name="connsiteX130" fmla="*/ 337838 w 447675"/>
                <a:gd name="connsiteY130" fmla="*/ 138666 h 171450"/>
                <a:gd name="connsiteX131" fmla="*/ 337838 w 447675"/>
                <a:gd name="connsiteY131" fmla="*/ 142362 h 171450"/>
                <a:gd name="connsiteX132" fmla="*/ 341527 w 447675"/>
                <a:gd name="connsiteY132" fmla="*/ 142362 h 171450"/>
                <a:gd name="connsiteX133" fmla="*/ 345216 w 447675"/>
                <a:gd name="connsiteY133" fmla="*/ 138666 h 171450"/>
                <a:gd name="connsiteX134" fmla="*/ 345216 w 447675"/>
                <a:gd name="connsiteY134" fmla="*/ 142362 h 171450"/>
                <a:gd name="connsiteX135" fmla="*/ 352595 w 447675"/>
                <a:gd name="connsiteY135" fmla="*/ 142362 h 171450"/>
                <a:gd name="connsiteX136" fmla="*/ 356284 w 447675"/>
                <a:gd name="connsiteY136" fmla="*/ 138666 h 171450"/>
                <a:gd name="connsiteX137" fmla="*/ 359973 w 447675"/>
                <a:gd name="connsiteY137" fmla="*/ 138666 h 171450"/>
                <a:gd name="connsiteX138" fmla="*/ 363662 w 447675"/>
                <a:gd name="connsiteY138" fmla="*/ 134980 h 171450"/>
                <a:gd name="connsiteX139" fmla="*/ 371040 w 447675"/>
                <a:gd name="connsiteY139" fmla="*/ 127598 h 171450"/>
                <a:gd name="connsiteX140" fmla="*/ 378419 w 447675"/>
                <a:gd name="connsiteY140" fmla="*/ 123912 h 171450"/>
                <a:gd name="connsiteX141" fmla="*/ 385798 w 447675"/>
                <a:gd name="connsiteY141" fmla="*/ 120216 h 171450"/>
                <a:gd name="connsiteX142" fmla="*/ 404244 w 447675"/>
                <a:gd name="connsiteY142" fmla="*/ 105453 h 171450"/>
                <a:gd name="connsiteX143" fmla="*/ 407933 w 447675"/>
                <a:gd name="connsiteY143" fmla="*/ 101766 h 171450"/>
                <a:gd name="connsiteX144" fmla="*/ 444825 w 447675"/>
                <a:gd name="connsiteY144" fmla="*/ 57475 h 171450"/>
                <a:gd name="connsiteX145" fmla="*/ 441135 w 447675"/>
                <a:gd name="connsiteY145" fmla="*/ 57475 h 171450"/>
                <a:gd name="connsiteX146" fmla="*/ 441135 w 447675"/>
                <a:gd name="connsiteY146" fmla="*/ 53789 h 171450"/>
                <a:gd name="connsiteX147" fmla="*/ 437446 w 447675"/>
                <a:gd name="connsiteY147" fmla="*/ 53789 h 171450"/>
                <a:gd name="connsiteX148" fmla="*/ 437446 w 447675"/>
                <a:gd name="connsiteY148" fmla="*/ 50093 h 171450"/>
                <a:gd name="connsiteX149" fmla="*/ 437446 w 447675"/>
                <a:gd name="connsiteY149" fmla="*/ 46407 h 171450"/>
                <a:gd name="connsiteX150" fmla="*/ 433757 w 447675"/>
                <a:gd name="connsiteY150" fmla="*/ 50093 h 171450"/>
                <a:gd name="connsiteX151" fmla="*/ 433757 w 447675"/>
                <a:gd name="connsiteY151" fmla="*/ 46407 h 171450"/>
                <a:gd name="connsiteX152" fmla="*/ 433757 w 447675"/>
                <a:gd name="connsiteY152" fmla="*/ 42711 h 171450"/>
                <a:gd name="connsiteX153" fmla="*/ 430068 w 447675"/>
                <a:gd name="connsiteY153" fmla="*/ 39025 h 171450"/>
                <a:gd name="connsiteX154" fmla="*/ 426379 w 447675"/>
                <a:gd name="connsiteY154" fmla="*/ 39025 h 171450"/>
                <a:gd name="connsiteX155" fmla="*/ 422690 w 447675"/>
                <a:gd name="connsiteY155" fmla="*/ 39025 h 171450"/>
                <a:gd name="connsiteX156" fmla="*/ 426379 w 447675"/>
                <a:gd name="connsiteY156" fmla="*/ 35339 h 171450"/>
                <a:gd name="connsiteX157" fmla="*/ 422690 w 447675"/>
                <a:gd name="connsiteY157" fmla="*/ 35339 h 171450"/>
                <a:gd name="connsiteX158" fmla="*/ 419000 w 447675"/>
                <a:gd name="connsiteY158" fmla="*/ 35339 h 171450"/>
                <a:gd name="connsiteX159" fmla="*/ 419000 w 447675"/>
                <a:gd name="connsiteY159" fmla="*/ 39025 h 171450"/>
                <a:gd name="connsiteX160" fmla="*/ 415311 w 447675"/>
                <a:gd name="connsiteY160" fmla="*/ 42711 h 171450"/>
                <a:gd name="connsiteX161" fmla="*/ 415311 w 447675"/>
                <a:gd name="connsiteY161" fmla="*/ 46407 h 171450"/>
                <a:gd name="connsiteX162" fmla="*/ 419000 w 447675"/>
                <a:gd name="connsiteY162" fmla="*/ 50093 h 171450"/>
                <a:gd name="connsiteX163" fmla="*/ 422690 w 447675"/>
                <a:gd name="connsiteY163" fmla="*/ 50093 h 171450"/>
                <a:gd name="connsiteX164" fmla="*/ 422690 w 447675"/>
                <a:gd name="connsiteY164" fmla="*/ 53789 h 171450"/>
                <a:gd name="connsiteX165" fmla="*/ 422690 w 447675"/>
                <a:gd name="connsiteY165" fmla="*/ 57475 h 171450"/>
                <a:gd name="connsiteX166" fmla="*/ 419000 w 447675"/>
                <a:gd name="connsiteY166" fmla="*/ 53789 h 171450"/>
                <a:gd name="connsiteX167" fmla="*/ 415311 w 447675"/>
                <a:gd name="connsiteY167" fmla="*/ 57475 h 171450"/>
                <a:gd name="connsiteX168" fmla="*/ 419000 w 447675"/>
                <a:gd name="connsiteY168" fmla="*/ 57475 h 171450"/>
                <a:gd name="connsiteX169" fmla="*/ 415311 w 447675"/>
                <a:gd name="connsiteY169" fmla="*/ 61171 h 171450"/>
                <a:gd name="connsiteX170" fmla="*/ 419000 w 447675"/>
                <a:gd name="connsiteY170" fmla="*/ 61171 h 171450"/>
                <a:gd name="connsiteX171" fmla="*/ 419000 w 447675"/>
                <a:gd name="connsiteY171" fmla="*/ 64857 h 171450"/>
                <a:gd name="connsiteX172" fmla="*/ 415311 w 447675"/>
                <a:gd name="connsiteY172" fmla="*/ 61171 h 171450"/>
                <a:gd name="connsiteX173" fmla="*/ 407933 w 447675"/>
                <a:gd name="connsiteY173" fmla="*/ 61171 h 171450"/>
                <a:gd name="connsiteX174" fmla="*/ 411622 w 447675"/>
                <a:gd name="connsiteY174" fmla="*/ 64857 h 171450"/>
                <a:gd name="connsiteX175" fmla="*/ 411622 w 447675"/>
                <a:gd name="connsiteY175" fmla="*/ 68553 h 171450"/>
                <a:gd name="connsiteX176" fmla="*/ 407933 w 447675"/>
                <a:gd name="connsiteY176" fmla="*/ 61171 h 171450"/>
                <a:gd name="connsiteX177" fmla="*/ 404244 w 447675"/>
                <a:gd name="connsiteY177" fmla="*/ 57475 h 171450"/>
                <a:gd name="connsiteX178" fmla="*/ 400555 w 447675"/>
                <a:gd name="connsiteY178" fmla="*/ 57475 h 171450"/>
                <a:gd name="connsiteX179" fmla="*/ 404244 w 447675"/>
                <a:gd name="connsiteY179" fmla="*/ 61171 h 171450"/>
                <a:gd name="connsiteX180" fmla="*/ 407933 w 447675"/>
                <a:gd name="connsiteY180" fmla="*/ 64857 h 171450"/>
                <a:gd name="connsiteX181" fmla="*/ 404244 w 447675"/>
                <a:gd name="connsiteY181" fmla="*/ 64857 h 171450"/>
                <a:gd name="connsiteX182" fmla="*/ 404244 w 447675"/>
                <a:gd name="connsiteY182" fmla="*/ 61171 h 171450"/>
                <a:gd name="connsiteX183" fmla="*/ 400555 w 447675"/>
                <a:gd name="connsiteY183" fmla="*/ 61171 h 171450"/>
                <a:gd name="connsiteX184" fmla="*/ 396865 w 447675"/>
                <a:gd name="connsiteY184" fmla="*/ 61171 h 171450"/>
                <a:gd name="connsiteX185" fmla="*/ 393176 w 447675"/>
                <a:gd name="connsiteY185" fmla="*/ 61171 h 171450"/>
                <a:gd name="connsiteX186" fmla="*/ 393176 w 447675"/>
                <a:gd name="connsiteY186" fmla="*/ 64857 h 171450"/>
                <a:gd name="connsiteX187" fmla="*/ 396865 w 447675"/>
                <a:gd name="connsiteY187" fmla="*/ 64857 h 171450"/>
                <a:gd name="connsiteX188" fmla="*/ 396865 w 447675"/>
                <a:gd name="connsiteY188" fmla="*/ 68553 h 171450"/>
                <a:gd name="connsiteX189" fmla="*/ 393176 w 447675"/>
                <a:gd name="connsiteY189" fmla="*/ 68553 h 171450"/>
                <a:gd name="connsiteX190" fmla="*/ 385798 w 447675"/>
                <a:gd name="connsiteY190" fmla="*/ 53789 h 171450"/>
                <a:gd name="connsiteX191" fmla="*/ 382109 w 447675"/>
                <a:gd name="connsiteY191" fmla="*/ 53789 h 171450"/>
                <a:gd name="connsiteX192" fmla="*/ 371040 w 447675"/>
                <a:gd name="connsiteY192" fmla="*/ 46407 h 171450"/>
                <a:gd name="connsiteX193" fmla="*/ 371040 w 447675"/>
                <a:gd name="connsiteY193" fmla="*/ 42711 h 171450"/>
                <a:gd name="connsiteX194" fmla="*/ 367351 w 447675"/>
                <a:gd name="connsiteY194" fmla="*/ 42711 h 171450"/>
                <a:gd name="connsiteX195" fmla="*/ 367351 w 447675"/>
                <a:gd name="connsiteY195" fmla="*/ 46407 h 171450"/>
                <a:gd name="connsiteX196" fmla="*/ 352595 w 447675"/>
                <a:gd name="connsiteY196" fmla="*/ 42711 h 171450"/>
                <a:gd name="connsiteX197" fmla="*/ 348905 w 447675"/>
                <a:gd name="connsiteY197" fmla="*/ 39025 h 171450"/>
                <a:gd name="connsiteX198" fmla="*/ 348905 w 447675"/>
                <a:gd name="connsiteY198" fmla="*/ 35339 h 171450"/>
                <a:gd name="connsiteX199" fmla="*/ 345216 w 447675"/>
                <a:gd name="connsiteY199" fmla="*/ 31643 h 171450"/>
                <a:gd name="connsiteX200" fmla="*/ 345216 w 447675"/>
                <a:gd name="connsiteY200" fmla="*/ 27957 h 171450"/>
                <a:gd name="connsiteX201" fmla="*/ 341527 w 447675"/>
                <a:gd name="connsiteY201" fmla="*/ 24262 h 171450"/>
                <a:gd name="connsiteX202" fmla="*/ 345216 w 447675"/>
                <a:gd name="connsiteY202" fmla="*/ 20575 h 171450"/>
                <a:gd name="connsiteX203" fmla="*/ 341527 w 447675"/>
                <a:gd name="connsiteY203" fmla="*/ 20575 h 171450"/>
                <a:gd name="connsiteX204" fmla="*/ 337838 w 447675"/>
                <a:gd name="connsiteY204" fmla="*/ 16880 h 171450"/>
                <a:gd name="connsiteX205" fmla="*/ 337838 w 447675"/>
                <a:gd name="connsiteY205" fmla="*/ 13194 h 171450"/>
                <a:gd name="connsiteX206" fmla="*/ 330460 w 447675"/>
                <a:gd name="connsiteY206" fmla="*/ 13194 h 171450"/>
                <a:gd name="connsiteX207" fmla="*/ 326770 w 447675"/>
                <a:gd name="connsiteY207" fmla="*/ 13194 h 171450"/>
                <a:gd name="connsiteX208" fmla="*/ 323081 w 447675"/>
                <a:gd name="connsiteY208" fmla="*/ 9498 h 171450"/>
                <a:gd name="connsiteX209" fmla="*/ 315703 w 447675"/>
                <a:gd name="connsiteY209" fmla="*/ 9498 h 171450"/>
                <a:gd name="connsiteX210" fmla="*/ 312014 w 447675"/>
                <a:gd name="connsiteY210" fmla="*/ 16880 h 171450"/>
                <a:gd name="connsiteX211" fmla="*/ 312014 w 447675"/>
                <a:gd name="connsiteY211" fmla="*/ 20575 h 171450"/>
                <a:gd name="connsiteX212" fmla="*/ 308325 w 447675"/>
                <a:gd name="connsiteY212" fmla="*/ 20575 h 171450"/>
                <a:gd name="connsiteX213" fmla="*/ 308325 w 447675"/>
                <a:gd name="connsiteY213" fmla="*/ 27957 h 171450"/>
                <a:gd name="connsiteX214" fmla="*/ 308325 w 447675"/>
                <a:gd name="connsiteY214" fmla="*/ 31643 h 171450"/>
                <a:gd name="connsiteX215" fmla="*/ 308325 w 447675"/>
                <a:gd name="connsiteY215" fmla="*/ 35339 h 171450"/>
                <a:gd name="connsiteX216" fmla="*/ 308325 w 447675"/>
                <a:gd name="connsiteY216" fmla="*/ 39025 h 171450"/>
                <a:gd name="connsiteX217" fmla="*/ 304635 w 447675"/>
                <a:gd name="connsiteY217" fmla="*/ 42711 h 171450"/>
                <a:gd name="connsiteX218" fmla="*/ 297257 w 447675"/>
                <a:gd name="connsiteY218" fmla="*/ 42711 h 171450"/>
                <a:gd name="connsiteX219" fmla="*/ 286190 w 447675"/>
                <a:gd name="connsiteY219" fmla="*/ 46407 h 171450"/>
                <a:gd name="connsiteX220" fmla="*/ 278811 w 447675"/>
                <a:gd name="connsiteY220" fmla="*/ 50093 h 171450"/>
                <a:gd name="connsiteX221" fmla="*/ 275122 w 447675"/>
                <a:gd name="connsiteY221" fmla="*/ 53789 h 171450"/>
                <a:gd name="connsiteX222" fmla="*/ 271433 w 447675"/>
                <a:gd name="connsiteY222" fmla="*/ 53789 h 171450"/>
                <a:gd name="connsiteX223" fmla="*/ 271433 w 447675"/>
                <a:gd name="connsiteY223" fmla="*/ 57475 h 171450"/>
                <a:gd name="connsiteX224" fmla="*/ 264055 w 447675"/>
                <a:gd name="connsiteY224" fmla="*/ 57475 h 171450"/>
                <a:gd name="connsiteX225" fmla="*/ 264055 w 447675"/>
                <a:gd name="connsiteY225" fmla="*/ 61171 h 171450"/>
                <a:gd name="connsiteX226" fmla="*/ 260366 w 447675"/>
                <a:gd name="connsiteY226" fmla="*/ 64857 h 171450"/>
                <a:gd name="connsiteX227" fmla="*/ 256676 w 447675"/>
                <a:gd name="connsiteY227" fmla="*/ 64857 h 171450"/>
                <a:gd name="connsiteX228" fmla="*/ 249298 w 447675"/>
                <a:gd name="connsiteY228" fmla="*/ 64857 h 171450"/>
                <a:gd name="connsiteX229" fmla="*/ 245609 w 447675"/>
                <a:gd name="connsiteY229" fmla="*/ 64857 h 171450"/>
                <a:gd name="connsiteX230" fmla="*/ 241920 w 447675"/>
                <a:gd name="connsiteY230" fmla="*/ 61171 h 171450"/>
                <a:gd name="connsiteX231" fmla="*/ 238231 w 447675"/>
                <a:gd name="connsiteY231" fmla="*/ 61171 h 171450"/>
                <a:gd name="connsiteX232" fmla="*/ 238231 w 447675"/>
                <a:gd name="connsiteY232" fmla="*/ 64857 h 171450"/>
                <a:gd name="connsiteX233" fmla="*/ 234541 w 447675"/>
                <a:gd name="connsiteY233" fmla="*/ 61171 h 171450"/>
                <a:gd name="connsiteX234" fmla="*/ 234541 w 447675"/>
                <a:gd name="connsiteY234" fmla="*/ 64857 h 171450"/>
                <a:gd name="connsiteX235" fmla="*/ 234541 w 447675"/>
                <a:gd name="connsiteY235" fmla="*/ 68553 h 171450"/>
                <a:gd name="connsiteX236" fmla="*/ 230852 w 447675"/>
                <a:gd name="connsiteY236" fmla="*/ 61171 h 171450"/>
                <a:gd name="connsiteX237" fmla="*/ 230852 w 447675"/>
                <a:gd name="connsiteY237" fmla="*/ 57475 h 171450"/>
                <a:gd name="connsiteX238" fmla="*/ 227162 w 447675"/>
                <a:gd name="connsiteY238" fmla="*/ 57475 h 171450"/>
                <a:gd name="connsiteX239" fmla="*/ 223473 w 447675"/>
                <a:gd name="connsiteY239" fmla="*/ 57475 h 171450"/>
                <a:gd name="connsiteX240" fmla="*/ 223473 w 447675"/>
                <a:gd name="connsiteY240" fmla="*/ 53789 h 171450"/>
                <a:gd name="connsiteX241" fmla="*/ 212406 w 447675"/>
                <a:gd name="connsiteY241" fmla="*/ 53789 h 171450"/>
                <a:gd name="connsiteX242" fmla="*/ 212406 w 447675"/>
                <a:gd name="connsiteY242" fmla="*/ 64857 h 171450"/>
                <a:gd name="connsiteX243" fmla="*/ 205027 w 447675"/>
                <a:gd name="connsiteY243" fmla="*/ 61171 h 171450"/>
                <a:gd name="connsiteX244" fmla="*/ 205027 w 447675"/>
                <a:gd name="connsiteY244" fmla="*/ 57475 h 171450"/>
                <a:gd name="connsiteX245" fmla="*/ 208716 w 447675"/>
                <a:gd name="connsiteY245" fmla="*/ 53789 h 171450"/>
                <a:gd name="connsiteX246" fmla="*/ 205027 w 447675"/>
                <a:gd name="connsiteY246" fmla="*/ 53789 h 171450"/>
                <a:gd name="connsiteX247" fmla="*/ 197649 w 447675"/>
                <a:gd name="connsiteY247" fmla="*/ 53789 h 171450"/>
                <a:gd name="connsiteX248" fmla="*/ 193960 w 447675"/>
                <a:gd name="connsiteY248" fmla="*/ 53789 h 171450"/>
                <a:gd name="connsiteX249" fmla="*/ 190271 w 447675"/>
                <a:gd name="connsiteY249" fmla="*/ 53789 h 171450"/>
                <a:gd name="connsiteX250" fmla="*/ 186581 w 447675"/>
                <a:gd name="connsiteY250" fmla="*/ 53789 h 171450"/>
                <a:gd name="connsiteX251" fmla="*/ 186581 w 447675"/>
                <a:gd name="connsiteY251" fmla="*/ 50093 h 171450"/>
                <a:gd name="connsiteX252" fmla="*/ 182892 w 447675"/>
                <a:gd name="connsiteY252" fmla="*/ 46407 h 171450"/>
                <a:gd name="connsiteX253" fmla="*/ 179203 w 447675"/>
                <a:gd name="connsiteY253" fmla="*/ 42711 h 171450"/>
                <a:gd name="connsiteX254" fmla="*/ 175514 w 447675"/>
                <a:gd name="connsiteY254" fmla="*/ 42711 h 171450"/>
                <a:gd name="connsiteX255" fmla="*/ 175514 w 447675"/>
                <a:gd name="connsiteY255" fmla="*/ 39025 h 171450"/>
                <a:gd name="connsiteX256" fmla="*/ 171825 w 447675"/>
                <a:gd name="connsiteY256" fmla="*/ 35339 h 171450"/>
                <a:gd name="connsiteX257" fmla="*/ 160757 w 447675"/>
                <a:gd name="connsiteY257" fmla="*/ 35339 h 171450"/>
                <a:gd name="connsiteX258" fmla="*/ 153379 w 447675"/>
                <a:gd name="connsiteY258" fmla="*/ 31643 h 171450"/>
                <a:gd name="connsiteX259" fmla="*/ 149690 w 447675"/>
                <a:gd name="connsiteY259" fmla="*/ 31643 h 171450"/>
                <a:gd name="connsiteX260" fmla="*/ 138622 w 447675"/>
                <a:gd name="connsiteY260" fmla="*/ 27957 h 171450"/>
                <a:gd name="connsiteX261" fmla="*/ 134933 w 447675"/>
                <a:gd name="connsiteY261" fmla="*/ 27957 h 171450"/>
                <a:gd name="connsiteX262" fmla="*/ 134933 w 447675"/>
                <a:gd name="connsiteY262" fmla="*/ 24262 h 171450"/>
                <a:gd name="connsiteX263" fmla="*/ 131244 w 447675"/>
                <a:gd name="connsiteY263" fmla="*/ 24262 h 171450"/>
                <a:gd name="connsiteX264" fmla="*/ 123866 w 447675"/>
                <a:gd name="connsiteY264" fmla="*/ 20575 h 171450"/>
                <a:gd name="connsiteX265" fmla="*/ 120177 w 447675"/>
                <a:gd name="connsiteY265" fmla="*/ 20575 h 171450"/>
                <a:gd name="connsiteX266" fmla="*/ 116487 w 447675"/>
                <a:gd name="connsiteY266" fmla="*/ 16880 h 171450"/>
                <a:gd name="connsiteX267" fmla="*/ 112798 w 447675"/>
                <a:gd name="connsiteY267" fmla="*/ 13194 h 171450"/>
                <a:gd name="connsiteX268" fmla="*/ 109109 w 447675"/>
                <a:gd name="connsiteY268" fmla="*/ 13194 h 171450"/>
                <a:gd name="connsiteX269" fmla="*/ 105420 w 447675"/>
                <a:gd name="connsiteY269" fmla="*/ 9498 h 171450"/>
                <a:gd name="connsiteX270" fmla="*/ 101731 w 447675"/>
                <a:gd name="connsiteY270" fmla="*/ 9498 h 171450"/>
                <a:gd name="connsiteX271" fmla="*/ 101731 w 447675"/>
                <a:gd name="connsiteY271" fmla="*/ 5812 h 171450"/>
                <a:gd name="connsiteX272" fmla="*/ 90663 w 447675"/>
                <a:gd name="connsiteY272" fmla="*/ 5812 h 171450"/>
                <a:gd name="connsiteX273" fmla="*/ 86974 w 447675"/>
                <a:gd name="connsiteY273" fmla="*/ 5812 h 171450"/>
                <a:gd name="connsiteX274" fmla="*/ 79595 w 447675"/>
                <a:gd name="connsiteY274" fmla="*/ 5812 h 171450"/>
                <a:gd name="connsiteX275" fmla="*/ 415311 w 447675"/>
                <a:gd name="connsiteY275" fmla="*/ 57475 h 171450"/>
                <a:gd name="connsiteX276" fmla="*/ 411622 w 447675"/>
                <a:gd name="connsiteY276" fmla="*/ 53789 h 171450"/>
                <a:gd name="connsiteX277" fmla="*/ 407933 w 447675"/>
                <a:gd name="connsiteY277" fmla="*/ 57475 h 171450"/>
                <a:gd name="connsiteX278" fmla="*/ 415311 w 447675"/>
                <a:gd name="connsiteY278" fmla="*/ 57475 h 171450"/>
                <a:gd name="connsiteX279" fmla="*/ 411622 w 447675"/>
                <a:gd name="connsiteY279" fmla="*/ 53789 h 171450"/>
                <a:gd name="connsiteX280" fmla="*/ 415311 w 447675"/>
                <a:gd name="connsiteY280" fmla="*/ 53789 h 171450"/>
                <a:gd name="connsiteX281" fmla="*/ 419000 w 447675"/>
                <a:gd name="connsiteY281" fmla="*/ 53789 h 171450"/>
                <a:gd name="connsiteX282" fmla="*/ 422690 w 447675"/>
                <a:gd name="connsiteY282" fmla="*/ 53789 h 171450"/>
                <a:gd name="connsiteX283" fmla="*/ 419000 w 447675"/>
                <a:gd name="connsiteY283" fmla="*/ 50093 h 171450"/>
                <a:gd name="connsiteX284" fmla="*/ 415311 w 447675"/>
                <a:gd name="connsiteY284" fmla="*/ 50093 h 171450"/>
                <a:gd name="connsiteX285" fmla="*/ 411622 w 447675"/>
                <a:gd name="connsiteY285" fmla="*/ 50093 h 171450"/>
                <a:gd name="connsiteX286" fmla="*/ 411622 w 447675"/>
                <a:gd name="connsiteY286" fmla="*/ 53789 h 171450"/>
                <a:gd name="connsiteX287" fmla="*/ 419000 w 447675"/>
                <a:gd name="connsiteY287" fmla="*/ 42711 h 171450"/>
                <a:gd name="connsiteX288" fmla="*/ 422690 w 447675"/>
                <a:gd name="connsiteY288" fmla="*/ 46407 h 171450"/>
                <a:gd name="connsiteX289" fmla="*/ 419000 w 447675"/>
                <a:gd name="connsiteY289" fmla="*/ 46407 h 171450"/>
                <a:gd name="connsiteX290" fmla="*/ 419000 w 447675"/>
                <a:gd name="connsiteY290" fmla="*/ 42711 h 171450"/>
                <a:gd name="connsiteX291" fmla="*/ 426379 w 447675"/>
                <a:gd name="connsiteY291" fmla="*/ 42711 h 171450"/>
                <a:gd name="connsiteX292" fmla="*/ 430068 w 447675"/>
                <a:gd name="connsiteY292" fmla="*/ 42711 h 171450"/>
                <a:gd name="connsiteX293" fmla="*/ 426379 w 447675"/>
                <a:gd name="connsiteY293" fmla="*/ 46407 h 171450"/>
                <a:gd name="connsiteX294" fmla="*/ 426379 w 447675"/>
                <a:gd name="connsiteY294" fmla="*/ 42711 h 171450"/>
                <a:gd name="connsiteX295" fmla="*/ 400555 w 447675"/>
                <a:gd name="connsiteY295" fmla="*/ 68553 h 171450"/>
                <a:gd name="connsiteX296" fmla="*/ 404244 w 447675"/>
                <a:gd name="connsiteY296" fmla="*/ 68553 h 171450"/>
                <a:gd name="connsiteX297" fmla="*/ 404244 w 447675"/>
                <a:gd name="connsiteY297" fmla="*/ 72239 h 171450"/>
                <a:gd name="connsiteX298" fmla="*/ 400555 w 447675"/>
                <a:gd name="connsiteY298" fmla="*/ 72239 h 171450"/>
                <a:gd name="connsiteX299" fmla="*/ 400555 w 447675"/>
                <a:gd name="connsiteY299" fmla="*/ 6855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Lst>
              <a:rect l="l" t="t" r="r" b="b"/>
              <a:pathLst>
                <a:path w="447675" h="171450">
                  <a:moveTo>
                    <a:pt x="79595" y="5812"/>
                  </a:moveTo>
                  <a:lnTo>
                    <a:pt x="79595" y="9498"/>
                  </a:lnTo>
                  <a:lnTo>
                    <a:pt x="75906" y="9498"/>
                  </a:lnTo>
                  <a:lnTo>
                    <a:pt x="72217" y="9498"/>
                  </a:lnTo>
                  <a:lnTo>
                    <a:pt x="64839" y="13194"/>
                  </a:lnTo>
                  <a:lnTo>
                    <a:pt x="61149" y="13194"/>
                  </a:lnTo>
                  <a:lnTo>
                    <a:pt x="57460" y="13194"/>
                  </a:lnTo>
                  <a:lnTo>
                    <a:pt x="53771" y="16880"/>
                  </a:lnTo>
                  <a:lnTo>
                    <a:pt x="50082" y="16880"/>
                  </a:lnTo>
                  <a:lnTo>
                    <a:pt x="46393" y="16880"/>
                  </a:lnTo>
                  <a:lnTo>
                    <a:pt x="42703" y="16880"/>
                  </a:lnTo>
                  <a:lnTo>
                    <a:pt x="39014" y="16880"/>
                  </a:lnTo>
                  <a:lnTo>
                    <a:pt x="35325" y="16880"/>
                  </a:lnTo>
                  <a:lnTo>
                    <a:pt x="35325" y="20575"/>
                  </a:lnTo>
                  <a:lnTo>
                    <a:pt x="31636" y="20575"/>
                  </a:lnTo>
                  <a:lnTo>
                    <a:pt x="27947" y="24262"/>
                  </a:lnTo>
                  <a:lnTo>
                    <a:pt x="24258" y="24262"/>
                  </a:lnTo>
                  <a:lnTo>
                    <a:pt x="20568" y="24262"/>
                  </a:lnTo>
                  <a:lnTo>
                    <a:pt x="16879" y="27957"/>
                  </a:lnTo>
                  <a:lnTo>
                    <a:pt x="13190" y="27957"/>
                  </a:lnTo>
                  <a:lnTo>
                    <a:pt x="13190" y="31643"/>
                  </a:lnTo>
                  <a:lnTo>
                    <a:pt x="16879" y="35339"/>
                  </a:lnTo>
                  <a:lnTo>
                    <a:pt x="16879" y="42711"/>
                  </a:lnTo>
                  <a:lnTo>
                    <a:pt x="16879" y="46407"/>
                  </a:lnTo>
                  <a:lnTo>
                    <a:pt x="16879" y="50093"/>
                  </a:lnTo>
                  <a:lnTo>
                    <a:pt x="20568" y="53789"/>
                  </a:lnTo>
                  <a:lnTo>
                    <a:pt x="20568" y="61171"/>
                  </a:lnTo>
                  <a:lnTo>
                    <a:pt x="9501" y="72239"/>
                  </a:lnTo>
                  <a:lnTo>
                    <a:pt x="5812" y="75935"/>
                  </a:lnTo>
                  <a:lnTo>
                    <a:pt x="9501" y="79621"/>
                  </a:lnTo>
                  <a:lnTo>
                    <a:pt x="16879" y="87003"/>
                  </a:lnTo>
                  <a:lnTo>
                    <a:pt x="13190" y="87003"/>
                  </a:lnTo>
                  <a:lnTo>
                    <a:pt x="9501" y="87003"/>
                  </a:lnTo>
                  <a:lnTo>
                    <a:pt x="9501" y="90689"/>
                  </a:lnTo>
                  <a:lnTo>
                    <a:pt x="13190" y="94385"/>
                  </a:lnTo>
                  <a:lnTo>
                    <a:pt x="16879" y="98071"/>
                  </a:lnTo>
                  <a:lnTo>
                    <a:pt x="16879" y="101766"/>
                  </a:lnTo>
                  <a:lnTo>
                    <a:pt x="13190" y="105453"/>
                  </a:lnTo>
                  <a:lnTo>
                    <a:pt x="16879" y="109148"/>
                  </a:lnTo>
                  <a:lnTo>
                    <a:pt x="20568" y="109148"/>
                  </a:lnTo>
                  <a:lnTo>
                    <a:pt x="24258" y="116530"/>
                  </a:lnTo>
                  <a:lnTo>
                    <a:pt x="27947" y="116530"/>
                  </a:lnTo>
                  <a:lnTo>
                    <a:pt x="31636" y="123912"/>
                  </a:lnTo>
                  <a:lnTo>
                    <a:pt x="35325" y="120216"/>
                  </a:lnTo>
                  <a:lnTo>
                    <a:pt x="39014" y="123912"/>
                  </a:lnTo>
                  <a:lnTo>
                    <a:pt x="39014" y="127598"/>
                  </a:lnTo>
                  <a:lnTo>
                    <a:pt x="39014" y="131294"/>
                  </a:lnTo>
                  <a:lnTo>
                    <a:pt x="42703" y="131294"/>
                  </a:lnTo>
                  <a:lnTo>
                    <a:pt x="46393" y="134980"/>
                  </a:lnTo>
                  <a:lnTo>
                    <a:pt x="50082" y="134980"/>
                  </a:lnTo>
                  <a:lnTo>
                    <a:pt x="61149" y="134980"/>
                  </a:lnTo>
                  <a:lnTo>
                    <a:pt x="90663" y="131294"/>
                  </a:lnTo>
                  <a:lnTo>
                    <a:pt x="86974" y="105453"/>
                  </a:lnTo>
                  <a:lnTo>
                    <a:pt x="83284" y="101766"/>
                  </a:lnTo>
                  <a:lnTo>
                    <a:pt x="90663" y="98071"/>
                  </a:lnTo>
                  <a:lnTo>
                    <a:pt x="94352" y="101766"/>
                  </a:lnTo>
                  <a:lnTo>
                    <a:pt x="98042" y="101766"/>
                  </a:lnTo>
                  <a:lnTo>
                    <a:pt x="98042" y="98071"/>
                  </a:lnTo>
                  <a:lnTo>
                    <a:pt x="101731" y="98071"/>
                  </a:lnTo>
                  <a:lnTo>
                    <a:pt x="105420" y="98071"/>
                  </a:lnTo>
                  <a:lnTo>
                    <a:pt x="105420" y="94385"/>
                  </a:lnTo>
                  <a:lnTo>
                    <a:pt x="109109" y="94385"/>
                  </a:lnTo>
                  <a:lnTo>
                    <a:pt x="112798" y="98071"/>
                  </a:lnTo>
                  <a:lnTo>
                    <a:pt x="116487" y="101766"/>
                  </a:lnTo>
                  <a:lnTo>
                    <a:pt x="120177" y="98071"/>
                  </a:lnTo>
                  <a:lnTo>
                    <a:pt x="116487" y="90689"/>
                  </a:lnTo>
                  <a:lnTo>
                    <a:pt x="123866" y="87003"/>
                  </a:lnTo>
                  <a:lnTo>
                    <a:pt x="127555" y="90689"/>
                  </a:lnTo>
                  <a:lnTo>
                    <a:pt x="134933" y="94385"/>
                  </a:lnTo>
                  <a:lnTo>
                    <a:pt x="138622" y="98071"/>
                  </a:lnTo>
                  <a:lnTo>
                    <a:pt x="146001" y="101766"/>
                  </a:lnTo>
                  <a:lnTo>
                    <a:pt x="149690" y="101766"/>
                  </a:lnTo>
                  <a:lnTo>
                    <a:pt x="149690" y="98071"/>
                  </a:lnTo>
                  <a:lnTo>
                    <a:pt x="157068" y="98071"/>
                  </a:lnTo>
                  <a:lnTo>
                    <a:pt x="164446" y="105453"/>
                  </a:lnTo>
                  <a:lnTo>
                    <a:pt x="168136" y="105453"/>
                  </a:lnTo>
                  <a:lnTo>
                    <a:pt x="171825" y="109148"/>
                  </a:lnTo>
                  <a:lnTo>
                    <a:pt x="171825" y="112835"/>
                  </a:lnTo>
                  <a:lnTo>
                    <a:pt x="182892" y="112835"/>
                  </a:lnTo>
                  <a:lnTo>
                    <a:pt x="186581" y="116530"/>
                  </a:lnTo>
                  <a:lnTo>
                    <a:pt x="186581" y="112835"/>
                  </a:lnTo>
                  <a:lnTo>
                    <a:pt x="201338" y="116530"/>
                  </a:lnTo>
                  <a:lnTo>
                    <a:pt x="205027" y="116530"/>
                  </a:lnTo>
                  <a:lnTo>
                    <a:pt x="208716" y="123912"/>
                  </a:lnTo>
                  <a:lnTo>
                    <a:pt x="212406" y="123912"/>
                  </a:lnTo>
                  <a:lnTo>
                    <a:pt x="212406" y="120216"/>
                  </a:lnTo>
                  <a:lnTo>
                    <a:pt x="216095" y="123912"/>
                  </a:lnTo>
                  <a:lnTo>
                    <a:pt x="219784" y="127598"/>
                  </a:lnTo>
                  <a:lnTo>
                    <a:pt x="223473" y="127598"/>
                  </a:lnTo>
                  <a:lnTo>
                    <a:pt x="223473" y="131294"/>
                  </a:lnTo>
                  <a:lnTo>
                    <a:pt x="219784" y="134980"/>
                  </a:lnTo>
                  <a:lnTo>
                    <a:pt x="219784" y="142362"/>
                  </a:lnTo>
                  <a:lnTo>
                    <a:pt x="219784" y="153430"/>
                  </a:lnTo>
                  <a:lnTo>
                    <a:pt x="219784" y="160812"/>
                  </a:lnTo>
                  <a:lnTo>
                    <a:pt x="223473" y="164508"/>
                  </a:lnTo>
                  <a:lnTo>
                    <a:pt x="227162" y="164508"/>
                  </a:lnTo>
                  <a:lnTo>
                    <a:pt x="227162" y="160812"/>
                  </a:lnTo>
                  <a:lnTo>
                    <a:pt x="230852" y="164508"/>
                  </a:lnTo>
                  <a:lnTo>
                    <a:pt x="234541" y="164508"/>
                  </a:lnTo>
                  <a:lnTo>
                    <a:pt x="238231" y="164508"/>
                  </a:lnTo>
                  <a:lnTo>
                    <a:pt x="241920" y="164508"/>
                  </a:lnTo>
                  <a:lnTo>
                    <a:pt x="245609" y="164508"/>
                  </a:lnTo>
                  <a:lnTo>
                    <a:pt x="249298" y="164508"/>
                  </a:lnTo>
                  <a:lnTo>
                    <a:pt x="252987" y="164508"/>
                  </a:lnTo>
                  <a:lnTo>
                    <a:pt x="256676" y="164508"/>
                  </a:lnTo>
                  <a:lnTo>
                    <a:pt x="264055" y="157126"/>
                  </a:lnTo>
                  <a:lnTo>
                    <a:pt x="267744" y="157126"/>
                  </a:lnTo>
                  <a:lnTo>
                    <a:pt x="271433" y="157126"/>
                  </a:lnTo>
                  <a:lnTo>
                    <a:pt x="271433" y="164508"/>
                  </a:lnTo>
                  <a:lnTo>
                    <a:pt x="267744" y="164508"/>
                  </a:lnTo>
                  <a:lnTo>
                    <a:pt x="264055" y="168194"/>
                  </a:lnTo>
                  <a:lnTo>
                    <a:pt x="267744" y="171890"/>
                  </a:lnTo>
                  <a:lnTo>
                    <a:pt x="271433" y="171890"/>
                  </a:lnTo>
                  <a:lnTo>
                    <a:pt x="275122" y="171890"/>
                  </a:lnTo>
                  <a:lnTo>
                    <a:pt x="282501" y="168194"/>
                  </a:lnTo>
                  <a:lnTo>
                    <a:pt x="286190" y="168194"/>
                  </a:lnTo>
                  <a:lnTo>
                    <a:pt x="282501" y="160812"/>
                  </a:lnTo>
                  <a:lnTo>
                    <a:pt x="289879" y="157126"/>
                  </a:lnTo>
                  <a:lnTo>
                    <a:pt x="293568" y="164508"/>
                  </a:lnTo>
                  <a:lnTo>
                    <a:pt x="297257" y="164508"/>
                  </a:lnTo>
                  <a:lnTo>
                    <a:pt x="297257" y="160812"/>
                  </a:lnTo>
                  <a:lnTo>
                    <a:pt x="300946" y="160812"/>
                  </a:lnTo>
                  <a:lnTo>
                    <a:pt x="304635" y="160812"/>
                  </a:lnTo>
                  <a:lnTo>
                    <a:pt x="308325" y="157126"/>
                  </a:lnTo>
                  <a:lnTo>
                    <a:pt x="308325" y="153430"/>
                  </a:lnTo>
                  <a:lnTo>
                    <a:pt x="315703" y="153430"/>
                  </a:lnTo>
                  <a:lnTo>
                    <a:pt x="319392" y="146048"/>
                  </a:lnTo>
                  <a:lnTo>
                    <a:pt x="323081" y="146048"/>
                  </a:lnTo>
                  <a:lnTo>
                    <a:pt x="326770" y="142362"/>
                  </a:lnTo>
                  <a:lnTo>
                    <a:pt x="334149" y="138666"/>
                  </a:lnTo>
                  <a:lnTo>
                    <a:pt x="337838" y="138666"/>
                  </a:lnTo>
                  <a:lnTo>
                    <a:pt x="337838" y="142362"/>
                  </a:lnTo>
                  <a:lnTo>
                    <a:pt x="341527" y="142362"/>
                  </a:lnTo>
                  <a:lnTo>
                    <a:pt x="345216" y="138666"/>
                  </a:lnTo>
                  <a:lnTo>
                    <a:pt x="345216" y="142362"/>
                  </a:lnTo>
                  <a:lnTo>
                    <a:pt x="352595" y="142362"/>
                  </a:lnTo>
                  <a:lnTo>
                    <a:pt x="356284" y="138666"/>
                  </a:lnTo>
                  <a:lnTo>
                    <a:pt x="359973" y="138666"/>
                  </a:lnTo>
                  <a:lnTo>
                    <a:pt x="363662" y="134980"/>
                  </a:lnTo>
                  <a:lnTo>
                    <a:pt x="371040" y="127598"/>
                  </a:lnTo>
                  <a:lnTo>
                    <a:pt x="378419" y="123912"/>
                  </a:lnTo>
                  <a:lnTo>
                    <a:pt x="385798" y="120216"/>
                  </a:lnTo>
                  <a:lnTo>
                    <a:pt x="404244" y="105453"/>
                  </a:lnTo>
                  <a:lnTo>
                    <a:pt x="407933" y="101766"/>
                  </a:lnTo>
                  <a:lnTo>
                    <a:pt x="444825" y="57475"/>
                  </a:lnTo>
                  <a:lnTo>
                    <a:pt x="441135" y="57475"/>
                  </a:lnTo>
                  <a:lnTo>
                    <a:pt x="441135" y="53789"/>
                  </a:lnTo>
                  <a:lnTo>
                    <a:pt x="437446" y="53789"/>
                  </a:lnTo>
                  <a:lnTo>
                    <a:pt x="437446" y="50093"/>
                  </a:lnTo>
                  <a:lnTo>
                    <a:pt x="437446" y="46407"/>
                  </a:lnTo>
                  <a:lnTo>
                    <a:pt x="433757" y="50093"/>
                  </a:lnTo>
                  <a:lnTo>
                    <a:pt x="433757" y="46407"/>
                  </a:lnTo>
                  <a:lnTo>
                    <a:pt x="433757" y="42711"/>
                  </a:lnTo>
                  <a:lnTo>
                    <a:pt x="430068" y="39025"/>
                  </a:lnTo>
                  <a:lnTo>
                    <a:pt x="426379" y="39025"/>
                  </a:lnTo>
                  <a:lnTo>
                    <a:pt x="422690" y="39025"/>
                  </a:lnTo>
                  <a:lnTo>
                    <a:pt x="426379" y="35339"/>
                  </a:lnTo>
                  <a:lnTo>
                    <a:pt x="422690" y="35339"/>
                  </a:lnTo>
                  <a:lnTo>
                    <a:pt x="419000" y="35339"/>
                  </a:lnTo>
                  <a:lnTo>
                    <a:pt x="419000" y="39025"/>
                  </a:lnTo>
                  <a:lnTo>
                    <a:pt x="415311" y="42711"/>
                  </a:lnTo>
                  <a:lnTo>
                    <a:pt x="415311" y="46407"/>
                  </a:lnTo>
                  <a:lnTo>
                    <a:pt x="419000" y="50093"/>
                  </a:lnTo>
                  <a:lnTo>
                    <a:pt x="422690" y="50093"/>
                  </a:lnTo>
                  <a:lnTo>
                    <a:pt x="422690" y="53789"/>
                  </a:lnTo>
                  <a:lnTo>
                    <a:pt x="422690" y="57475"/>
                  </a:lnTo>
                  <a:lnTo>
                    <a:pt x="419000" y="53789"/>
                  </a:lnTo>
                  <a:lnTo>
                    <a:pt x="415311" y="57475"/>
                  </a:lnTo>
                  <a:lnTo>
                    <a:pt x="419000" y="57475"/>
                  </a:lnTo>
                  <a:lnTo>
                    <a:pt x="415311" y="61171"/>
                  </a:lnTo>
                  <a:lnTo>
                    <a:pt x="419000" y="61171"/>
                  </a:lnTo>
                  <a:lnTo>
                    <a:pt x="419000" y="64857"/>
                  </a:lnTo>
                  <a:lnTo>
                    <a:pt x="415311" y="61171"/>
                  </a:lnTo>
                  <a:lnTo>
                    <a:pt x="407933" y="61171"/>
                  </a:lnTo>
                  <a:lnTo>
                    <a:pt x="411622" y="64857"/>
                  </a:lnTo>
                  <a:lnTo>
                    <a:pt x="411622" y="68553"/>
                  </a:lnTo>
                  <a:lnTo>
                    <a:pt x="407933" y="61171"/>
                  </a:lnTo>
                  <a:lnTo>
                    <a:pt x="404244" y="57475"/>
                  </a:lnTo>
                  <a:lnTo>
                    <a:pt x="400555" y="57475"/>
                  </a:lnTo>
                  <a:lnTo>
                    <a:pt x="404244" y="61171"/>
                  </a:lnTo>
                  <a:lnTo>
                    <a:pt x="407933" y="64857"/>
                  </a:lnTo>
                  <a:lnTo>
                    <a:pt x="404244" y="64857"/>
                  </a:lnTo>
                  <a:lnTo>
                    <a:pt x="404244" y="61171"/>
                  </a:lnTo>
                  <a:lnTo>
                    <a:pt x="400555" y="61171"/>
                  </a:lnTo>
                  <a:lnTo>
                    <a:pt x="396865" y="61171"/>
                  </a:lnTo>
                  <a:lnTo>
                    <a:pt x="393176" y="61171"/>
                  </a:lnTo>
                  <a:lnTo>
                    <a:pt x="393176" y="64857"/>
                  </a:lnTo>
                  <a:lnTo>
                    <a:pt x="396865" y="64857"/>
                  </a:lnTo>
                  <a:lnTo>
                    <a:pt x="396865" y="68553"/>
                  </a:lnTo>
                  <a:lnTo>
                    <a:pt x="393176" y="68553"/>
                  </a:lnTo>
                  <a:lnTo>
                    <a:pt x="385798" y="53789"/>
                  </a:lnTo>
                  <a:lnTo>
                    <a:pt x="382109" y="53789"/>
                  </a:lnTo>
                  <a:lnTo>
                    <a:pt x="371040" y="46407"/>
                  </a:lnTo>
                  <a:lnTo>
                    <a:pt x="371040" y="42711"/>
                  </a:lnTo>
                  <a:lnTo>
                    <a:pt x="367351" y="42711"/>
                  </a:lnTo>
                  <a:lnTo>
                    <a:pt x="367351" y="46407"/>
                  </a:lnTo>
                  <a:lnTo>
                    <a:pt x="352595" y="42711"/>
                  </a:lnTo>
                  <a:lnTo>
                    <a:pt x="348905" y="39025"/>
                  </a:lnTo>
                  <a:lnTo>
                    <a:pt x="348905" y="35339"/>
                  </a:lnTo>
                  <a:lnTo>
                    <a:pt x="345216" y="31643"/>
                  </a:lnTo>
                  <a:lnTo>
                    <a:pt x="345216" y="27957"/>
                  </a:lnTo>
                  <a:lnTo>
                    <a:pt x="341527" y="24262"/>
                  </a:lnTo>
                  <a:lnTo>
                    <a:pt x="345216" y="20575"/>
                  </a:lnTo>
                  <a:lnTo>
                    <a:pt x="341527" y="20575"/>
                  </a:lnTo>
                  <a:lnTo>
                    <a:pt x="337838" y="16880"/>
                  </a:lnTo>
                  <a:lnTo>
                    <a:pt x="337838" y="13194"/>
                  </a:lnTo>
                  <a:lnTo>
                    <a:pt x="330460" y="13194"/>
                  </a:lnTo>
                  <a:lnTo>
                    <a:pt x="326770" y="13194"/>
                  </a:lnTo>
                  <a:lnTo>
                    <a:pt x="323081" y="9498"/>
                  </a:lnTo>
                  <a:lnTo>
                    <a:pt x="315703" y="9498"/>
                  </a:lnTo>
                  <a:lnTo>
                    <a:pt x="312014" y="16880"/>
                  </a:lnTo>
                  <a:lnTo>
                    <a:pt x="312014" y="20575"/>
                  </a:lnTo>
                  <a:lnTo>
                    <a:pt x="308325" y="20575"/>
                  </a:lnTo>
                  <a:lnTo>
                    <a:pt x="308325" y="27957"/>
                  </a:lnTo>
                  <a:lnTo>
                    <a:pt x="308325" y="31643"/>
                  </a:lnTo>
                  <a:lnTo>
                    <a:pt x="308325" y="35339"/>
                  </a:lnTo>
                  <a:lnTo>
                    <a:pt x="308325" y="39025"/>
                  </a:lnTo>
                  <a:lnTo>
                    <a:pt x="304635" y="42711"/>
                  </a:lnTo>
                  <a:lnTo>
                    <a:pt x="297257" y="42711"/>
                  </a:lnTo>
                  <a:lnTo>
                    <a:pt x="286190" y="46407"/>
                  </a:lnTo>
                  <a:lnTo>
                    <a:pt x="278811" y="50093"/>
                  </a:lnTo>
                  <a:lnTo>
                    <a:pt x="275122" y="53789"/>
                  </a:lnTo>
                  <a:lnTo>
                    <a:pt x="271433" y="53789"/>
                  </a:lnTo>
                  <a:lnTo>
                    <a:pt x="271433" y="57475"/>
                  </a:lnTo>
                  <a:lnTo>
                    <a:pt x="264055" y="57475"/>
                  </a:lnTo>
                  <a:lnTo>
                    <a:pt x="264055" y="61171"/>
                  </a:lnTo>
                  <a:lnTo>
                    <a:pt x="260366" y="64857"/>
                  </a:lnTo>
                  <a:lnTo>
                    <a:pt x="256676" y="64857"/>
                  </a:lnTo>
                  <a:lnTo>
                    <a:pt x="249298" y="64857"/>
                  </a:lnTo>
                  <a:lnTo>
                    <a:pt x="245609" y="64857"/>
                  </a:lnTo>
                  <a:lnTo>
                    <a:pt x="241920" y="61171"/>
                  </a:lnTo>
                  <a:lnTo>
                    <a:pt x="238231" y="61171"/>
                  </a:lnTo>
                  <a:lnTo>
                    <a:pt x="238231" y="64857"/>
                  </a:lnTo>
                  <a:lnTo>
                    <a:pt x="234541" y="61171"/>
                  </a:lnTo>
                  <a:lnTo>
                    <a:pt x="234541" y="64857"/>
                  </a:lnTo>
                  <a:lnTo>
                    <a:pt x="234541" y="68553"/>
                  </a:lnTo>
                  <a:lnTo>
                    <a:pt x="230852" y="61171"/>
                  </a:lnTo>
                  <a:lnTo>
                    <a:pt x="230852" y="57475"/>
                  </a:lnTo>
                  <a:lnTo>
                    <a:pt x="227162" y="57475"/>
                  </a:lnTo>
                  <a:lnTo>
                    <a:pt x="223473" y="57475"/>
                  </a:lnTo>
                  <a:lnTo>
                    <a:pt x="223473" y="53789"/>
                  </a:lnTo>
                  <a:lnTo>
                    <a:pt x="212406" y="53789"/>
                  </a:lnTo>
                  <a:lnTo>
                    <a:pt x="212406" y="64857"/>
                  </a:lnTo>
                  <a:lnTo>
                    <a:pt x="205027" y="61171"/>
                  </a:lnTo>
                  <a:lnTo>
                    <a:pt x="205027" y="57475"/>
                  </a:lnTo>
                  <a:lnTo>
                    <a:pt x="208716" y="53789"/>
                  </a:lnTo>
                  <a:lnTo>
                    <a:pt x="205027" y="53789"/>
                  </a:lnTo>
                  <a:lnTo>
                    <a:pt x="197649" y="53789"/>
                  </a:lnTo>
                  <a:lnTo>
                    <a:pt x="193960" y="53789"/>
                  </a:lnTo>
                  <a:lnTo>
                    <a:pt x="190271" y="53789"/>
                  </a:lnTo>
                  <a:lnTo>
                    <a:pt x="186581" y="53789"/>
                  </a:lnTo>
                  <a:lnTo>
                    <a:pt x="186581" y="50093"/>
                  </a:lnTo>
                  <a:lnTo>
                    <a:pt x="182892" y="46407"/>
                  </a:lnTo>
                  <a:lnTo>
                    <a:pt x="179203" y="42711"/>
                  </a:lnTo>
                  <a:lnTo>
                    <a:pt x="175514" y="42711"/>
                  </a:lnTo>
                  <a:lnTo>
                    <a:pt x="175514" y="39025"/>
                  </a:lnTo>
                  <a:lnTo>
                    <a:pt x="171825" y="35339"/>
                  </a:lnTo>
                  <a:lnTo>
                    <a:pt x="160757" y="35339"/>
                  </a:lnTo>
                  <a:lnTo>
                    <a:pt x="153379" y="31643"/>
                  </a:lnTo>
                  <a:lnTo>
                    <a:pt x="149690" y="31643"/>
                  </a:lnTo>
                  <a:lnTo>
                    <a:pt x="138622" y="27957"/>
                  </a:lnTo>
                  <a:lnTo>
                    <a:pt x="134933" y="27957"/>
                  </a:lnTo>
                  <a:lnTo>
                    <a:pt x="134933" y="24262"/>
                  </a:lnTo>
                  <a:lnTo>
                    <a:pt x="131244" y="24262"/>
                  </a:lnTo>
                  <a:lnTo>
                    <a:pt x="123866" y="20575"/>
                  </a:lnTo>
                  <a:lnTo>
                    <a:pt x="120177" y="20575"/>
                  </a:lnTo>
                  <a:lnTo>
                    <a:pt x="116487" y="16880"/>
                  </a:lnTo>
                  <a:lnTo>
                    <a:pt x="112798" y="13194"/>
                  </a:lnTo>
                  <a:lnTo>
                    <a:pt x="109109" y="13194"/>
                  </a:lnTo>
                  <a:lnTo>
                    <a:pt x="105420" y="9498"/>
                  </a:lnTo>
                  <a:lnTo>
                    <a:pt x="101731" y="9498"/>
                  </a:lnTo>
                  <a:lnTo>
                    <a:pt x="101731" y="5812"/>
                  </a:lnTo>
                  <a:lnTo>
                    <a:pt x="90663" y="5812"/>
                  </a:lnTo>
                  <a:lnTo>
                    <a:pt x="86974" y="5812"/>
                  </a:lnTo>
                  <a:lnTo>
                    <a:pt x="79595" y="5812"/>
                  </a:lnTo>
                  <a:close/>
                  <a:moveTo>
                    <a:pt x="415311" y="57475"/>
                  </a:moveTo>
                  <a:lnTo>
                    <a:pt x="411622" y="53789"/>
                  </a:lnTo>
                  <a:lnTo>
                    <a:pt x="407933" y="57475"/>
                  </a:lnTo>
                  <a:lnTo>
                    <a:pt x="415311" y="57475"/>
                  </a:lnTo>
                  <a:close/>
                  <a:moveTo>
                    <a:pt x="411622" y="53789"/>
                  </a:moveTo>
                  <a:lnTo>
                    <a:pt x="415311" y="53789"/>
                  </a:lnTo>
                  <a:lnTo>
                    <a:pt x="419000" y="53789"/>
                  </a:lnTo>
                  <a:lnTo>
                    <a:pt x="422690" y="53789"/>
                  </a:lnTo>
                  <a:lnTo>
                    <a:pt x="419000" y="50093"/>
                  </a:lnTo>
                  <a:lnTo>
                    <a:pt x="415311" y="50093"/>
                  </a:lnTo>
                  <a:lnTo>
                    <a:pt x="411622" y="50093"/>
                  </a:lnTo>
                  <a:lnTo>
                    <a:pt x="411622" y="53789"/>
                  </a:lnTo>
                  <a:close/>
                  <a:moveTo>
                    <a:pt x="419000" y="42711"/>
                  </a:moveTo>
                  <a:lnTo>
                    <a:pt x="422690" y="46407"/>
                  </a:lnTo>
                  <a:lnTo>
                    <a:pt x="419000" y="46407"/>
                  </a:lnTo>
                  <a:lnTo>
                    <a:pt x="419000" y="42711"/>
                  </a:lnTo>
                  <a:close/>
                  <a:moveTo>
                    <a:pt x="426379" y="42711"/>
                  </a:moveTo>
                  <a:lnTo>
                    <a:pt x="430068" y="42711"/>
                  </a:lnTo>
                  <a:lnTo>
                    <a:pt x="426379" y="46407"/>
                  </a:lnTo>
                  <a:lnTo>
                    <a:pt x="426379" y="42711"/>
                  </a:lnTo>
                  <a:close/>
                  <a:moveTo>
                    <a:pt x="400555" y="68553"/>
                  </a:moveTo>
                  <a:lnTo>
                    <a:pt x="404244" y="68553"/>
                  </a:lnTo>
                  <a:lnTo>
                    <a:pt x="404244" y="72239"/>
                  </a:lnTo>
                  <a:lnTo>
                    <a:pt x="400555" y="72239"/>
                  </a:lnTo>
                  <a:lnTo>
                    <a:pt x="400555" y="68553"/>
                  </a:lnTo>
                  <a:close/>
                </a:path>
              </a:pathLst>
            </a:custGeom>
            <a:solidFill>
              <a:srgbClr val="EC6224"/>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58" name="Freeform: Shape 257">
              <a:extLst>
                <a:ext uri="{FF2B5EF4-FFF2-40B4-BE49-F238E27FC236}">
                  <a16:creationId xmlns:a16="http://schemas.microsoft.com/office/drawing/2014/main" id="{33BE1919-9F88-4023-9BBF-7E1DA5201F04}"/>
                </a:ext>
              </a:extLst>
            </p:cNvPr>
            <p:cNvSpPr/>
            <p:nvPr/>
          </p:nvSpPr>
          <p:spPr>
            <a:xfrm>
              <a:off x="4513469" y="4974536"/>
              <a:ext cx="15373" cy="30745"/>
            </a:xfrm>
            <a:custGeom>
              <a:avLst/>
              <a:gdLst>
                <a:gd name="connsiteX0" fmla="*/ 9501 w 9525"/>
                <a:gd name="connsiteY0" fmla="*/ 13184 h 19050"/>
                <a:gd name="connsiteX1" fmla="*/ 9501 w 9525"/>
                <a:gd name="connsiteY1" fmla="*/ 13184 h 19050"/>
                <a:gd name="connsiteX2" fmla="*/ 5812 w 9525"/>
                <a:gd name="connsiteY2" fmla="*/ 9498 h 19050"/>
                <a:gd name="connsiteX3" fmla="*/ 5812 w 9525"/>
                <a:gd name="connsiteY3" fmla="*/ 5812 h 19050"/>
                <a:gd name="connsiteX4" fmla="*/ 5812 w 9525"/>
                <a:gd name="connsiteY4" fmla="*/ 5812 h 19050"/>
                <a:gd name="connsiteX5" fmla="*/ 9501 w 9525"/>
                <a:gd name="connsiteY5" fmla="*/ 5812 h 19050"/>
                <a:gd name="connsiteX6" fmla="*/ 13190 w 9525"/>
                <a:gd name="connsiteY6" fmla="*/ 9498 h 19050"/>
                <a:gd name="connsiteX7" fmla="*/ 13190 w 9525"/>
                <a:gd name="connsiteY7" fmla="*/ 13184 h 19050"/>
                <a:gd name="connsiteX8" fmla="*/ 9501 w 9525"/>
                <a:gd name="connsiteY8" fmla="*/ 16879 h 19050"/>
                <a:gd name="connsiteX9" fmla="*/ 9501 w 9525"/>
                <a:gd name="connsiteY9" fmla="*/ 16879 h 19050"/>
                <a:gd name="connsiteX10" fmla="*/ 9501 w 9525"/>
                <a:gd name="connsiteY10" fmla="*/ 13184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25" h="19050">
                  <a:moveTo>
                    <a:pt x="9501" y="13184"/>
                  </a:moveTo>
                  <a:lnTo>
                    <a:pt x="9501" y="13184"/>
                  </a:lnTo>
                  <a:lnTo>
                    <a:pt x="5812" y="9498"/>
                  </a:lnTo>
                  <a:lnTo>
                    <a:pt x="5812" y="5812"/>
                  </a:lnTo>
                  <a:lnTo>
                    <a:pt x="5812" y="5812"/>
                  </a:lnTo>
                  <a:lnTo>
                    <a:pt x="9501" y="5812"/>
                  </a:lnTo>
                  <a:lnTo>
                    <a:pt x="13190" y="9498"/>
                  </a:lnTo>
                  <a:lnTo>
                    <a:pt x="13190" y="13184"/>
                  </a:lnTo>
                  <a:lnTo>
                    <a:pt x="9501" y="16879"/>
                  </a:lnTo>
                  <a:lnTo>
                    <a:pt x="9501" y="16879"/>
                  </a:lnTo>
                  <a:lnTo>
                    <a:pt x="9501" y="13184"/>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59" name="Freeform: Shape 258">
              <a:extLst>
                <a:ext uri="{FF2B5EF4-FFF2-40B4-BE49-F238E27FC236}">
                  <a16:creationId xmlns:a16="http://schemas.microsoft.com/office/drawing/2014/main" id="{730FDFD8-C15D-4518-84CC-44F3971E0A30}"/>
                </a:ext>
              </a:extLst>
            </p:cNvPr>
            <p:cNvSpPr/>
            <p:nvPr/>
          </p:nvSpPr>
          <p:spPr>
            <a:xfrm>
              <a:off x="4507515" y="4849451"/>
              <a:ext cx="61491" cy="76864"/>
            </a:xfrm>
            <a:custGeom>
              <a:avLst/>
              <a:gdLst>
                <a:gd name="connsiteX0" fmla="*/ 31636 w 38100"/>
                <a:gd name="connsiteY0" fmla="*/ 5812 h 47625"/>
                <a:gd name="connsiteX1" fmla="*/ 31636 w 38100"/>
                <a:gd name="connsiteY1" fmla="*/ 5812 h 47625"/>
                <a:gd name="connsiteX2" fmla="*/ 31636 w 38100"/>
                <a:gd name="connsiteY2" fmla="*/ 5812 h 47625"/>
                <a:gd name="connsiteX3" fmla="*/ 27947 w 38100"/>
                <a:gd name="connsiteY3" fmla="*/ 9498 h 47625"/>
                <a:gd name="connsiteX4" fmla="*/ 27947 w 38100"/>
                <a:gd name="connsiteY4" fmla="*/ 16880 h 47625"/>
                <a:gd name="connsiteX5" fmla="*/ 27947 w 38100"/>
                <a:gd name="connsiteY5" fmla="*/ 20575 h 47625"/>
                <a:gd name="connsiteX6" fmla="*/ 27947 w 38100"/>
                <a:gd name="connsiteY6" fmla="*/ 20575 h 47625"/>
                <a:gd name="connsiteX7" fmla="*/ 31636 w 38100"/>
                <a:gd name="connsiteY7" fmla="*/ 24261 h 47625"/>
                <a:gd name="connsiteX8" fmla="*/ 35325 w 38100"/>
                <a:gd name="connsiteY8" fmla="*/ 20575 h 47625"/>
                <a:gd name="connsiteX9" fmla="*/ 31636 w 38100"/>
                <a:gd name="connsiteY9" fmla="*/ 16880 h 47625"/>
                <a:gd name="connsiteX10" fmla="*/ 31636 w 38100"/>
                <a:gd name="connsiteY10" fmla="*/ 16880 h 47625"/>
                <a:gd name="connsiteX11" fmla="*/ 35325 w 38100"/>
                <a:gd name="connsiteY11" fmla="*/ 20575 h 47625"/>
                <a:gd name="connsiteX12" fmla="*/ 31636 w 38100"/>
                <a:gd name="connsiteY12" fmla="*/ 24261 h 47625"/>
                <a:gd name="connsiteX13" fmla="*/ 31636 w 38100"/>
                <a:gd name="connsiteY13" fmla="*/ 24261 h 47625"/>
                <a:gd name="connsiteX14" fmla="*/ 24257 w 38100"/>
                <a:gd name="connsiteY14" fmla="*/ 20575 h 47625"/>
                <a:gd name="connsiteX15" fmla="*/ 24257 w 38100"/>
                <a:gd name="connsiteY15" fmla="*/ 24261 h 47625"/>
                <a:gd name="connsiteX16" fmla="*/ 24257 w 38100"/>
                <a:gd name="connsiteY16" fmla="*/ 27957 h 47625"/>
                <a:gd name="connsiteX17" fmla="*/ 24257 w 38100"/>
                <a:gd name="connsiteY17" fmla="*/ 27957 h 47625"/>
                <a:gd name="connsiteX18" fmla="*/ 24257 w 38100"/>
                <a:gd name="connsiteY18" fmla="*/ 27957 h 47625"/>
                <a:gd name="connsiteX19" fmla="*/ 20568 w 38100"/>
                <a:gd name="connsiteY19" fmla="*/ 24261 h 47625"/>
                <a:gd name="connsiteX20" fmla="*/ 20568 w 38100"/>
                <a:gd name="connsiteY20" fmla="*/ 24261 h 47625"/>
                <a:gd name="connsiteX21" fmla="*/ 20568 w 38100"/>
                <a:gd name="connsiteY21" fmla="*/ 24261 h 47625"/>
                <a:gd name="connsiteX22" fmla="*/ 16879 w 38100"/>
                <a:gd name="connsiteY22" fmla="*/ 27957 h 47625"/>
                <a:gd name="connsiteX23" fmla="*/ 16879 w 38100"/>
                <a:gd name="connsiteY23" fmla="*/ 27957 h 47625"/>
                <a:gd name="connsiteX24" fmla="*/ 20568 w 38100"/>
                <a:gd name="connsiteY24" fmla="*/ 27957 h 47625"/>
                <a:gd name="connsiteX25" fmla="*/ 20568 w 38100"/>
                <a:gd name="connsiteY25" fmla="*/ 31643 h 47625"/>
                <a:gd name="connsiteX26" fmla="*/ 16879 w 38100"/>
                <a:gd name="connsiteY26" fmla="*/ 31643 h 47625"/>
                <a:gd name="connsiteX27" fmla="*/ 16879 w 38100"/>
                <a:gd name="connsiteY27" fmla="*/ 27957 h 47625"/>
                <a:gd name="connsiteX28" fmla="*/ 13190 w 38100"/>
                <a:gd name="connsiteY28" fmla="*/ 31643 h 47625"/>
                <a:gd name="connsiteX29" fmla="*/ 13190 w 38100"/>
                <a:gd name="connsiteY29" fmla="*/ 31643 h 47625"/>
                <a:gd name="connsiteX30" fmla="*/ 13190 w 38100"/>
                <a:gd name="connsiteY30" fmla="*/ 35339 h 47625"/>
                <a:gd name="connsiteX31" fmla="*/ 13190 w 38100"/>
                <a:gd name="connsiteY31" fmla="*/ 42711 h 47625"/>
                <a:gd name="connsiteX32" fmla="*/ 9501 w 38100"/>
                <a:gd name="connsiteY32" fmla="*/ 42711 h 47625"/>
                <a:gd name="connsiteX33" fmla="*/ 9501 w 38100"/>
                <a:gd name="connsiteY33" fmla="*/ 42711 h 47625"/>
                <a:gd name="connsiteX34" fmla="*/ 13190 w 38100"/>
                <a:gd name="connsiteY34" fmla="*/ 35339 h 47625"/>
                <a:gd name="connsiteX35" fmla="*/ 13190 w 38100"/>
                <a:gd name="connsiteY35" fmla="*/ 31643 h 47625"/>
                <a:gd name="connsiteX36" fmla="*/ 9501 w 38100"/>
                <a:gd name="connsiteY36" fmla="*/ 27957 h 47625"/>
                <a:gd name="connsiteX37" fmla="*/ 9501 w 38100"/>
                <a:gd name="connsiteY37" fmla="*/ 27957 h 47625"/>
                <a:gd name="connsiteX38" fmla="*/ 5812 w 38100"/>
                <a:gd name="connsiteY38" fmla="*/ 27957 h 47625"/>
                <a:gd name="connsiteX39" fmla="*/ 5812 w 38100"/>
                <a:gd name="connsiteY39" fmla="*/ 27957 h 47625"/>
                <a:gd name="connsiteX40" fmla="*/ 5812 w 38100"/>
                <a:gd name="connsiteY40" fmla="*/ 27957 h 47625"/>
                <a:gd name="connsiteX41" fmla="*/ 5812 w 38100"/>
                <a:gd name="connsiteY41" fmla="*/ 27957 h 47625"/>
                <a:gd name="connsiteX42" fmla="*/ 9501 w 38100"/>
                <a:gd name="connsiteY42" fmla="*/ 27957 h 47625"/>
                <a:gd name="connsiteX43" fmla="*/ 13190 w 38100"/>
                <a:gd name="connsiteY43" fmla="*/ 20575 h 47625"/>
                <a:gd name="connsiteX44" fmla="*/ 20568 w 38100"/>
                <a:gd name="connsiteY44" fmla="*/ 16880 h 47625"/>
                <a:gd name="connsiteX45" fmla="*/ 20568 w 38100"/>
                <a:gd name="connsiteY45" fmla="*/ 13194 h 47625"/>
                <a:gd name="connsiteX46" fmla="*/ 20568 w 38100"/>
                <a:gd name="connsiteY46" fmla="*/ 13194 h 47625"/>
                <a:gd name="connsiteX47" fmla="*/ 20568 w 38100"/>
                <a:gd name="connsiteY47" fmla="*/ 9498 h 47625"/>
                <a:gd name="connsiteX48" fmla="*/ 20568 w 38100"/>
                <a:gd name="connsiteY48" fmla="*/ 9498 h 47625"/>
                <a:gd name="connsiteX49" fmla="*/ 20568 w 38100"/>
                <a:gd name="connsiteY49" fmla="*/ 9498 h 47625"/>
                <a:gd name="connsiteX50" fmla="*/ 20568 w 38100"/>
                <a:gd name="connsiteY50" fmla="*/ 13194 h 47625"/>
                <a:gd name="connsiteX51" fmla="*/ 20568 w 38100"/>
                <a:gd name="connsiteY51" fmla="*/ 13194 h 47625"/>
                <a:gd name="connsiteX52" fmla="*/ 20568 w 38100"/>
                <a:gd name="connsiteY52" fmla="*/ 13194 h 47625"/>
                <a:gd name="connsiteX53" fmla="*/ 24257 w 38100"/>
                <a:gd name="connsiteY53" fmla="*/ 13194 h 47625"/>
                <a:gd name="connsiteX54" fmla="*/ 24257 w 38100"/>
                <a:gd name="connsiteY54" fmla="*/ 13194 h 47625"/>
                <a:gd name="connsiteX55" fmla="*/ 24257 w 38100"/>
                <a:gd name="connsiteY55" fmla="*/ 13194 h 47625"/>
                <a:gd name="connsiteX56" fmla="*/ 24257 w 38100"/>
                <a:gd name="connsiteY56" fmla="*/ 13194 h 47625"/>
                <a:gd name="connsiteX57" fmla="*/ 27947 w 38100"/>
                <a:gd name="connsiteY57" fmla="*/ 13194 h 47625"/>
                <a:gd name="connsiteX58" fmla="*/ 27947 w 38100"/>
                <a:gd name="connsiteY58" fmla="*/ 9498 h 47625"/>
                <a:gd name="connsiteX59" fmla="*/ 31636 w 38100"/>
                <a:gd name="connsiteY59" fmla="*/ 5812 h 47625"/>
                <a:gd name="connsiteX60" fmla="*/ 31636 w 38100"/>
                <a:gd name="connsiteY60" fmla="*/ 581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100" h="47625">
                  <a:moveTo>
                    <a:pt x="31636" y="5812"/>
                  </a:moveTo>
                  <a:lnTo>
                    <a:pt x="31636" y="5812"/>
                  </a:lnTo>
                  <a:lnTo>
                    <a:pt x="31636" y="5812"/>
                  </a:lnTo>
                  <a:lnTo>
                    <a:pt x="27947" y="9498"/>
                  </a:lnTo>
                  <a:lnTo>
                    <a:pt x="27947" y="16880"/>
                  </a:lnTo>
                  <a:lnTo>
                    <a:pt x="27947" y="20575"/>
                  </a:lnTo>
                  <a:lnTo>
                    <a:pt x="27947" y="20575"/>
                  </a:lnTo>
                  <a:lnTo>
                    <a:pt x="31636" y="24261"/>
                  </a:lnTo>
                  <a:lnTo>
                    <a:pt x="35325" y="20575"/>
                  </a:lnTo>
                  <a:lnTo>
                    <a:pt x="31636" y="16880"/>
                  </a:lnTo>
                  <a:lnTo>
                    <a:pt x="31636" y="16880"/>
                  </a:lnTo>
                  <a:lnTo>
                    <a:pt x="35325" y="20575"/>
                  </a:lnTo>
                  <a:lnTo>
                    <a:pt x="31636" y="24261"/>
                  </a:lnTo>
                  <a:lnTo>
                    <a:pt x="31636" y="24261"/>
                  </a:lnTo>
                  <a:lnTo>
                    <a:pt x="24257" y="20575"/>
                  </a:lnTo>
                  <a:lnTo>
                    <a:pt x="24257" y="24261"/>
                  </a:lnTo>
                  <a:lnTo>
                    <a:pt x="24257" y="27957"/>
                  </a:lnTo>
                  <a:lnTo>
                    <a:pt x="24257" y="27957"/>
                  </a:lnTo>
                  <a:lnTo>
                    <a:pt x="24257" y="27957"/>
                  </a:lnTo>
                  <a:lnTo>
                    <a:pt x="20568" y="24261"/>
                  </a:lnTo>
                  <a:lnTo>
                    <a:pt x="20568" y="24261"/>
                  </a:lnTo>
                  <a:lnTo>
                    <a:pt x="20568" y="24261"/>
                  </a:lnTo>
                  <a:lnTo>
                    <a:pt x="16879" y="27957"/>
                  </a:lnTo>
                  <a:lnTo>
                    <a:pt x="16879" y="27957"/>
                  </a:lnTo>
                  <a:lnTo>
                    <a:pt x="20568" y="27957"/>
                  </a:lnTo>
                  <a:lnTo>
                    <a:pt x="20568" y="31643"/>
                  </a:lnTo>
                  <a:lnTo>
                    <a:pt x="16879" y="31643"/>
                  </a:lnTo>
                  <a:lnTo>
                    <a:pt x="16879" y="27957"/>
                  </a:lnTo>
                  <a:lnTo>
                    <a:pt x="13190" y="31643"/>
                  </a:lnTo>
                  <a:lnTo>
                    <a:pt x="13190" y="31643"/>
                  </a:lnTo>
                  <a:lnTo>
                    <a:pt x="13190" y="35339"/>
                  </a:lnTo>
                  <a:lnTo>
                    <a:pt x="13190" y="42711"/>
                  </a:lnTo>
                  <a:lnTo>
                    <a:pt x="9501" y="42711"/>
                  </a:lnTo>
                  <a:lnTo>
                    <a:pt x="9501" y="42711"/>
                  </a:lnTo>
                  <a:lnTo>
                    <a:pt x="13190" y="35339"/>
                  </a:lnTo>
                  <a:lnTo>
                    <a:pt x="13190" y="31643"/>
                  </a:lnTo>
                  <a:lnTo>
                    <a:pt x="9501" y="27957"/>
                  </a:lnTo>
                  <a:lnTo>
                    <a:pt x="9501" y="27957"/>
                  </a:lnTo>
                  <a:lnTo>
                    <a:pt x="5812" y="27957"/>
                  </a:lnTo>
                  <a:lnTo>
                    <a:pt x="5812" y="27957"/>
                  </a:lnTo>
                  <a:lnTo>
                    <a:pt x="5812" y="27957"/>
                  </a:lnTo>
                  <a:lnTo>
                    <a:pt x="5812" y="27957"/>
                  </a:lnTo>
                  <a:lnTo>
                    <a:pt x="9501" y="27957"/>
                  </a:lnTo>
                  <a:lnTo>
                    <a:pt x="13190" y="20575"/>
                  </a:lnTo>
                  <a:lnTo>
                    <a:pt x="20568" y="16880"/>
                  </a:lnTo>
                  <a:lnTo>
                    <a:pt x="20568" y="13194"/>
                  </a:lnTo>
                  <a:lnTo>
                    <a:pt x="20568" y="13194"/>
                  </a:lnTo>
                  <a:lnTo>
                    <a:pt x="20568" y="9498"/>
                  </a:lnTo>
                  <a:lnTo>
                    <a:pt x="20568" y="9498"/>
                  </a:lnTo>
                  <a:lnTo>
                    <a:pt x="20568" y="9498"/>
                  </a:lnTo>
                  <a:lnTo>
                    <a:pt x="20568" y="13194"/>
                  </a:lnTo>
                  <a:lnTo>
                    <a:pt x="20568" y="13194"/>
                  </a:lnTo>
                  <a:lnTo>
                    <a:pt x="20568" y="13194"/>
                  </a:lnTo>
                  <a:lnTo>
                    <a:pt x="24257" y="13194"/>
                  </a:lnTo>
                  <a:lnTo>
                    <a:pt x="24257" y="13194"/>
                  </a:lnTo>
                  <a:lnTo>
                    <a:pt x="24257" y="13194"/>
                  </a:lnTo>
                  <a:lnTo>
                    <a:pt x="24257" y="13194"/>
                  </a:lnTo>
                  <a:lnTo>
                    <a:pt x="27947" y="13194"/>
                  </a:lnTo>
                  <a:lnTo>
                    <a:pt x="27947" y="9498"/>
                  </a:lnTo>
                  <a:lnTo>
                    <a:pt x="31636" y="5812"/>
                  </a:lnTo>
                  <a:lnTo>
                    <a:pt x="31636" y="5812"/>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60" name="Freeform: Shape 259">
              <a:extLst>
                <a:ext uri="{FF2B5EF4-FFF2-40B4-BE49-F238E27FC236}">
                  <a16:creationId xmlns:a16="http://schemas.microsoft.com/office/drawing/2014/main" id="{C7B24D82-F252-4D3D-9170-E034C2DD9995}"/>
                </a:ext>
              </a:extLst>
            </p:cNvPr>
            <p:cNvSpPr/>
            <p:nvPr/>
          </p:nvSpPr>
          <p:spPr>
            <a:xfrm>
              <a:off x="4507515" y="5093659"/>
              <a:ext cx="30745" cy="46118"/>
            </a:xfrm>
            <a:custGeom>
              <a:avLst/>
              <a:gdLst>
                <a:gd name="connsiteX0" fmla="*/ 20568 w 19050"/>
                <a:gd name="connsiteY0" fmla="*/ 24261 h 28575"/>
                <a:gd name="connsiteX1" fmla="*/ 9501 w 19050"/>
                <a:gd name="connsiteY1" fmla="*/ 16880 h 28575"/>
                <a:gd name="connsiteX2" fmla="*/ 5812 w 19050"/>
                <a:gd name="connsiteY2" fmla="*/ 13193 h 28575"/>
                <a:gd name="connsiteX3" fmla="*/ 5812 w 19050"/>
                <a:gd name="connsiteY3" fmla="*/ 13193 h 28575"/>
                <a:gd name="connsiteX4" fmla="*/ 9501 w 19050"/>
                <a:gd name="connsiteY4" fmla="*/ 5812 h 28575"/>
                <a:gd name="connsiteX5" fmla="*/ 13190 w 19050"/>
                <a:gd name="connsiteY5" fmla="*/ 9498 h 28575"/>
                <a:gd name="connsiteX6" fmla="*/ 20568 w 19050"/>
                <a:gd name="connsiteY6" fmla="*/ 13193 h 28575"/>
                <a:gd name="connsiteX7" fmla="*/ 16879 w 19050"/>
                <a:gd name="connsiteY7" fmla="*/ 16880 h 28575"/>
                <a:gd name="connsiteX8" fmla="*/ 16879 w 19050"/>
                <a:gd name="connsiteY8" fmla="*/ 20575 h 28575"/>
                <a:gd name="connsiteX9" fmla="*/ 20568 w 19050"/>
                <a:gd name="connsiteY9" fmla="*/ 24261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28575">
                  <a:moveTo>
                    <a:pt x="20568" y="24261"/>
                  </a:moveTo>
                  <a:lnTo>
                    <a:pt x="9501" y="16880"/>
                  </a:lnTo>
                  <a:lnTo>
                    <a:pt x="5812" y="13193"/>
                  </a:lnTo>
                  <a:lnTo>
                    <a:pt x="5812" y="13193"/>
                  </a:lnTo>
                  <a:lnTo>
                    <a:pt x="9501" y="5812"/>
                  </a:lnTo>
                  <a:lnTo>
                    <a:pt x="13190" y="9498"/>
                  </a:lnTo>
                  <a:lnTo>
                    <a:pt x="20568" y="13193"/>
                  </a:lnTo>
                  <a:lnTo>
                    <a:pt x="16879" y="16880"/>
                  </a:lnTo>
                  <a:lnTo>
                    <a:pt x="16879" y="20575"/>
                  </a:lnTo>
                  <a:lnTo>
                    <a:pt x="20568" y="24261"/>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61" name="Freeform: Shape 260">
              <a:extLst>
                <a:ext uri="{FF2B5EF4-FFF2-40B4-BE49-F238E27FC236}">
                  <a16:creationId xmlns:a16="http://schemas.microsoft.com/office/drawing/2014/main" id="{A6C72AEF-BEE3-4C2D-BF75-66431BAFDDDE}"/>
                </a:ext>
              </a:extLst>
            </p:cNvPr>
            <p:cNvSpPr/>
            <p:nvPr/>
          </p:nvSpPr>
          <p:spPr>
            <a:xfrm>
              <a:off x="4519423" y="5087694"/>
              <a:ext cx="30745" cy="15373"/>
            </a:xfrm>
            <a:custGeom>
              <a:avLst/>
              <a:gdLst>
                <a:gd name="connsiteX0" fmla="*/ 16879 w 19050"/>
                <a:gd name="connsiteY0" fmla="*/ 13193 h 9525"/>
                <a:gd name="connsiteX1" fmla="*/ 13190 w 19050"/>
                <a:gd name="connsiteY1" fmla="*/ 13193 h 9525"/>
                <a:gd name="connsiteX2" fmla="*/ 5812 w 19050"/>
                <a:gd name="connsiteY2" fmla="*/ 9507 h 9525"/>
                <a:gd name="connsiteX3" fmla="*/ 5812 w 19050"/>
                <a:gd name="connsiteY3" fmla="*/ 9507 h 9525"/>
                <a:gd name="connsiteX4" fmla="*/ 13190 w 19050"/>
                <a:gd name="connsiteY4" fmla="*/ 5812 h 9525"/>
                <a:gd name="connsiteX5" fmla="*/ 16879 w 19050"/>
                <a:gd name="connsiteY5" fmla="*/ 5812 h 9525"/>
                <a:gd name="connsiteX6" fmla="*/ 16879 w 19050"/>
                <a:gd name="connsiteY6" fmla="*/ 5812 h 9525"/>
                <a:gd name="connsiteX7" fmla="*/ 16879 w 19050"/>
                <a:gd name="connsiteY7" fmla="*/ 13193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 h="9525">
                  <a:moveTo>
                    <a:pt x="16879" y="13193"/>
                  </a:moveTo>
                  <a:lnTo>
                    <a:pt x="13190" y="13193"/>
                  </a:lnTo>
                  <a:lnTo>
                    <a:pt x="5812" y="9507"/>
                  </a:lnTo>
                  <a:lnTo>
                    <a:pt x="5812" y="9507"/>
                  </a:lnTo>
                  <a:lnTo>
                    <a:pt x="13190" y="5812"/>
                  </a:lnTo>
                  <a:lnTo>
                    <a:pt x="16879" y="5812"/>
                  </a:lnTo>
                  <a:lnTo>
                    <a:pt x="16879" y="5812"/>
                  </a:lnTo>
                  <a:lnTo>
                    <a:pt x="16879" y="13193"/>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62" name="Freeform: Shape 261">
              <a:extLst>
                <a:ext uri="{FF2B5EF4-FFF2-40B4-BE49-F238E27FC236}">
                  <a16:creationId xmlns:a16="http://schemas.microsoft.com/office/drawing/2014/main" id="{430E0AC5-3B1F-47DA-947E-1860A3A42ECF}"/>
                </a:ext>
              </a:extLst>
            </p:cNvPr>
            <p:cNvSpPr/>
            <p:nvPr/>
          </p:nvSpPr>
          <p:spPr>
            <a:xfrm>
              <a:off x="4704001" y="4736276"/>
              <a:ext cx="30745" cy="15373"/>
            </a:xfrm>
            <a:custGeom>
              <a:avLst/>
              <a:gdLst>
                <a:gd name="connsiteX0" fmla="*/ 5812 w 19050"/>
                <a:gd name="connsiteY0" fmla="*/ 9507 h 9525"/>
                <a:gd name="connsiteX1" fmla="*/ 5812 w 19050"/>
                <a:gd name="connsiteY1" fmla="*/ 9507 h 9525"/>
                <a:gd name="connsiteX2" fmla="*/ 5812 w 19050"/>
                <a:gd name="connsiteY2" fmla="*/ 9507 h 9525"/>
                <a:gd name="connsiteX3" fmla="*/ 5812 w 19050"/>
                <a:gd name="connsiteY3" fmla="*/ 5812 h 9525"/>
                <a:gd name="connsiteX4" fmla="*/ 9501 w 19050"/>
                <a:gd name="connsiteY4" fmla="*/ 5812 h 9525"/>
                <a:gd name="connsiteX5" fmla="*/ 16879 w 19050"/>
                <a:gd name="connsiteY5" fmla="*/ 9507 h 9525"/>
                <a:gd name="connsiteX6" fmla="*/ 13190 w 19050"/>
                <a:gd name="connsiteY6" fmla="*/ 9507 h 9525"/>
                <a:gd name="connsiteX7" fmla="*/ 5812 w 19050"/>
                <a:gd name="connsiteY7" fmla="*/ 9507 h 9525"/>
                <a:gd name="connsiteX8" fmla="*/ 5812 w 19050"/>
                <a:gd name="connsiteY8" fmla="*/ 9507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 h="9525">
                  <a:moveTo>
                    <a:pt x="5812" y="9507"/>
                  </a:moveTo>
                  <a:lnTo>
                    <a:pt x="5812" y="9507"/>
                  </a:lnTo>
                  <a:lnTo>
                    <a:pt x="5812" y="9507"/>
                  </a:lnTo>
                  <a:lnTo>
                    <a:pt x="5812" y="5812"/>
                  </a:lnTo>
                  <a:lnTo>
                    <a:pt x="9501" y="5812"/>
                  </a:lnTo>
                  <a:lnTo>
                    <a:pt x="16879" y="9507"/>
                  </a:lnTo>
                  <a:lnTo>
                    <a:pt x="13190" y="9507"/>
                  </a:lnTo>
                  <a:lnTo>
                    <a:pt x="5812" y="9507"/>
                  </a:lnTo>
                  <a:lnTo>
                    <a:pt x="5812" y="9507"/>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63" name="Freeform: Shape 262">
              <a:extLst>
                <a:ext uri="{FF2B5EF4-FFF2-40B4-BE49-F238E27FC236}">
                  <a16:creationId xmlns:a16="http://schemas.microsoft.com/office/drawing/2014/main" id="{9A043D84-4591-4C21-8D33-E20AF485DF9E}"/>
                </a:ext>
              </a:extLst>
            </p:cNvPr>
            <p:cNvSpPr/>
            <p:nvPr/>
          </p:nvSpPr>
          <p:spPr>
            <a:xfrm>
              <a:off x="4882622" y="4843485"/>
              <a:ext cx="46118" cy="46118"/>
            </a:xfrm>
            <a:custGeom>
              <a:avLst/>
              <a:gdLst>
                <a:gd name="connsiteX0" fmla="*/ 31636 w 28575"/>
                <a:gd name="connsiteY0" fmla="*/ 24271 h 28575"/>
                <a:gd name="connsiteX1" fmla="*/ 31636 w 28575"/>
                <a:gd name="connsiteY1" fmla="*/ 20575 h 28575"/>
                <a:gd name="connsiteX2" fmla="*/ 27947 w 28575"/>
                <a:gd name="connsiteY2" fmla="*/ 16889 h 28575"/>
                <a:gd name="connsiteX3" fmla="*/ 24257 w 28575"/>
                <a:gd name="connsiteY3" fmla="*/ 13194 h 28575"/>
                <a:gd name="connsiteX4" fmla="*/ 24257 w 28575"/>
                <a:gd name="connsiteY4" fmla="*/ 16889 h 28575"/>
                <a:gd name="connsiteX5" fmla="*/ 20568 w 28575"/>
                <a:gd name="connsiteY5" fmla="*/ 16889 h 28575"/>
                <a:gd name="connsiteX6" fmla="*/ 13190 w 28575"/>
                <a:gd name="connsiteY6" fmla="*/ 9507 h 28575"/>
                <a:gd name="connsiteX7" fmla="*/ 16879 w 28575"/>
                <a:gd name="connsiteY7" fmla="*/ 5812 h 28575"/>
                <a:gd name="connsiteX8" fmla="*/ 16879 w 28575"/>
                <a:gd name="connsiteY8" fmla="*/ 5812 h 28575"/>
                <a:gd name="connsiteX9" fmla="*/ 13190 w 28575"/>
                <a:gd name="connsiteY9" fmla="*/ 5812 h 28575"/>
                <a:gd name="connsiteX10" fmla="*/ 13190 w 28575"/>
                <a:gd name="connsiteY10" fmla="*/ 9507 h 28575"/>
                <a:gd name="connsiteX11" fmla="*/ 5812 w 28575"/>
                <a:gd name="connsiteY11" fmla="*/ 9507 h 28575"/>
                <a:gd name="connsiteX12" fmla="*/ 5812 w 28575"/>
                <a:gd name="connsiteY12" fmla="*/ 5812 h 28575"/>
                <a:gd name="connsiteX13" fmla="*/ 13190 w 28575"/>
                <a:gd name="connsiteY13" fmla="*/ 5812 h 28575"/>
                <a:gd name="connsiteX14" fmla="*/ 13190 w 28575"/>
                <a:gd name="connsiteY14" fmla="*/ 5812 h 28575"/>
                <a:gd name="connsiteX15" fmla="*/ 24257 w 28575"/>
                <a:gd name="connsiteY15" fmla="*/ 5812 h 28575"/>
                <a:gd name="connsiteX16" fmla="*/ 27947 w 28575"/>
                <a:gd name="connsiteY16" fmla="*/ 5812 h 28575"/>
                <a:gd name="connsiteX17" fmla="*/ 27947 w 28575"/>
                <a:gd name="connsiteY17" fmla="*/ 5812 h 28575"/>
                <a:gd name="connsiteX18" fmla="*/ 24257 w 28575"/>
                <a:gd name="connsiteY18" fmla="*/ 5812 h 28575"/>
                <a:gd name="connsiteX19" fmla="*/ 24257 w 28575"/>
                <a:gd name="connsiteY19" fmla="*/ 5812 h 28575"/>
                <a:gd name="connsiteX20" fmla="*/ 20568 w 28575"/>
                <a:gd name="connsiteY20" fmla="*/ 5812 h 28575"/>
                <a:gd name="connsiteX21" fmla="*/ 20568 w 28575"/>
                <a:gd name="connsiteY21" fmla="*/ 5812 h 28575"/>
                <a:gd name="connsiteX22" fmla="*/ 20568 w 28575"/>
                <a:gd name="connsiteY22" fmla="*/ 9507 h 28575"/>
                <a:gd name="connsiteX23" fmla="*/ 20568 w 28575"/>
                <a:gd name="connsiteY23" fmla="*/ 9507 h 28575"/>
                <a:gd name="connsiteX24" fmla="*/ 27947 w 28575"/>
                <a:gd name="connsiteY24" fmla="*/ 9507 h 28575"/>
                <a:gd name="connsiteX25" fmla="*/ 27947 w 28575"/>
                <a:gd name="connsiteY25" fmla="*/ 13194 h 28575"/>
                <a:gd name="connsiteX26" fmla="*/ 31636 w 28575"/>
                <a:gd name="connsiteY26" fmla="*/ 16889 h 28575"/>
                <a:gd name="connsiteX27" fmla="*/ 31636 w 28575"/>
                <a:gd name="connsiteY27" fmla="*/ 20575 h 28575"/>
                <a:gd name="connsiteX28" fmla="*/ 31636 w 28575"/>
                <a:gd name="connsiteY28" fmla="*/ 24271 h 28575"/>
                <a:gd name="connsiteX29" fmla="*/ 31636 w 28575"/>
                <a:gd name="connsiteY29" fmla="*/ 24271 h 28575"/>
                <a:gd name="connsiteX30" fmla="*/ 31636 w 28575"/>
                <a:gd name="connsiteY30" fmla="*/ 24271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8575" h="28575">
                  <a:moveTo>
                    <a:pt x="31636" y="24271"/>
                  </a:moveTo>
                  <a:lnTo>
                    <a:pt x="31636" y="20575"/>
                  </a:lnTo>
                  <a:lnTo>
                    <a:pt x="27947" y="16889"/>
                  </a:lnTo>
                  <a:lnTo>
                    <a:pt x="24257" y="13194"/>
                  </a:lnTo>
                  <a:lnTo>
                    <a:pt x="24257" y="16889"/>
                  </a:lnTo>
                  <a:lnTo>
                    <a:pt x="20568" y="16889"/>
                  </a:lnTo>
                  <a:lnTo>
                    <a:pt x="13190" y="9507"/>
                  </a:lnTo>
                  <a:lnTo>
                    <a:pt x="16879" y="5812"/>
                  </a:lnTo>
                  <a:lnTo>
                    <a:pt x="16879" y="5812"/>
                  </a:lnTo>
                  <a:lnTo>
                    <a:pt x="13190" y="5812"/>
                  </a:lnTo>
                  <a:lnTo>
                    <a:pt x="13190" y="9507"/>
                  </a:lnTo>
                  <a:lnTo>
                    <a:pt x="5812" y="9507"/>
                  </a:lnTo>
                  <a:lnTo>
                    <a:pt x="5812" y="5812"/>
                  </a:lnTo>
                  <a:lnTo>
                    <a:pt x="13190" y="5812"/>
                  </a:lnTo>
                  <a:lnTo>
                    <a:pt x="13190" y="5812"/>
                  </a:lnTo>
                  <a:lnTo>
                    <a:pt x="24257" y="5812"/>
                  </a:lnTo>
                  <a:lnTo>
                    <a:pt x="27947" y="5812"/>
                  </a:lnTo>
                  <a:lnTo>
                    <a:pt x="27947" y="5812"/>
                  </a:lnTo>
                  <a:lnTo>
                    <a:pt x="24257" y="5812"/>
                  </a:lnTo>
                  <a:lnTo>
                    <a:pt x="24257" y="5812"/>
                  </a:lnTo>
                  <a:lnTo>
                    <a:pt x="20568" y="5812"/>
                  </a:lnTo>
                  <a:lnTo>
                    <a:pt x="20568" y="5812"/>
                  </a:lnTo>
                  <a:lnTo>
                    <a:pt x="20568" y="9507"/>
                  </a:lnTo>
                  <a:lnTo>
                    <a:pt x="20568" y="9507"/>
                  </a:lnTo>
                  <a:lnTo>
                    <a:pt x="27947" y="9507"/>
                  </a:lnTo>
                  <a:lnTo>
                    <a:pt x="27947" y="13194"/>
                  </a:lnTo>
                  <a:lnTo>
                    <a:pt x="31636" y="16889"/>
                  </a:lnTo>
                  <a:lnTo>
                    <a:pt x="31636" y="20575"/>
                  </a:lnTo>
                  <a:lnTo>
                    <a:pt x="31636" y="24271"/>
                  </a:lnTo>
                  <a:lnTo>
                    <a:pt x="31636" y="24271"/>
                  </a:lnTo>
                  <a:lnTo>
                    <a:pt x="31636" y="24271"/>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64" name="Freeform: Shape 263">
              <a:extLst>
                <a:ext uri="{FF2B5EF4-FFF2-40B4-BE49-F238E27FC236}">
                  <a16:creationId xmlns:a16="http://schemas.microsoft.com/office/drawing/2014/main" id="{7DDC2B36-7CC1-4E6F-8B19-848E97E696A0}"/>
                </a:ext>
              </a:extLst>
            </p:cNvPr>
            <p:cNvSpPr/>
            <p:nvPr/>
          </p:nvSpPr>
          <p:spPr>
            <a:xfrm>
              <a:off x="4656368" y="4986434"/>
              <a:ext cx="15373" cy="15373"/>
            </a:xfrm>
            <a:custGeom>
              <a:avLst/>
              <a:gdLst>
                <a:gd name="connsiteX0" fmla="*/ 9501 w 9525"/>
                <a:gd name="connsiteY0" fmla="*/ 9507 h 9525"/>
                <a:gd name="connsiteX1" fmla="*/ 9501 w 9525"/>
                <a:gd name="connsiteY1" fmla="*/ 5812 h 9525"/>
                <a:gd name="connsiteX2" fmla="*/ 5812 w 9525"/>
                <a:gd name="connsiteY2" fmla="*/ 5812 h 9525"/>
                <a:gd name="connsiteX3" fmla="*/ 9501 w 9525"/>
                <a:gd name="connsiteY3" fmla="*/ 5812 h 9525"/>
                <a:gd name="connsiteX4" fmla="*/ 9501 w 9525"/>
                <a:gd name="connsiteY4" fmla="*/ 5812 h 9525"/>
                <a:gd name="connsiteX5" fmla="*/ 9501 w 9525"/>
                <a:gd name="connsiteY5" fmla="*/ 9507 h 9525"/>
                <a:gd name="connsiteX6" fmla="*/ 9501 w 9525"/>
                <a:gd name="connsiteY6" fmla="*/ 9507 h 9525"/>
                <a:gd name="connsiteX7" fmla="*/ 9501 w 9525"/>
                <a:gd name="connsiteY7" fmla="*/ 9507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 h="9525">
                  <a:moveTo>
                    <a:pt x="9501" y="9507"/>
                  </a:moveTo>
                  <a:lnTo>
                    <a:pt x="9501" y="5812"/>
                  </a:lnTo>
                  <a:lnTo>
                    <a:pt x="5812" y="5812"/>
                  </a:lnTo>
                  <a:lnTo>
                    <a:pt x="9501" y="5812"/>
                  </a:lnTo>
                  <a:lnTo>
                    <a:pt x="9501" y="5812"/>
                  </a:lnTo>
                  <a:lnTo>
                    <a:pt x="9501" y="9507"/>
                  </a:lnTo>
                  <a:lnTo>
                    <a:pt x="9501" y="9507"/>
                  </a:lnTo>
                  <a:lnTo>
                    <a:pt x="9501" y="9507"/>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65" name="Freeform: Shape 264">
              <a:extLst>
                <a:ext uri="{FF2B5EF4-FFF2-40B4-BE49-F238E27FC236}">
                  <a16:creationId xmlns:a16="http://schemas.microsoft.com/office/drawing/2014/main" id="{93781542-EEB2-4F1B-B365-F266BFAA23A0}"/>
                </a:ext>
              </a:extLst>
            </p:cNvPr>
            <p:cNvSpPr/>
            <p:nvPr/>
          </p:nvSpPr>
          <p:spPr>
            <a:xfrm>
              <a:off x="4477747" y="4909004"/>
              <a:ext cx="215217" cy="107609"/>
            </a:xfrm>
            <a:custGeom>
              <a:avLst/>
              <a:gdLst>
                <a:gd name="connsiteX0" fmla="*/ 109108 w 133350"/>
                <a:gd name="connsiteY0" fmla="*/ 5812 h 66675"/>
                <a:gd name="connsiteX1" fmla="*/ 109108 w 133350"/>
                <a:gd name="connsiteY1" fmla="*/ 5812 h 66675"/>
                <a:gd name="connsiteX2" fmla="*/ 112797 w 133350"/>
                <a:gd name="connsiteY2" fmla="*/ 5812 h 66675"/>
                <a:gd name="connsiteX3" fmla="*/ 112797 w 133350"/>
                <a:gd name="connsiteY3" fmla="*/ 5812 h 66675"/>
                <a:gd name="connsiteX4" fmla="*/ 112797 w 133350"/>
                <a:gd name="connsiteY4" fmla="*/ 9507 h 66675"/>
                <a:gd name="connsiteX5" fmla="*/ 116487 w 133350"/>
                <a:gd name="connsiteY5" fmla="*/ 9507 h 66675"/>
                <a:gd name="connsiteX6" fmla="*/ 120176 w 133350"/>
                <a:gd name="connsiteY6" fmla="*/ 9507 h 66675"/>
                <a:gd name="connsiteX7" fmla="*/ 123865 w 133350"/>
                <a:gd name="connsiteY7" fmla="*/ 13193 h 66675"/>
                <a:gd name="connsiteX8" fmla="*/ 123865 w 133350"/>
                <a:gd name="connsiteY8" fmla="*/ 16889 h 66675"/>
                <a:gd name="connsiteX9" fmla="*/ 127554 w 133350"/>
                <a:gd name="connsiteY9" fmla="*/ 24271 h 66675"/>
                <a:gd name="connsiteX10" fmla="*/ 131243 w 133350"/>
                <a:gd name="connsiteY10" fmla="*/ 27957 h 66675"/>
                <a:gd name="connsiteX11" fmla="*/ 131243 w 133350"/>
                <a:gd name="connsiteY11" fmla="*/ 31653 h 66675"/>
                <a:gd name="connsiteX12" fmla="*/ 131243 w 133350"/>
                <a:gd name="connsiteY12" fmla="*/ 31653 h 66675"/>
                <a:gd name="connsiteX13" fmla="*/ 134932 w 133350"/>
                <a:gd name="connsiteY13" fmla="*/ 31653 h 66675"/>
                <a:gd name="connsiteX14" fmla="*/ 134932 w 133350"/>
                <a:gd name="connsiteY14" fmla="*/ 35339 h 66675"/>
                <a:gd name="connsiteX15" fmla="*/ 134932 w 133350"/>
                <a:gd name="connsiteY15" fmla="*/ 39035 h 66675"/>
                <a:gd name="connsiteX16" fmla="*/ 134932 w 133350"/>
                <a:gd name="connsiteY16" fmla="*/ 39035 h 66675"/>
                <a:gd name="connsiteX17" fmla="*/ 134932 w 133350"/>
                <a:gd name="connsiteY17" fmla="*/ 42721 h 66675"/>
                <a:gd name="connsiteX18" fmla="*/ 134932 w 133350"/>
                <a:gd name="connsiteY18" fmla="*/ 42721 h 66675"/>
                <a:gd name="connsiteX19" fmla="*/ 131243 w 133350"/>
                <a:gd name="connsiteY19" fmla="*/ 46417 h 66675"/>
                <a:gd name="connsiteX20" fmla="*/ 123865 w 133350"/>
                <a:gd name="connsiteY20" fmla="*/ 46417 h 66675"/>
                <a:gd name="connsiteX21" fmla="*/ 123865 w 133350"/>
                <a:gd name="connsiteY21" fmla="*/ 46417 h 66675"/>
                <a:gd name="connsiteX22" fmla="*/ 123865 w 133350"/>
                <a:gd name="connsiteY22" fmla="*/ 46417 h 66675"/>
                <a:gd name="connsiteX23" fmla="*/ 120176 w 133350"/>
                <a:gd name="connsiteY23" fmla="*/ 53789 h 66675"/>
                <a:gd name="connsiteX24" fmla="*/ 120176 w 133350"/>
                <a:gd name="connsiteY24" fmla="*/ 53789 h 66675"/>
                <a:gd name="connsiteX25" fmla="*/ 112797 w 133350"/>
                <a:gd name="connsiteY25" fmla="*/ 53789 h 66675"/>
                <a:gd name="connsiteX26" fmla="*/ 109108 w 133350"/>
                <a:gd name="connsiteY26" fmla="*/ 50103 h 66675"/>
                <a:gd name="connsiteX27" fmla="*/ 105419 w 133350"/>
                <a:gd name="connsiteY27" fmla="*/ 46417 h 66675"/>
                <a:gd name="connsiteX28" fmla="*/ 105419 w 133350"/>
                <a:gd name="connsiteY28" fmla="*/ 46417 h 66675"/>
                <a:gd name="connsiteX29" fmla="*/ 98041 w 133350"/>
                <a:gd name="connsiteY29" fmla="*/ 46417 h 66675"/>
                <a:gd name="connsiteX30" fmla="*/ 94352 w 133350"/>
                <a:gd name="connsiteY30" fmla="*/ 46417 h 66675"/>
                <a:gd name="connsiteX31" fmla="*/ 94352 w 133350"/>
                <a:gd name="connsiteY31" fmla="*/ 50103 h 66675"/>
                <a:gd name="connsiteX32" fmla="*/ 90662 w 133350"/>
                <a:gd name="connsiteY32" fmla="*/ 50103 h 66675"/>
                <a:gd name="connsiteX33" fmla="*/ 90662 w 133350"/>
                <a:gd name="connsiteY33" fmla="*/ 50103 h 66675"/>
                <a:gd name="connsiteX34" fmla="*/ 86973 w 133350"/>
                <a:gd name="connsiteY34" fmla="*/ 50103 h 66675"/>
                <a:gd name="connsiteX35" fmla="*/ 79595 w 133350"/>
                <a:gd name="connsiteY35" fmla="*/ 50103 h 66675"/>
                <a:gd name="connsiteX36" fmla="*/ 75906 w 133350"/>
                <a:gd name="connsiteY36" fmla="*/ 46417 h 66675"/>
                <a:gd name="connsiteX37" fmla="*/ 68528 w 133350"/>
                <a:gd name="connsiteY37" fmla="*/ 46417 h 66675"/>
                <a:gd name="connsiteX38" fmla="*/ 53771 w 133350"/>
                <a:gd name="connsiteY38" fmla="*/ 50103 h 66675"/>
                <a:gd name="connsiteX39" fmla="*/ 50082 w 133350"/>
                <a:gd name="connsiteY39" fmla="*/ 53789 h 66675"/>
                <a:gd name="connsiteX40" fmla="*/ 46393 w 133350"/>
                <a:gd name="connsiteY40" fmla="*/ 61171 h 66675"/>
                <a:gd name="connsiteX41" fmla="*/ 42703 w 133350"/>
                <a:gd name="connsiteY41" fmla="*/ 61171 h 66675"/>
                <a:gd name="connsiteX42" fmla="*/ 39014 w 133350"/>
                <a:gd name="connsiteY42" fmla="*/ 68553 h 66675"/>
                <a:gd name="connsiteX43" fmla="*/ 39014 w 133350"/>
                <a:gd name="connsiteY43" fmla="*/ 68553 h 66675"/>
                <a:gd name="connsiteX44" fmla="*/ 39014 w 133350"/>
                <a:gd name="connsiteY44" fmla="*/ 64867 h 66675"/>
                <a:gd name="connsiteX45" fmla="*/ 35325 w 133350"/>
                <a:gd name="connsiteY45" fmla="*/ 61171 h 66675"/>
                <a:gd name="connsiteX46" fmla="*/ 39014 w 133350"/>
                <a:gd name="connsiteY46" fmla="*/ 57485 h 66675"/>
                <a:gd name="connsiteX47" fmla="*/ 39014 w 133350"/>
                <a:gd name="connsiteY47" fmla="*/ 53789 h 66675"/>
                <a:gd name="connsiteX48" fmla="*/ 39014 w 133350"/>
                <a:gd name="connsiteY48" fmla="*/ 50103 h 66675"/>
                <a:gd name="connsiteX49" fmla="*/ 31636 w 133350"/>
                <a:gd name="connsiteY49" fmla="*/ 42721 h 66675"/>
                <a:gd name="connsiteX50" fmla="*/ 35325 w 133350"/>
                <a:gd name="connsiteY50" fmla="*/ 42721 h 66675"/>
                <a:gd name="connsiteX51" fmla="*/ 35325 w 133350"/>
                <a:gd name="connsiteY51" fmla="*/ 39035 h 66675"/>
                <a:gd name="connsiteX52" fmla="*/ 39014 w 133350"/>
                <a:gd name="connsiteY52" fmla="*/ 35339 h 66675"/>
                <a:gd name="connsiteX53" fmla="*/ 39014 w 133350"/>
                <a:gd name="connsiteY53" fmla="*/ 35339 h 66675"/>
                <a:gd name="connsiteX54" fmla="*/ 35325 w 133350"/>
                <a:gd name="connsiteY54" fmla="*/ 39035 h 66675"/>
                <a:gd name="connsiteX55" fmla="*/ 35325 w 133350"/>
                <a:gd name="connsiteY55" fmla="*/ 39035 h 66675"/>
                <a:gd name="connsiteX56" fmla="*/ 31636 w 133350"/>
                <a:gd name="connsiteY56" fmla="*/ 42721 h 66675"/>
                <a:gd name="connsiteX57" fmla="*/ 31636 w 133350"/>
                <a:gd name="connsiteY57" fmla="*/ 42721 h 66675"/>
                <a:gd name="connsiteX58" fmla="*/ 27947 w 133350"/>
                <a:gd name="connsiteY58" fmla="*/ 39035 h 66675"/>
                <a:gd name="connsiteX59" fmla="*/ 24258 w 133350"/>
                <a:gd name="connsiteY59" fmla="*/ 35339 h 66675"/>
                <a:gd name="connsiteX60" fmla="*/ 20568 w 133350"/>
                <a:gd name="connsiteY60" fmla="*/ 35339 h 66675"/>
                <a:gd name="connsiteX61" fmla="*/ 16879 w 133350"/>
                <a:gd name="connsiteY61" fmla="*/ 31653 h 66675"/>
                <a:gd name="connsiteX62" fmla="*/ 13190 w 133350"/>
                <a:gd name="connsiteY62" fmla="*/ 31653 h 66675"/>
                <a:gd name="connsiteX63" fmla="*/ 13190 w 133350"/>
                <a:gd name="connsiteY63" fmla="*/ 24271 h 66675"/>
                <a:gd name="connsiteX64" fmla="*/ 9501 w 133350"/>
                <a:gd name="connsiteY64" fmla="*/ 24271 h 66675"/>
                <a:gd name="connsiteX65" fmla="*/ 9501 w 133350"/>
                <a:gd name="connsiteY65" fmla="*/ 20575 h 66675"/>
                <a:gd name="connsiteX66" fmla="*/ 9501 w 133350"/>
                <a:gd name="connsiteY66" fmla="*/ 16889 h 66675"/>
                <a:gd name="connsiteX67" fmla="*/ 13190 w 133350"/>
                <a:gd name="connsiteY67" fmla="*/ 16889 h 66675"/>
                <a:gd name="connsiteX68" fmla="*/ 13190 w 133350"/>
                <a:gd name="connsiteY68" fmla="*/ 16889 h 66675"/>
                <a:gd name="connsiteX69" fmla="*/ 9501 w 133350"/>
                <a:gd name="connsiteY69" fmla="*/ 16889 h 66675"/>
                <a:gd name="connsiteX70" fmla="*/ 5812 w 133350"/>
                <a:gd name="connsiteY70" fmla="*/ 16889 h 66675"/>
                <a:gd name="connsiteX71" fmla="*/ 5812 w 133350"/>
                <a:gd name="connsiteY71" fmla="*/ 16889 h 66675"/>
                <a:gd name="connsiteX72" fmla="*/ 5812 w 133350"/>
                <a:gd name="connsiteY72" fmla="*/ 16889 h 66675"/>
                <a:gd name="connsiteX73" fmla="*/ 16879 w 133350"/>
                <a:gd name="connsiteY73" fmla="*/ 13193 h 66675"/>
                <a:gd name="connsiteX74" fmla="*/ 27947 w 133350"/>
                <a:gd name="connsiteY74" fmla="*/ 9507 h 66675"/>
                <a:gd name="connsiteX75" fmla="*/ 27947 w 133350"/>
                <a:gd name="connsiteY75" fmla="*/ 5812 h 66675"/>
                <a:gd name="connsiteX76" fmla="*/ 27947 w 133350"/>
                <a:gd name="connsiteY76" fmla="*/ 5812 h 66675"/>
                <a:gd name="connsiteX77" fmla="*/ 31636 w 133350"/>
                <a:gd name="connsiteY77" fmla="*/ 5812 h 66675"/>
                <a:gd name="connsiteX78" fmla="*/ 31636 w 133350"/>
                <a:gd name="connsiteY78" fmla="*/ 5812 h 66675"/>
                <a:gd name="connsiteX79" fmla="*/ 31636 w 133350"/>
                <a:gd name="connsiteY79" fmla="*/ 9507 h 66675"/>
                <a:gd name="connsiteX80" fmla="*/ 35325 w 133350"/>
                <a:gd name="connsiteY80" fmla="*/ 9507 h 66675"/>
                <a:gd name="connsiteX81" fmla="*/ 39014 w 133350"/>
                <a:gd name="connsiteY81" fmla="*/ 9507 h 66675"/>
                <a:gd name="connsiteX82" fmla="*/ 42703 w 133350"/>
                <a:gd name="connsiteY82" fmla="*/ 13193 h 66675"/>
                <a:gd name="connsiteX83" fmla="*/ 46393 w 133350"/>
                <a:gd name="connsiteY83" fmla="*/ 13193 h 66675"/>
                <a:gd name="connsiteX84" fmla="*/ 50082 w 133350"/>
                <a:gd name="connsiteY84" fmla="*/ 16889 h 66675"/>
                <a:gd name="connsiteX85" fmla="*/ 50082 w 133350"/>
                <a:gd name="connsiteY85" fmla="*/ 16889 h 66675"/>
                <a:gd name="connsiteX86" fmla="*/ 53771 w 133350"/>
                <a:gd name="connsiteY86" fmla="*/ 16889 h 66675"/>
                <a:gd name="connsiteX87" fmla="*/ 57460 w 133350"/>
                <a:gd name="connsiteY87" fmla="*/ 13193 h 66675"/>
                <a:gd name="connsiteX88" fmla="*/ 61149 w 133350"/>
                <a:gd name="connsiteY88" fmla="*/ 13193 h 66675"/>
                <a:gd name="connsiteX89" fmla="*/ 68528 w 133350"/>
                <a:gd name="connsiteY89" fmla="*/ 9507 h 66675"/>
                <a:gd name="connsiteX90" fmla="*/ 68528 w 133350"/>
                <a:gd name="connsiteY90" fmla="*/ 9507 h 66675"/>
                <a:gd name="connsiteX91" fmla="*/ 75906 w 133350"/>
                <a:gd name="connsiteY91" fmla="*/ 13193 h 66675"/>
                <a:gd name="connsiteX92" fmla="*/ 79595 w 133350"/>
                <a:gd name="connsiteY92" fmla="*/ 9507 h 66675"/>
                <a:gd name="connsiteX93" fmla="*/ 79595 w 133350"/>
                <a:gd name="connsiteY93" fmla="*/ 9507 h 66675"/>
                <a:gd name="connsiteX94" fmla="*/ 86973 w 133350"/>
                <a:gd name="connsiteY94" fmla="*/ 5812 h 66675"/>
                <a:gd name="connsiteX95" fmla="*/ 86973 w 133350"/>
                <a:gd name="connsiteY95" fmla="*/ 5812 h 66675"/>
                <a:gd name="connsiteX96" fmla="*/ 94352 w 133350"/>
                <a:gd name="connsiteY96" fmla="*/ 5812 h 66675"/>
                <a:gd name="connsiteX97" fmla="*/ 98041 w 133350"/>
                <a:gd name="connsiteY97" fmla="*/ 9507 h 66675"/>
                <a:gd name="connsiteX98" fmla="*/ 105419 w 133350"/>
                <a:gd name="connsiteY98" fmla="*/ 5812 h 66675"/>
                <a:gd name="connsiteX99" fmla="*/ 109108 w 133350"/>
                <a:gd name="connsiteY99" fmla="*/ 5812 h 66675"/>
                <a:gd name="connsiteX100" fmla="*/ 109108 w 133350"/>
                <a:gd name="connsiteY100" fmla="*/ 5812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33350" h="66675">
                  <a:moveTo>
                    <a:pt x="109108" y="5812"/>
                  </a:moveTo>
                  <a:lnTo>
                    <a:pt x="109108" y="5812"/>
                  </a:lnTo>
                  <a:lnTo>
                    <a:pt x="112797" y="5812"/>
                  </a:lnTo>
                  <a:lnTo>
                    <a:pt x="112797" y="5812"/>
                  </a:lnTo>
                  <a:lnTo>
                    <a:pt x="112797" y="9507"/>
                  </a:lnTo>
                  <a:lnTo>
                    <a:pt x="116487" y="9507"/>
                  </a:lnTo>
                  <a:lnTo>
                    <a:pt x="120176" y="9507"/>
                  </a:lnTo>
                  <a:lnTo>
                    <a:pt x="123865" y="13193"/>
                  </a:lnTo>
                  <a:lnTo>
                    <a:pt x="123865" y="16889"/>
                  </a:lnTo>
                  <a:lnTo>
                    <a:pt x="127554" y="24271"/>
                  </a:lnTo>
                  <a:lnTo>
                    <a:pt x="131243" y="27957"/>
                  </a:lnTo>
                  <a:lnTo>
                    <a:pt x="131243" y="31653"/>
                  </a:lnTo>
                  <a:lnTo>
                    <a:pt x="131243" y="31653"/>
                  </a:lnTo>
                  <a:lnTo>
                    <a:pt x="134932" y="31653"/>
                  </a:lnTo>
                  <a:lnTo>
                    <a:pt x="134932" y="35339"/>
                  </a:lnTo>
                  <a:lnTo>
                    <a:pt x="134932" y="39035"/>
                  </a:lnTo>
                  <a:lnTo>
                    <a:pt x="134932" y="39035"/>
                  </a:lnTo>
                  <a:lnTo>
                    <a:pt x="134932" y="42721"/>
                  </a:lnTo>
                  <a:lnTo>
                    <a:pt x="134932" y="42721"/>
                  </a:lnTo>
                  <a:lnTo>
                    <a:pt x="131243" y="46417"/>
                  </a:lnTo>
                  <a:lnTo>
                    <a:pt x="123865" y="46417"/>
                  </a:lnTo>
                  <a:lnTo>
                    <a:pt x="123865" y="46417"/>
                  </a:lnTo>
                  <a:lnTo>
                    <a:pt x="123865" y="46417"/>
                  </a:lnTo>
                  <a:lnTo>
                    <a:pt x="120176" y="53789"/>
                  </a:lnTo>
                  <a:lnTo>
                    <a:pt x="120176" y="53789"/>
                  </a:lnTo>
                  <a:lnTo>
                    <a:pt x="112797" y="53789"/>
                  </a:lnTo>
                  <a:lnTo>
                    <a:pt x="109108" y="50103"/>
                  </a:lnTo>
                  <a:lnTo>
                    <a:pt x="105419" y="46417"/>
                  </a:lnTo>
                  <a:lnTo>
                    <a:pt x="105419" y="46417"/>
                  </a:lnTo>
                  <a:lnTo>
                    <a:pt x="98041" y="46417"/>
                  </a:lnTo>
                  <a:lnTo>
                    <a:pt x="94352" y="46417"/>
                  </a:lnTo>
                  <a:lnTo>
                    <a:pt x="94352" y="50103"/>
                  </a:lnTo>
                  <a:lnTo>
                    <a:pt x="90662" y="50103"/>
                  </a:lnTo>
                  <a:lnTo>
                    <a:pt x="90662" y="50103"/>
                  </a:lnTo>
                  <a:lnTo>
                    <a:pt x="86973" y="50103"/>
                  </a:lnTo>
                  <a:lnTo>
                    <a:pt x="79595" y="50103"/>
                  </a:lnTo>
                  <a:lnTo>
                    <a:pt x="75906" y="46417"/>
                  </a:lnTo>
                  <a:lnTo>
                    <a:pt x="68528" y="46417"/>
                  </a:lnTo>
                  <a:lnTo>
                    <a:pt x="53771" y="50103"/>
                  </a:lnTo>
                  <a:lnTo>
                    <a:pt x="50082" y="53789"/>
                  </a:lnTo>
                  <a:lnTo>
                    <a:pt x="46393" y="61171"/>
                  </a:lnTo>
                  <a:lnTo>
                    <a:pt x="42703" y="61171"/>
                  </a:lnTo>
                  <a:lnTo>
                    <a:pt x="39014" y="68553"/>
                  </a:lnTo>
                  <a:lnTo>
                    <a:pt x="39014" y="68553"/>
                  </a:lnTo>
                  <a:lnTo>
                    <a:pt x="39014" y="64867"/>
                  </a:lnTo>
                  <a:lnTo>
                    <a:pt x="35325" y="61171"/>
                  </a:lnTo>
                  <a:lnTo>
                    <a:pt x="39014" y="57485"/>
                  </a:lnTo>
                  <a:lnTo>
                    <a:pt x="39014" y="53789"/>
                  </a:lnTo>
                  <a:lnTo>
                    <a:pt x="39014" y="50103"/>
                  </a:lnTo>
                  <a:lnTo>
                    <a:pt x="31636" y="42721"/>
                  </a:lnTo>
                  <a:lnTo>
                    <a:pt x="35325" y="42721"/>
                  </a:lnTo>
                  <a:lnTo>
                    <a:pt x="35325" y="39035"/>
                  </a:lnTo>
                  <a:lnTo>
                    <a:pt x="39014" y="35339"/>
                  </a:lnTo>
                  <a:lnTo>
                    <a:pt x="39014" y="35339"/>
                  </a:lnTo>
                  <a:lnTo>
                    <a:pt x="35325" y="39035"/>
                  </a:lnTo>
                  <a:lnTo>
                    <a:pt x="35325" y="39035"/>
                  </a:lnTo>
                  <a:lnTo>
                    <a:pt x="31636" y="42721"/>
                  </a:lnTo>
                  <a:lnTo>
                    <a:pt x="31636" y="42721"/>
                  </a:lnTo>
                  <a:lnTo>
                    <a:pt x="27947" y="39035"/>
                  </a:lnTo>
                  <a:lnTo>
                    <a:pt x="24258" y="35339"/>
                  </a:lnTo>
                  <a:lnTo>
                    <a:pt x="20568" y="35339"/>
                  </a:lnTo>
                  <a:lnTo>
                    <a:pt x="16879" y="31653"/>
                  </a:lnTo>
                  <a:lnTo>
                    <a:pt x="13190" y="31653"/>
                  </a:lnTo>
                  <a:lnTo>
                    <a:pt x="13190" y="24271"/>
                  </a:lnTo>
                  <a:lnTo>
                    <a:pt x="9501" y="24271"/>
                  </a:lnTo>
                  <a:lnTo>
                    <a:pt x="9501" y="20575"/>
                  </a:lnTo>
                  <a:lnTo>
                    <a:pt x="9501" y="16889"/>
                  </a:lnTo>
                  <a:lnTo>
                    <a:pt x="13190" y="16889"/>
                  </a:lnTo>
                  <a:lnTo>
                    <a:pt x="13190" y="16889"/>
                  </a:lnTo>
                  <a:lnTo>
                    <a:pt x="9501" y="16889"/>
                  </a:lnTo>
                  <a:lnTo>
                    <a:pt x="5812" y="16889"/>
                  </a:lnTo>
                  <a:lnTo>
                    <a:pt x="5812" y="16889"/>
                  </a:lnTo>
                  <a:lnTo>
                    <a:pt x="5812" y="16889"/>
                  </a:lnTo>
                  <a:lnTo>
                    <a:pt x="16879" y="13193"/>
                  </a:lnTo>
                  <a:lnTo>
                    <a:pt x="27947" y="9507"/>
                  </a:lnTo>
                  <a:lnTo>
                    <a:pt x="27947" y="5812"/>
                  </a:lnTo>
                  <a:lnTo>
                    <a:pt x="27947" y="5812"/>
                  </a:lnTo>
                  <a:lnTo>
                    <a:pt x="31636" y="5812"/>
                  </a:lnTo>
                  <a:lnTo>
                    <a:pt x="31636" y="5812"/>
                  </a:lnTo>
                  <a:lnTo>
                    <a:pt x="31636" y="9507"/>
                  </a:lnTo>
                  <a:lnTo>
                    <a:pt x="35325" y="9507"/>
                  </a:lnTo>
                  <a:lnTo>
                    <a:pt x="39014" y="9507"/>
                  </a:lnTo>
                  <a:lnTo>
                    <a:pt x="42703" y="13193"/>
                  </a:lnTo>
                  <a:lnTo>
                    <a:pt x="46393" y="13193"/>
                  </a:lnTo>
                  <a:lnTo>
                    <a:pt x="50082" y="16889"/>
                  </a:lnTo>
                  <a:lnTo>
                    <a:pt x="50082" y="16889"/>
                  </a:lnTo>
                  <a:lnTo>
                    <a:pt x="53771" y="16889"/>
                  </a:lnTo>
                  <a:lnTo>
                    <a:pt x="57460" y="13193"/>
                  </a:lnTo>
                  <a:lnTo>
                    <a:pt x="61149" y="13193"/>
                  </a:lnTo>
                  <a:lnTo>
                    <a:pt x="68528" y="9507"/>
                  </a:lnTo>
                  <a:lnTo>
                    <a:pt x="68528" y="9507"/>
                  </a:lnTo>
                  <a:lnTo>
                    <a:pt x="75906" y="13193"/>
                  </a:lnTo>
                  <a:lnTo>
                    <a:pt x="79595" y="9507"/>
                  </a:lnTo>
                  <a:lnTo>
                    <a:pt x="79595" y="9507"/>
                  </a:lnTo>
                  <a:lnTo>
                    <a:pt x="86973" y="5812"/>
                  </a:lnTo>
                  <a:lnTo>
                    <a:pt x="86973" y="5812"/>
                  </a:lnTo>
                  <a:lnTo>
                    <a:pt x="94352" y="5812"/>
                  </a:lnTo>
                  <a:lnTo>
                    <a:pt x="98041" y="9507"/>
                  </a:lnTo>
                  <a:lnTo>
                    <a:pt x="105419" y="5812"/>
                  </a:lnTo>
                  <a:lnTo>
                    <a:pt x="109108" y="5812"/>
                  </a:lnTo>
                  <a:lnTo>
                    <a:pt x="109108" y="5812"/>
                  </a:lnTo>
                  <a:close/>
                </a:path>
              </a:pathLst>
            </a:custGeom>
            <a:solidFill>
              <a:srgbClr val="EC6224"/>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66" name="Freeform: Shape 265">
              <a:extLst>
                <a:ext uri="{FF2B5EF4-FFF2-40B4-BE49-F238E27FC236}">
                  <a16:creationId xmlns:a16="http://schemas.microsoft.com/office/drawing/2014/main" id="{4A2E641D-AFFB-429D-938A-4751AC71565D}"/>
                </a:ext>
              </a:extLst>
            </p:cNvPr>
            <p:cNvSpPr/>
            <p:nvPr/>
          </p:nvSpPr>
          <p:spPr>
            <a:xfrm>
              <a:off x="4316987" y="4849451"/>
              <a:ext cx="676397" cy="368945"/>
            </a:xfrm>
            <a:custGeom>
              <a:avLst/>
              <a:gdLst>
                <a:gd name="connsiteX0" fmla="*/ 345216 w 419100"/>
                <a:gd name="connsiteY0" fmla="*/ 5812 h 228600"/>
                <a:gd name="connsiteX1" fmla="*/ 345216 w 419100"/>
                <a:gd name="connsiteY1" fmla="*/ 9498 h 228600"/>
                <a:gd name="connsiteX2" fmla="*/ 337838 w 419100"/>
                <a:gd name="connsiteY2" fmla="*/ 16880 h 228600"/>
                <a:gd name="connsiteX3" fmla="*/ 334149 w 419100"/>
                <a:gd name="connsiteY3" fmla="*/ 16880 h 228600"/>
                <a:gd name="connsiteX4" fmla="*/ 337838 w 419100"/>
                <a:gd name="connsiteY4" fmla="*/ 24261 h 228600"/>
                <a:gd name="connsiteX5" fmla="*/ 341527 w 419100"/>
                <a:gd name="connsiteY5" fmla="*/ 24261 h 228600"/>
                <a:gd name="connsiteX6" fmla="*/ 345216 w 419100"/>
                <a:gd name="connsiteY6" fmla="*/ 31643 h 228600"/>
                <a:gd name="connsiteX7" fmla="*/ 348905 w 419100"/>
                <a:gd name="connsiteY7" fmla="*/ 39025 h 228600"/>
                <a:gd name="connsiteX8" fmla="*/ 356284 w 419100"/>
                <a:gd name="connsiteY8" fmla="*/ 39025 h 228600"/>
                <a:gd name="connsiteX9" fmla="*/ 363662 w 419100"/>
                <a:gd name="connsiteY9" fmla="*/ 39025 h 228600"/>
                <a:gd name="connsiteX10" fmla="*/ 367351 w 419100"/>
                <a:gd name="connsiteY10" fmla="*/ 39025 h 228600"/>
                <a:gd name="connsiteX11" fmla="*/ 371040 w 419100"/>
                <a:gd name="connsiteY11" fmla="*/ 39025 h 228600"/>
                <a:gd name="connsiteX12" fmla="*/ 371040 w 419100"/>
                <a:gd name="connsiteY12" fmla="*/ 35339 h 228600"/>
                <a:gd name="connsiteX13" fmla="*/ 374730 w 419100"/>
                <a:gd name="connsiteY13" fmla="*/ 35339 h 228600"/>
                <a:gd name="connsiteX14" fmla="*/ 374730 w 419100"/>
                <a:gd name="connsiteY14" fmla="*/ 39025 h 228600"/>
                <a:gd name="connsiteX15" fmla="*/ 374730 w 419100"/>
                <a:gd name="connsiteY15" fmla="*/ 42711 h 228600"/>
                <a:gd name="connsiteX16" fmla="*/ 371040 w 419100"/>
                <a:gd name="connsiteY16" fmla="*/ 46407 h 228600"/>
                <a:gd name="connsiteX17" fmla="*/ 367351 w 419100"/>
                <a:gd name="connsiteY17" fmla="*/ 46407 h 228600"/>
                <a:gd name="connsiteX18" fmla="*/ 363662 w 419100"/>
                <a:gd name="connsiteY18" fmla="*/ 46407 h 228600"/>
                <a:gd name="connsiteX19" fmla="*/ 359973 w 419100"/>
                <a:gd name="connsiteY19" fmla="*/ 46407 h 228600"/>
                <a:gd name="connsiteX20" fmla="*/ 356284 w 419100"/>
                <a:gd name="connsiteY20" fmla="*/ 46407 h 228600"/>
                <a:gd name="connsiteX21" fmla="*/ 352594 w 419100"/>
                <a:gd name="connsiteY21" fmla="*/ 46407 h 228600"/>
                <a:gd name="connsiteX22" fmla="*/ 348905 w 419100"/>
                <a:gd name="connsiteY22" fmla="*/ 50093 h 228600"/>
                <a:gd name="connsiteX23" fmla="*/ 345216 w 419100"/>
                <a:gd name="connsiteY23" fmla="*/ 50093 h 228600"/>
                <a:gd name="connsiteX24" fmla="*/ 337838 w 419100"/>
                <a:gd name="connsiteY24" fmla="*/ 42711 h 228600"/>
                <a:gd name="connsiteX25" fmla="*/ 323081 w 419100"/>
                <a:gd name="connsiteY25" fmla="*/ 39025 h 228600"/>
                <a:gd name="connsiteX26" fmla="*/ 319392 w 419100"/>
                <a:gd name="connsiteY26" fmla="*/ 39025 h 228600"/>
                <a:gd name="connsiteX27" fmla="*/ 312014 w 419100"/>
                <a:gd name="connsiteY27" fmla="*/ 42711 h 228600"/>
                <a:gd name="connsiteX28" fmla="*/ 308325 w 419100"/>
                <a:gd name="connsiteY28" fmla="*/ 46407 h 228600"/>
                <a:gd name="connsiteX29" fmla="*/ 304635 w 419100"/>
                <a:gd name="connsiteY29" fmla="*/ 46407 h 228600"/>
                <a:gd name="connsiteX30" fmla="*/ 297257 w 419100"/>
                <a:gd name="connsiteY30" fmla="*/ 50093 h 228600"/>
                <a:gd name="connsiteX31" fmla="*/ 293568 w 419100"/>
                <a:gd name="connsiteY31" fmla="*/ 53789 h 228600"/>
                <a:gd name="connsiteX32" fmla="*/ 289879 w 419100"/>
                <a:gd name="connsiteY32" fmla="*/ 50093 h 228600"/>
                <a:gd name="connsiteX33" fmla="*/ 282500 w 419100"/>
                <a:gd name="connsiteY33" fmla="*/ 53789 h 228600"/>
                <a:gd name="connsiteX34" fmla="*/ 278811 w 419100"/>
                <a:gd name="connsiteY34" fmla="*/ 57475 h 228600"/>
                <a:gd name="connsiteX35" fmla="*/ 278811 w 419100"/>
                <a:gd name="connsiteY35" fmla="*/ 64857 h 228600"/>
                <a:gd name="connsiteX36" fmla="*/ 282500 w 419100"/>
                <a:gd name="connsiteY36" fmla="*/ 64857 h 228600"/>
                <a:gd name="connsiteX37" fmla="*/ 282500 w 419100"/>
                <a:gd name="connsiteY37" fmla="*/ 68553 h 228600"/>
                <a:gd name="connsiteX38" fmla="*/ 286190 w 419100"/>
                <a:gd name="connsiteY38" fmla="*/ 68553 h 228600"/>
                <a:gd name="connsiteX39" fmla="*/ 289879 w 419100"/>
                <a:gd name="connsiteY39" fmla="*/ 68553 h 228600"/>
                <a:gd name="connsiteX40" fmla="*/ 293568 w 419100"/>
                <a:gd name="connsiteY40" fmla="*/ 72239 h 228600"/>
                <a:gd name="connsiteX41" fmla="*/ 297257 w 419100"/>
                <a:gd name="connsiteY41" fmla="*/ 75935 h 228600"/>
                <a:gd name="connsiteX42" fmla="*/ 300946 w 419100"/>
                <a:gd name="connsiteY42" fmla="*/ 75935 h 228600"/>
                <a:gd name="connsiteX43" fmla="*/ 300946 w 419100"/>
                <a:gd name="connsiteY43" fmla="*/ 79621 h 228600"/>
                <a:gd name="connsiteX44" fmla="*/ 300946 w 419100"/>
                <a:gd name="connsiteY44" fmla="*/ 83317 h 228600"/>
                <a:gd name="connsiteX45" fmla="*/ 304635 w 419100"/>
                <a:gd name="connsiteY45" fmla="*/ 87003 h 228600"/>
                <a:gd name="connsiteX46" fmla="*/ 308325 w 419100"/>
                <a:gd name="connsiteY46" fmla="*/ 87003 h 228600"/>
                <a:gd name="connsiteX47" fmla="*/ 312014 w 419100"/>
                <a:gd name="connsiteY47" fmla="*/ 90689 h 228600"/>
                <a:gd name="connsiteX48" fmla="*/ 315703 w 419100"/>
                <a:gd name="connsiteY48" fmla="*/ 94384 h 228600"/>
                <a:gd name="connsiteX49" fmla="*/ 315703 w 419100"/>
                <a:gd name="connsiteY49" fmla="*/ 101766 h 228600"/>
                <a:gd name="connsiteX50" fmla="*/ 319392 w 419100"/>
                <a:gd name="connsiteY50" fmla="*/ 105453 h 228600"/>
                <a:gd name="connsiteX51" fmla="*/ 323081 w 419100"/>
                <a:gd name="connsiteY51" fmla="*/ 105453 h 228600"/>
                <a:gd name="connsiteX52" fmla="*/ 323081 w 419100"/>
                <a:gd name="connsiteY52" fmla="*/ 109148 h 228600"/>
                <a:gd name="connsiteX53" fmla="*/ 326770 w 419100"/>
                <a:gd name="connsiteY53" fmla="*/ 109148 h 228600"/>
                <a:gd name="connsiteX54" fmla="*/ 330460 w 419100"/>
                <a:gd name="connsiteY54" fmla="*/ 109148 h 228600"/>
                <a:gd name="connsiteX55" fmla="*/ 345216 w 419100"/>
                <a:gd name="connsiteY55" fmla="*/ 109148 h 228600"/>
                <a:gd name="connsiteX56" fmla="*/ 348905 w 419100"/>
                <a:gd name="connsiteY56" fmla="*/ 109148 h 228600"/>
                <a:gd name="connsiteX57" fmla="*/ 352594 w 419100"/>
                <a:gd name="connsiteY57" fmla="*/ 109148 h 228600"/>
                <a:gd name="connsiteX58" fmla="*/ 356284 w 419100"/>
                <a:gd name="connsiteY58" fmla="*/ 112835 h 228600"/>
                <a:gd name="connsiteX59" fmla="*/ 359973 w 419100"/>
                <a:gd name="connsiteY59" fmla="*/ 112835 h 228600"/>
                <a:gd name="connsiteX60" fmla="*/ 359973 w 419100"/>
                <a:gd name="connsiteY60" fmla="*/ 109148 h 228600"/>
                <a:gd name="connsiteX61" fmla="*/ 367351 w 419100"/>
                <a:gd name="connsiteY61" fmla="*/ 112835 h 228600"/>
                <a:gd name="connsiteX62" fmla="*/ 374730 w 419100"/>
                <a:gd name="connsiteY62" fmla="*/ 116530 h 228600"/>
                <a:gd name="connsiteX63" fmla="*/ 371040 w 419100"/>
                <a:gd name="connsiteY63" fmla="*/ 120216 h 228600"/>
                <a:gd name="connsiteX64" fmla="*/ 371040 w 419100"/>
                <a:gd name="connsiteY64" fmla="*/ 123912 h 228600"/>
                <a:gd name="connsiteX65" fmla="*/ 371040 w 419100"/>
                <a:gd name="connsiteY65" fmla="*/ 127598 h 228600"/>
                <a:gd name="connsiteX66" fmla="*/ 374730 w 419100"/>
                <a:gd name="connsiteY66" fmla="*/ 127598 h 228600"/>
                <a:gd name="connsiteX67" fmla="*/ 389487 w 419100"/>
                <a:gd name="connsiteY67" fmla="*/ 134980 h 228600"/>
                <a:gd name="connsiteX68" fmla="*/ 393176 w 419100"/>
                <a:gd name="connsiteY68" fmla="*/ 138666 h 228600"/>
                <a:gd name="connsiteX69" fmla="*/ 393176 w 419100"/>
                <a:gd name="connsiteY69" fmla="*/ 160812 h 228600"/>
                <a:gd name="connsiteX70" fmla="*/ 393176 w 419100"/>
                <a:gd name="connsiteY70" fmla="*/ 164508 h 228600"/>
                <a:gd name="connsiteX71" fmla="*/ 396865 w 419100"/>
                <a:gd name="connsiteY71" fmla="*/ 179271 h 228600"/>
                <a:gd name="connsiteX72" fmla="*/ 393176 w 419100"/>
                <a:gd name="connsiteY72" fmla="*/ 179271 h 228600"/>
                <a:gd name="connsiteX73" fmla="*/ 389487 w 419100"/>
                <a:gd name="connsiteY73" fmla="*/ 179271 h 228600"/>
                <a:gd name="connsiteX74" fmla="*/ 385798 w 419100"/>
                <a:gd name="connsiteY74" fmla="*/ 179271 h 228600"/>
                <a:gd name="connsiteX75" fmla="*/ 382109 w 419100"/>
                <a:gd name="connsiteY75" fmla="*/ 175576 h 228600"/>
                <a:gd name="connsiteX76" fmla="*/ 378419 w 419100"/>
                <a:gd name="connsiteY76" fmla="*/ 175576 h 228600"/>
                <a:gd name="connsiteX77" fmla="*/ 374730 w 419100"/>
                <a:gd name="connsiteY77" fmla="*/ 175576 h 228600"/>
                <a:gd name="connsiteX78" fmla="*/ 371040 w 419100"/>
                <a:gd name="connsiteY78" fmla="*/ 175576 h 228600"/>
                <a:gd name="connsiteX79" fmla="*/ 367351 w 419100"/>
                <a:gd name="connsiteY79" fmla="*/ 179271 h 228600"/>
                <a:gd name="connsiteX80" fmla="*/ 363662 w 419100"/>
                <a:gd name="connsiteY80" fmla="*/ 179271 h 228600"/>
                <a:gd name="connsiteX81" fmla="*/ 359973 w 419100"/>
                <a:gd name="connsiteY81" fmla="*/ 182958 h 228600"/>
                <a:gd name="connsiteX82" fmla="*/ 356284 w 419100"/>
                <a:gd name="connsiteY82" fmla="*/ 182958 h 228600"/>
                <a:gd name="connsiteX83" fmla="*/ 352594 w 419100"/>
                <a:gd name="connsiteY83" fmla="*/ 182958 h 228600"/>
                <a:gd name="connsiteX84" fmla="*/ 348905 w 419100"/>
                <a:gd name="connsiteY84" fmla="*/ 182958 h 228600"/>
                <a:gd name="connsiteX85" fmla="*/ 348905 w 419100"/>
                <a:gd name="connsiteY85" fmla="*/ 179271 h 228600"/>
                <a:gd name="connsiteX86" fmla="*/ 345216 w 419100"/>
                <a:gd name="connsiteY86" fmla="*/ 179271 h 228600"/>
                <a:gd name="connsiteX87" fmla="*/ 334149 w 419100"/>
                <a:gd name="connsiteY87" fmla="*/ 171890 h 228600"/>
                <a:gd name="connsiteX88" fmla="*/ 330460 w 419100"/>
                <a:gd name="connsiteY88" fmla="*/ 171890 h 228600"/>
                <a:gd name="connsiteX89" fmla="*/ 326770 w 419100"/>
                <a:gd name="connsiteY89" fmla="*/ 160812 h 228600"/>
                <a:gd name="connsiteX90" fmla="*/ 323081 w 419100"/>
                <a:gd name="connsiteY90" fmla="*/ 160812 h 228600"/>
                <a:gd name="connsiteX91" fmla="*/ 315703 w 419100"/>
                <a:gd name="connsiteY91" fmla="*/ 149744 h 228600"/>
                <a:gd name="connsiteX92" fmla="*/ 315703 w 419100"/>
                <a:gd name="connsiteY92" fmla="*/ 146048 h 228600"/>
                <a:gd name="connsiteX93" fmla="*/ 312014 w 419100"/>
                <a:gd name="connsiteY93" fmla="*/ 142362 h 228600"/>
                <a:gd name="connsiteX94" fmla="*/ 315703 w 419100"/>
                <a:gd name="connsiteY94" fmla="*/ 138666 h 228600"/>
                <a:gd name="connsiteX95" fmla="*/ 312014 w 419100"/>
                <a:gd name="connsiteY95" fmla="*/ 134980 h 228600"/>
                <a:gd name="connsiteX96" fmla="*/ 312014 w 419100"/>
                <a:gd name="connsiteY96" fmla="*/ 131294 h 228600"/>
                <a:gd name="connsiteX97" fmla="*/ 312014 w 419100"/>
                <a:gd name="connsiteY97" fmla="*/ 127598 h 228600"/>
                <a:gd name="connsiteX98" fmla="*/ 308325 w 419100"/>
                <a:gd name="connsiteY98" fmla="*/ 127598 h 228600"/>
                <a:gd name="connsiteX99" fmla="*/ 304635 w 419100"/>
                <a:gd name="connsiteY99" fmla="*/ 123912 h 228600"/>
                <a:gd name="connsiteX100" fmla="*/ 297257 w 419100"/>
                <a:gd name="connsiteY100" fmla="*/ 116530 h 228600"/>
                <a:gd name="connsiteX101" fmla="*/ 293568 w 419100"/>
                <a:gd name="connsiteY101" fmla="*/ 112835 h 228600"/>
                <a:gd name="connsiteX102" fmla="*/ 289879 w 419100"/>
                <a:gd name="connsiteY102" fmla="*/ 112835 h 228600"/>
                <a:gd name="connsiteX103" fmla="*/ 286190 w 419100"/>
                <a:gd name="connsiteY103" fmla="*/ 112835 h 228600"/>
                <a:gd name="connsiteX104" fmla="*/ 282500 w 419100"/>
                <a:gd name="connsiteY104" fmla="*/ 109148 h 228600"/>
                <a:gd name="connsiteX105" fmla="*/ 278811 w 419100"/>
                <a:gd name="connsiteY105" fmla="*/ 109148 h 228600"/>
                <a:gd name="connsiteX106" fmla="*/ 271433 w 419100"/>
                <a:gd name="connsiteY106" fmla="*/ 105453 h 228600"/>
                <a:gd name="connsiteX107" fmla="*/ 267744 w 419100"/>
                <a:gd name="connsiteY107" fmla="*/ 105453 h 228600"/>
                <a:gd name="connsiteX108" fmla="*/ 264055 w 419100"/>
                <a:gd name="connsiteY108" fmla="*/ 101766 h 228600"/>
                <a:gd name="connsiteX109" fmla="*/ 260365 w 419100"/>
                <a:gd name="connsiteY109" fmla="*/ 105453 h 228600"/>
                <a:gd name="connsiteX110" fmla="*/ 256676 w 419100"/>
                <a:gd name="connsiteY110" fmla="*/ 105453 h 228600"/>
                <a:gd name="connsiteX111" fmla="*/ 256676 w 419100"/>
                <a:gd name="connsiteY111" fmla="*/ 109148 h 228600"/>
                <a:gd name="connsiteX112" fmla="*/ 249298 w 419100"/>
                <a:gd name="connsiteY112" fmla="*/ 98071 h 228600"/>
                <a:gd name="connsiteX113" fmla="*/ 252987 w 419100"/>
                <a:gd name="connsiteY113" fmla="*/ 98071 h 228600"/>
                <a:gd name="connsiteX114" fmla="*/ 249298 w 419100"/>
                <a:gd name="connsiteY114" fmla="*/ 94384 h 228600"/>
                <a:gd name="connsiteX115" fmla="*/ 249298 w 419100"/>
                <a:gd name="connsiteY115" fmla="*/ 90689 h 228600"/>
                <a:gd name="connsiteX116" fmla="*/ 245609 w 419100"/>
                <a:gd name="connsiteY116" fmla="*/ 90689 h 228600"/>
                <a:gd name="connsiteX117" fmla="*/ 241920 w 419100"/>
                <a:gd name="connsiteY117" fmla="*/ 90689 h 228600"/>
                <a:gd name="connsiteX118" fmla="*/ 238231 w 419100"/>
                <a:gd name="connsiteY118" fmla="*/ 90689 h 228600"/>
                <a:gd name="connsiteX119" fmla="*/ 234541 w 419100"/>
                <a:gd name="connsiteY119" fmla="*/ 94384 h 228600"/>
                <a:gd name="connsiteX120" fmla="*/ 230852 w 419100"/>
                <a:gd name="connsiteY120" fmla="*/ 94384 h 228600"/>
                <a:gd name="connsiteX121" fmla="*/ 227162 w 419100"/>
                <a:gd name="connsiteY121" fmla="*/ 94384 h 228600"/>
                <a:gd name="connsiteX122" fmla="*/ 219784 w 419100"/>
                <a:gd name="connsiteY122" fmla="*/ 94384 h 228600"/>
                <a:gd name="connsiteX123" fmla="*/ 216095 w 419100"/>
                <a:gd name="connsiteY123" fmla="*/ 94384 h 228600"/>
                <a:gd name="connsiteX124" fmla="*/ 212405 w 419100"/>
                <a:gd name="connsiteY124" fmla="*/ 94384 h 228600"/>
                <a:gd name="connsiteX125" fmla="*/ 208716 w 419100"/>
                <a:gd name="connsiteY125" fmla="*/ 94384 h 228600"/>
                <a:gd name="connsiteX126" fmla="*/ 208716 w 419100"/>
                <a:gd name="connsiteY126" fmla="*/ 90689 h 228600"/>
                <a:gd name="connsiteX127" fmla="*/ 205027 w 419100"/>
                <a:gd name="connsiteY127" fmla="*/ 87003 h 228600"/>
                <a:gd name="connsiteX128" fmla="*/ 197649 w 419100"/>
                <a:gd name="connsiteY128" fmla="*/ 87003 h 228600"/>
                <a:gd name="connsiteX129" fmla="*/ 190270 w 419100"/>
                <a:gd name="connsiteY129" fmla="*/ 90689 h 228600"/>
                <a:gd name="connsiteX130" fmla="*/ 186581 w 419100"/>
                <a:gd name="connsiteY130" fmla="*/ 90689 h 228600"/>
                <a:gd name="connsiteX131" fmla="*/ 182892 w 419100"/>
                <a:gd name="connsiteY131" fmla="*/ 94384 h 228600"/>
                <a:gd name="connsiteX132" fmla="*/ 171825 w 419100"/>
                <a:gd name="connsiteY132" fmla="*/ 90689 h 228600"/>
                <a:gd name="connsiteX133" fmla="*/ 168136 w 419100"/>
                <a:gd name="connsiteY133" fmla="*/ 90689 h 228600"/>
                <a:gd name="connsiteX134" fmla="*/ 164446 w 419100"/>
                <a:gd name="connsiteY134" fmla="*/ 87003 h 228600"/>
                <a:gd name="connsiteX135" fmla="*/ 160757 w 419100"/>
                <a:gd name="connsiteY135" fmla="*/ 90689 h 228600"/>
                <a:gd name="connsiteX136" fmla="*/ 153379 w 419100"/>
                <a:gd name="connsiteY136" fmla="*/ 94384 h 228600"/>
                <a:gd name="connsiteX137" fmla="*/ 153379 w 419100"/>
                <a:gd name="connsiteY137" fmla="*/ 98071 h 228600"/>
                <a:gd name="connsiteX138" fmla="*/ 149690 w 419100"/>
                <a:gd name="connsiteY138" fmla="*/ 101766 h 228600"/>
                <a:gd name="connsiteX139" fmla="*/ 149690 w 419100"/>
                <a:gd name="connsiteY139" fmla="*/ 105453 h 228600"/>
                <a:gd name="connsiteX140" fmla="*/ 146001 w 419100"/>
                <a:gd name="connsiteY140" fmla="*/ 109148 h 228600"/>
                <a:gd name="connsiteX141" fmla="*/ 142311 w 419100"/>
                <a:gd name="connsiteY141" fmla="*/ 109148 h 228600"/>
                <a:gd name="connsiteX142" fmla="*/ 138622 w 419100"/>
                <a:gd name="connsiteY142" fmla="*/ 112835 h 228600"/>
                <a:gd name="connsiteX143" fmla="*/ 142311 w 419100"/>
                <a:gd name="connsiteY143" fmla="*/ 112835 h 228600"/>
                <a:gd name="connsiteX144" fmla="*/ 146001 w 419100"/>
                <a:gd name="connsiteY144" fmla="*/ 112835 h 228600"/>
                <a:gd name="connsiteX145" fmla="*/ 138622 w 419100"/>
                <a:gd name="connsiteY145" fmla="*/ 116530 h 228600"/>
                <a:gd name="connsiteX146" fmla="*/ 138622 w 419100"/>
                <a:gd name="connsiteY146" fmla="*/ 112835 h 228600"/>
                <a:gd name="connsiteX147" fmla="*/ 131244 w 419100"/>
                <a:gd name="connsiteY147" fmla="*/ 105453 h 228600"/>
                <a:gd name="connsiteX148" fmla="*/ 127555 w 419100"/>
                <a:gd name="connsiteY148" fmla="*/ 101766 h 228600"/>
                <a:gd name="connsiteX149" fmla="*/ 127555 w 419100"/>
                <a:gd name="connsiteY149" fmla="*/ 98071 h 228600"/>
                <a:gd name="connsiteX150" fmla="*/ 123866 w 419100"/>
                <a:gd name="connsiteY150" fmla="*/ 87003 h 228600"/>
                <a:gd name="connsiteX151" fmla="*/ 123866 w 419100"/>
                <a:gd name="connsiteY151" fmla="*/ 83317 h 228600"/>
                <a:gd name="connsiteX152" fmla="*/ 120176 w 419100"/>
                <a:gd name="connsiteY152" fmla="*/ 83317 h 228600"/>
                <a:gd name="connsiteX153" fmla="*/ 116487 w 419100"/>
                <a:gd name="connsiteY153" fmla="*/ 79621 h 228600"/>
                <a:gd name="connsiteX154" fmla="*/ 109109 w 419100"/>
                <a:gd name="connsiteY154" fmla="*/ 75935 h 228600"/>
                <a:gd name="connsiteX155" fmla="*/ 105420 w 419100"/>
                <a:gd name="connsiteY155" fmla="*/ 72239 h 228600"/>
                <a:gd name="connsiteX156" fmla="*/ 101731 w 419100"/>
                <a:gd name="connsiteY156" fmla="*/ 68553 h 228600"/>
                <a:gd name="connsiteX157" fmla="*/ 101731 w 419100"/>
                <a:gd name="connsiteY157" fmla="*/ 64857 h 228600"/>
                <a:gd name="connsiteX158" fmla="*/ 101731 w 419100"/>
                <a:gd name="connsiteY158" fmla="*/ 57475 h 228600"/>
                <a:gd name="connsiteX159" fmla="*/ 105420 w 419100"/>
                <a:gd name="connsiteY159" fmla="*/ 53789 h 228600"/>
                <a:gd name="connsiteX160" fmla="*/ 101731 w 419100"/>
                <a:gd name="connsiteY160" fmla="*/ 53789 h 228600"/>
                <a:gd name="connsiteX161" fmla="*/ 98041 w 419100"/>
                <a:gd name="connsiteY161" fmla="*/ 53789 h 228600"/>
                <a:gd name="connsiteX162" fmla="*/ 94352 w 419100"/>
                <a:gd name="connsiteY162" fmla="*/ 50093 h 228600"/>
                <a:gd name="connsiteX163" fmla="*/ 83284 w 419100"/>
                <a:gd name="connsiteY163" fmla="*/ 50093 h 228600"/>
                <a:gd name="connsiteX164" fmla="*/ 79595 w 419100"/>
                <a:gd name="connsiteY164" fmla="*/ 50093 h 228600"/>
                <a:gd name="connsiteX165" fmla="*/ 75906 w 419100"/>
                <a:gd name="connsiteY165" fmla="*/ 50093 h 228600"/>
                <a:gd name="connsiteX166" fmla="*/ 68527 w 419100"/>
                <a:gd name="connsiteY166" fmla="*/ 50093 h 228600"/>
                <a:gd name="connsiteX167" fmla="*/ 68527 w 419100"/>
                <a:gd name="connsiteY167" fmla="*/ 53789 h 228600"/>
                <a:gd name="connsiteX168" fmla="*/ 64838 w 419100"/>
                <a:gd name="connsiteY168" fmla="*/ 53789 h 228600"/>
                <a:gd name="connsiteX169" fmla="*/ 61149 w 419100"/>
                <a:gd name="connsiteY169" fmla="*/ 53789 h 228600"/>
                <a:gd name="connsiteX170" fmla="*/ 57460 w 419100"/>
                <a:gd name="connsiteY170" fmla="*/ 57475 h 228600"/>
                <a:gd name="connsiteX171" fmla="*/ 50081 w 419100"/>
                <a:gd name="connsiteY171" fmla="*/ 61171 h 228600"/>
                <a:gd name="connsiteX172" fmla="*/ 46393 w 419100"/>
                <a:gd name="connsiteY172" fmla="*/ 64857 h 228600"/>
                <a:gd name="connsiteX173" fmla="*/ 39014 w 419100"/>
                <a:gd name="connsiteY173" fmla="*/ 68553 h 228600"/>
                <a:gd name="connsiteX174" fmla="*/ 35325 w 419100"/>
                <a:gd name="connsiteY174" fmla="*/ 68553 h 228600"/>
                <a:gd name="connsiteX175" fmla="*/ 31636 w 419100"/>
                <a:gd name="connsiteY175" fmla="*/ 72239 h 228600"/>
                <a:gd name="connsiteX176" fmla="*/ 27947 w 419100"/>
                <a:gd name="connsiteY176" fmla="*/ 75935 h 228600"/>
                <a:gd name="connsiteX177" fmla="*/ 20568 w 419100"/>
                <a:gd name="connsiteY177" fmla="*/ 79621 h 228600"/>
                <a:gd name="connsiteX178" fmla="*/ 16879 w 419100"/>
                <a:gd name="connsiteY178" fmla="*/ 83317 h 228600"/>
                <a:gd name="connsiteX179" fmla="*/ 13190 w 419100"/>
                <a:gd name="connsiteY179" fmla="*/ 83317 h 228600"/>
                <a:gd name="connsiteX180" fmla="*/ 9501 w 419100"/>
                <a:gd name="connsiteY180" fmla="*/ 87003 h 228600"/>
                <a:gd name="connsiteX181" fmla="*/ 5812 w 419100"/>
                <a:gd name="connsiteY181" fmla="*/ 90689 h 228600"/>
                <a:gd name="connsiteX182" fmla="*/ 5812 w 419100"/>
                <a:gd name="connsiteY182" fmla="*/ 94384 h 228600"/>
                <a:gd name="connsiteX183" fmla="*/ 5812 w 419100"/>
                <a:gd name="connsiteY183" fmla="*/ 98071 h 228600"/>
                <a:gd name="connsiteX184" fmla="*/ 5812 w 419100"/>
                <a:gd name="connsiteY184" fmla="*/ 101766 h 228600"/>
                <a:gd name="connsiteX185" fmla="*/ 9501 w 419100"/>
                <a:gd name="connsiteY185" fmla="*/ 109148 h 228600"/>
                <a:gd name="connsiteX186" fmla="*/ 13190 w 419100"/>
                <a:gd name="connsiteY186" fmla="*/ 109148 h 228600"/>
                <a:gd name="connsiteX187" fmla="*/ 16879 w 419100"/>
                <a:gd name="connsiteY187" fmla="*/ 112835 h 228600"/>
                <a:gd name="connsiteX188" fmla="*/ 20568 w 419100"/>
                <a:gd name="connsiteY188" fmla="*/ 116530 h 228600"/>
                <a:gd name="connsiteX189" fmla="*/ 27947 w 419100"/>
                <a:gd name="connsiteY189" fmla="*/ 120216 h 228600"/>
                <a:gd name="connsiteX190" fmla="*/ 27947 w 419100"/>
                <a:gd name="connsiteY190" fmla="*/ 123912 h 228600"/>
                <a:gd name="connsiteX191" fmla="*/ 31636 w 419100"/>
                <a:gd name="connsiteY191" fmla="*/ 123912 h 228600"/>
                <a:gd name="connsiteX192" fmla="*/ 35325 w 419100"/>
                <a:gd name="connsiteY192" fmla="*/ 127598 h 228600"/>
                <a:gd name="connsiteX193" fmla="*/ 39014 w 419100"/>
                <a:gd name="connsiteY193" fmla="*/ 131294 h 228600"/>
                <a:gd name="connsiteX194" fmla="*/ 39014 w 419100"/>
                <a:gd name="connsiteY194" fmla="*/ 134980 h 228600"/>
                <a:gd name="connsiteX195" fmla="*/ 42703 w 419100"/>
                <a:gd name="connsiteY195" fmla="*/ 138666 h 228600"/>
                <a:gd name="connsiteX196" fmla="*/ 42703 w 419100"/>
                <a:gd name="connsiteY196" fmla="*/ 142362 h 228600"/>
                <a:gd name="connsiteX197" fmla="*/ 46393 w 419100"/>
                <a:gd name="connsiteY197" fmla="*/ 146048 h 228600"/>
                <a:gd name="connsiteX198" fmla="*/ 46393 w 419100"/>
                <a:gd name="connsiteY198" fmla="*/ 149744 h 228600"/>
                <a:gd name="connsiteX199" fmla="*/ 50081 w 419100"/>
                <a:gd name="connsiteY199" fmla="*/ 153430 h 228600"/>
                <a:gd name="connsiteX200" fmla="*/ 53771 w 419100"/>
                <a:gd name="connsiteY200" fmla="*/ 157126 h 228600"/>
                <a:gd name="connsiteX201" fmla="*/ 61149 w 419100"/>
                <a:gd name="connsiteY201" fmla="*/ 160812 h 228600"/>
                <a:gd name="connsiteX202" fmla="*/ 61149 w 419100"/>
                <a:gd name="connsiteY202" fmla="*/ 164508 h 228600"/>
                <a:gd name="connsiteX203" fmla="*/ 64838 w 419100"/>
                <a:gd name="connsiteY203" fmla="*/ 164508 h 228600"/>
                <a:gd name="connsiteX204" fmla="*/ 68527 w 419100"/>
                <a:gd name="connsiteY204" fmla="*/ 168194 h 228600"/>
                <a:gd name="connsiteX205" fmla="*/ 68527 w 419100"/>
                <a:gd name="connsiteY205" fmla="*/ 171890 h 228600"/>
                <a:gd name="connsiteX206" fmla="*/ 72216 w 419100"/>
                <a:gd name="connsiteY206" fmla="*/ 171890 h 228600"/>
                <a:gd name="connsiteX207" fmla="*/ 79595 w 419100"/>
                <a:gd name="connsiteY207" fmla="*/ 171890 h 228600"/>
                <a:gd name="connsiteX208" fmla="*/ 83284 w 419100"/>
                <a:gd name="connsiteY208" fmla="*/ 171890 h 228600"/>
                <a:gd name="connsiteX209" fmla="*/ 83284 w 419100"/>
                <a:gd name="connsiteY209" fmla="*/ 168194 h 228600"/>
                <a:gd name="connsiteX210" fmla="*/ 83284 w 419100"/>
                <a:gd name="connsiteY210" fmla="*/ 160812 h 228600"/>
                <a:gd name="connsiteX211" fmla="*/ 86974 w 419100"/>
                <a:gd name="connsiteY211" fmla="*/ 160812 h 228600"/>
                <a:gd name="connsiteX212" fmla="*/ 86974 w 419100"/>
                <a:gd name="connsiteY212" fmla="*/ 168194 h 228600"/>
                <a:gd name="connsiteX213" fmla="*/ 90663 w 419100"/>
                <a:gd name="connsiteY213" fmla="*/ 171890 h 228600"/>
                <a:gd name="connsiteX214" fmla="*/ 94352 w 419100"/>
                <a:gd name="connsiteY214" fmla="*/ 171890 h 228600"/>
                <a:gd name="connsiteX215" fmla="*/ 101731 w 419100"/>
                <a:gd name="connsiteY215" fmla="*/ 171890 h 228600"/>
                <a:gd name="connsiteX216" fmla="*/ 105420 w 419100"/>
                <a:gd name="connsiteY216" fmla="*/ 168194 h 228600"/>
                <a:gd name="connsiteX217" fmla="*/ 105420 w 419100"/>
                <a:gd name="connsiteY217" fmla="*/ 164508 h 228600"/>
                <a:gd name="connsiteX218" fmla="*/ 109109 w 419100"/>
                <a:gd name="connsiteY218" fmla="*/ 164508 h 228600"/>
                <a:gd name="connsiteX219" fmla="*/ 116487 w 419100"/>
                <a:gd name="connsiteY219" fmla="*/ 164508 h 228600"/>
                <a:gd name="connsiteX220" fmla="*/ 120176 w 419100"/>
                <a:gd name="connsiteY220" fmla="*/ 164508 h 228600"/>
                <a:gd name="connsiteX221" fmla="*/ 112798 w 419100"/>
                <a:gd name="connsiteY221" fmla="*/ 160812 h 228600"/>
                <a:gd name="connsiteX222" fmla="*/ 116487 w 419100"/>
                <a:gd name="connsiteY222" fmla="*/ 157126 h 228600"/>
                <a:gd name="connsiteX223" fmla="*/ 123866 w 419100"/>
                <a:gd name="connsiteY223" fmla="*/ 153430 h 228600"/>
                <a:gd name="connsiteX224" fmla="*/ 127555 w 419100"/>
                <a:gd name="connsiteY224" fmla="*/ 153430 h 228600"/>
                <a:gd name="connsiteX225" fmla="*/ 127555 w 419100"/>
                <a:gd name="connsiteY225" fmla="*/ 157126 h 228600"/>
                <a:gd name="connsiteX226" fmla="*/ 138622 w 419100"/>
                <a:gd name="connsiteY226" fmla="*/ 149744 h 228600"/>
                <a:gd name="connsiteX227" fmla="*/ 138622 w 419100"/>
                <a:gd name="connsiteY227" fmla="*/ 146048 h 228600"/>
                <a:gd name="connsiteX228" fmla="*/ 138622 w 419100"/>
                <a:gd name="connsiteY228" fmla="*/ 142362 h 228600"/>
                <a:gd name="connsiteX229" fmla="*/ 142311 w 419100"/>
                <a:gd name="connsiteY229" fmla="*/ 146048 h 228600"/>
                <a:gd name="connsiteX230" fmla="*/ 142311 w 419100"/>
                <a:gd name="connsiteY230" fmla="*/ 149744 h 228600"/>
                <a:gd name="connsiteX231" fmla="*/ 146001 w 419100"/>
                <a:gd name="connsiteY231" fmla="*/ 149744 h 228600"/>
                <a:gd name="connsiteX232" fmla="*/ 142311 w 419100"/>
                <a:gd name="connsiteY232" fmla="*/ 153430 h 228600"/>
                <a:gd name="connsiteX233" fmla="*/ 142311 w 419100"/>
                <a:gd name="connsiteY233" fmla="*/ 160812 h 228600"/>
                <a:gd name="connsiteX234" fmla="*/ 146001 w 419100"/>
                <a:gd name="connsiteY234" fmla="*/ 160812 h 228600"/>
                <a:gd name="connsiteX235" fmla="*/ 142311 w 419100"/>
                <a:gd name="connsiteY235" fmla="*/ 164508 h 228600"/>
                <a:gd name="connsiteX236" fmla="*/ 146001 w 419100"/>
                <a:gd name="connsiteY236" fmla="*/ 168194 h 228600"/>
                <a:gd name="connsiteX237" fmla="*/ 146001 w 419100"/>
                <a:gd name="connsiteY237" fmla="*/ 171890 h 228600"/>
                <a:gd name="connsiteX238" fmla="*/ 142311 w 419100"/>
                <a:gd name="connsiteY238" fmla="*/ 168194 h 228600"/>
                <a:gd name="connsiteX239" fmla="*/ 138622 w 419100"/>
                <a:gd name="connsiteY239" fmla="*/ 171890 h 228600"/>
                <a:gd name="connsiteX240" fmla="*/ 134933 w 419100"/>
                <a:gd name="connsiteY240" fmla="*/ 171890 h 228600"/>
                <a:gd name="connsiteX241" fmla="*/ 138622 w 419100"/>
                <a:gd name="connsiteY241" fmla="*/ 175576 h 228600"/>
                <a:gd name="connsiteX242" fmla="*/ 142311 w 419100"/>
                <a:gd name="connsiteY242" fmla="*/ 179271 h 228600"/>
                <a:gd name="connsiteX243" fmla="*/ 142311 w 419100"/>
                <a:gd name="connsiteY243" fmla="*/ 182958 h 228600"/>
                <a:gd name="connsiteX244" fmla="*/ 146001 w 419100"/>
                <a:gd name="connsiteY244" fmla="*/ 182958 h 228600"/>
                <a:gd name="connsiteX245" fmla="*/ 146001 w 419100"/>
                <a:gd name="connsiteY245" fmla="*/ 190339 h 228600"/>
                <a:gd name="connsiteX246" fmla="*/ 146001 w 419100"/>
                <a:gd name="connsiteY246" fmla="*/ 194026 h 228600"/>
                <a:gd name="connsiteX247" fmla="*/ 149690 w 419100"/>
                <a:gd name="connsiteY247" fmla="*/ 194026 h 228600"/>
                <a:gd name="connsiteX248" fmla="*/ 153379 w 419100"/>
                <a:gd name="connsiteY248" fmla="*/ 197721 h 228600"/>
                <a:gd name="connsiteX249" fmla="*/ 157068 w 419100"/>
                <a:gd name="connsiteY249" fmla="*/ 197721 h 228600"/>
                <a:gd name="connsiteX250" fmla="*/ 157068 w 419100"/>
                <a:gd name="connsiteY250" fmla="*/ 194026 h 228600"/>
                <a:gd name="connsiteX251" fmla="*/ 160757 w 419100"/>
                <a:gd name="connsiteY251" fmla="*/ 194026 h 228600"/>
                <a:gd name="connsiteX252" fmla="*/ 168136 w 419100"/>
                <a:gd name="connsiteY252" fmla="*/ 197721 h 228600"/>
                <a:gd name="connsiteX253" fmla="*/ 171825 w 419100"/>
                <a:gd name="connsiteY253" fmla="*/ 197721 h 228600"/>
                <a:gd name="connsiteX254" fmla="*/ 171825 w 419100"/>
                <a:gd name="connsiteY254" fmla="*/ 201407 h 228600"/>
                <a:gd name="connsiteX255" fmla="*/ 179203 w 419100"/>
                <a:gd name="connsiteY255" fmla="*/ 205103 h 228600"/>
                <a:gd name="connsiteX256" fmla="*/ 179203 w 419100"/>
                <a:gd name="connsiteY256" fmla="*/ 208789 h 228600"/>
                <a:gd name="connsiteX257" fmla="*/ 182892 w 419100"/>
                <a:gd name="connsiteY257" fmla="*/ 208789 h 228600"/>
                <a:gd name="connsiteX258" fmla="*/ 190270 w 419100"/>
                <a:gd name="connsiteY258" fmla="*/ 216171 h 228600"/>
                <a:gd name="connsiteX259" fmla="*/ 193960 w 419100"/>
                <a:gd name="connsiteY259" fmla="*/ 216171 h 228600"/>
                <a:gd name="connsiteX260" fmla="*/ 201338 w 419100"/>
                <a:gd name="connsiteY260" fmla="*/ 216171 h 228600"/>
                <a:gd name="connsiteX261" fmla="*/ 208716 w 419100"/>
                <a:gd name="connsiteY261" fmla="*/ 212485 h 228600"/>
                <a:gd name="connsiteX262" fmla="*/ 212405 w 419100"/>
                <a:gd name="connsiteY262" fmla="*/ 212485 h 228600"/>
                <a:gd name="connsiteX263" fmla="*/ 216095 w 419100"/>
                <a:gd name="connsiteY263" fmla="*/ 208789 h 228600"/>
                <a:gd name="connsiteX264" fmla="*/ 223473 w 419100"/>
                <a:gd name="connsiteY264" fmla="*/ 208789 h 228600"/>
                <a:gd name="connsiteX265" fmla="*/ 227162 w 419100"/>
                <a:gd name="connsiteY265" fmla="*/ 208789 h 228600"/>
                <a:gd name="connsiteX266" fmla="*/ 230852 w 419100"/>
                <a:gd name="connsiteY266" fmla="*/ 212485 h 228600"/>
                <a:gd name="connsiteX267" fmla="*/ 234541 w 419100"/>
                <a:gd name="connsiteY267" fmla="*/ 208789 h 228600"/>
                <a:gd name="connsiteX268" fmla="*/ 238231 w 419100"/>
                <a:gd name="connsiteY268" fmla="*/ 194026 h 228600"/>
                <a:gd name="connsiteX269" fmla="*/ 241920 w 419100"/>
                <a:gd name="connsiteY269" fmla="*/ 194026 h 228600"/>
                <a:gd name="connsiteX270" fmla="*/ 241920 w 419100"/>
                <a:gd name="connsiteY270" fmla="*/ 190339 h 228600"/>
                <a:gd name="connsiteX271" fmla="*/ 241920 w 419100"/>
                <a:gd name="connsiteY271" fmla="*/ 186644 h 228600"/>
                <a:gd name="connsiteX272" fmla="*/ 245609 w 419100"/>
                <a:gd name="connsiteY272" fmla="*/ 186644 h 228600"/>
                <a:gd name="connsiteX273" fmla="*/ 245609 w 419100"/>
                <a:gd name="connsiteY273" fmla="*/ 179271 h 228600"/>
                <a:gd name="connsiteX274" fmla="*/ 245609 w 419100"/>
                <a:gd name="connsiteY274" fmla="*/ 175576 h 228600"/>
                <a:gd name="connsiteX275" fmla="*/ 245609 w 419100"/>
                <a:gd name="connsiteY275" fmla="*/ 171890 h 228600"/>
                <a:gd name="connsiteX276" fmla="*/ 245609 w 419100"/>
                <a:gd name="connsiteY276" fmla="*/ 168194 h 228600"/>
                <a:gd name="connsiteX277" fmla="*/ 245609 w 419100"/>
                <a:gd name="connsiteY277" fmla="*/ 164508 h 228600"/>
                <a:gd name="connsiteX278" fmla="*/ 252987 w 419100"/>
                <a:gd name="connsiteY278" fmla="*/ 168194 h 228600"/>
                <a:gd name="connsiteX279" fmla="*/ 260365 w 419100"/>
                <a:gd name="connsiteY279" fmla="*/ 164508 h 228600"/>
                <a:gd name="connsiteX280" fmla="*/ 264055 w 419100"/>
                <a:gd name="connsiteY280" fmla="*/ 164508 h 228600"/>
                <a:gd name="connsiteX281" fmla="*/ 271433 w 419100"/>
                <a:gd name="connsiteY281" fmla="*/ 157126 h 228600"/>
                <a:gd name="connsiteX282" fmla="*/ 275122 w 419100"/>
                <a:gd name="connsiteY282" fmla="*/ 160812 h 228600"/>
                <a:gd name="connsiteX283" fmla="*/ 278811 w 419100"/>
                <a:gd name="connsiteY283" fmla="*/ 164508 h 228600"/>
                <a:gd name="connsiteX284" fmla="*/ 282500 w 419100"/>
                <a:gd name="connsiteY284" fmla="*/ 168194 h 228600"/>
                <a:gd name="connsiteX285" fmla="*/ 282500 w 419100"/>
                <a:gd name="connsiteY285" fmla="*/ 171890 h 228600"/>
                <a:gd name="connsiteX286" fmla="*/ 286190 w 419100"/>
                <a:gd name="connsiteY286" fmla="*/ 171890 h 228600"/>
                <a:gd name="connsiteX287" fmla="*/ 286190 w 419100"/>
                <a:gd name="connsiteY287" fmla="*/ 175576 h 228600"/>
                <a:gd name="connsiteX288" fmla="*/ 289879 w 419100"/>
                <a:gd name="connsiteY288" fmla="*/ 175576 h 228600"/>
                <a:gd name="connsiteX289" fmla="*/ 293568 w 419100"/>
                <a:gd name="connsiteY289" fmla="*/ 175576 h 228600"/>
                <a:gd name="connsiteX290" fmla="*/ 297257 w 419100"/>
                <a:gd name="connsiteY290" fmla="*/ 179271 h 228600"/>
                <a:gd name="connsiteX291" fmla="*/ 300946 w 419100"/>
                <a:gd name="connsiteY291" fmla="*/ 182958 h 228600"/>
                <a:gd name="connsiteX292" fmla="*/ 308325 w 419100"/>
                <a:gd name="connsiteY292" fmla="*/ 182958 h 228600"/>
                <a:gd name="connsiteX293" fmla="*/ 308325 w 419100"/>
                <a:gd name="connsiteY293" fmla="*/ 186644 h 228600"/>
                <a:gd name="connsiteX294" fmla="*/ 308325 w 419100"/>
                <a:gd name="connsiteY294" fmla="*/ 194026 h 228600"/>
                <a:gd name="connsiteX295" fmla="*/ 315703 w 419100"/>
                <a:gd name="connsiteY295" fmla="*/ 197721 h 228600"/>
                <a:gd name="connsiteX296" fmla="*/ 319392 w 419100"/>
                <a:gd name="connsiteY296" fmla="*/ 197721 h 228600"/>
                <a:gd name="connsiteX297" fmla="*/ 323081 w 419100"/>
                <a:gd name="connsiteY297" fmla="*/ 201407 h 228600"/>
                <a:gd name="connsiteX298" fmla="*/ 326770 w 419100"/>
                <a:gd name="connsiteY298" fmla="*/ 201407 h 228600"/>
                <a:gd name="connsiteX299" fmla="*/ 334149 w 419100"/>
                <a:gd name="connsiteY299" fmla="*/ 205103 h 228600"/>
                <a:gd name="connsiteX300" fmla="*/ 341527 w 419100"/>
                <a:gd name="connsiteY300" fmla="*/ 208789 h 228600"/>
                <a:gd name="connsiteX301" fmla="*/ 348905 w 419100"/>
                <a:gd name="connsiteY301" fmla="*/ 208789 h 228600"/>
                <a:gd name="connsiteX302" fmla="*/ 352594 w 419100"/>
                <a:gd name="connsiteY302" fmla="*/ 212485 h 228600"/>
                <a:gd name="connsiteX303" fmla="*/ 359973 w 419100"/>
                <a:gd name="connsiteY303" fmla="*/ 212485 h 228600"/>
                <a:gd name="connsiteX304" fmla="*/ 371040 w 419100"/>
                <a:gd name="connsiteY304" fmla="*/ 208789 h 228600"/>
                <a:gd name="connsiteX305" fmla="*/ 378419 w 419100"/>
                <a:gd name="connsiteY305" fmla="*/ 205103 h 228600"/>
                <a:gd name="connsiteX306" fmla="*/ 382109 w 419100"/>
                <a:gd name="connsiteY306" fmla="*/ 205103 h 228600"/>
                <a:gd name="connsiteX307" fmla="*/ 385798 w 419100"/>
                <a:gd name="connsiteY307" fmla="*/ 205103 h 228600"/>
                <a:gd name="connsiteX308" fmla="*/ 385798 w 419100"/>
                <a:gd name="connsiteY308" fmla="*/ 208789 h 228600"/>
                <a:gd name="connsiteX309" fmla="*/ 389487 w 419100"/>
                <a:gd name="connsiteY309" fmla="*/ 208789 h 228600"/>
                <a:gd name="connsiteX310" fmla="*/ 393176 w 419100"/>
                <a:gd name="connsiteY310" fmla="*/ 208789 h 228600"/>
                <a:gd name="connsiteX311" fmla="*/ 400555 w 419100"/>
                <a:gd name="connsiteY311" fmla="*/ 212485 h 228600"/>
                <a:gd name="connsiteX312" fmla="*/ 404244 w 419100"/>
                <a:gd name="connsiteY312" fmla="*/ 223553 h 228600"/>
                <a:gd name="connsiteX313" fmla="*/ 404244 w 419100"/>
                <a:gd name="connsiteY313" fmla="*/ 230935 h 228600"/>
                <a:gd name="connsiteX314" fmla="*/ 415311 w 419100"/>
                <a:gd name="connsiteY314" fmla="*/ 230935 h 228600"/>
                <a:gd name="connsiteX315" fmla="*/ 422690 w 419100"/>
                <a:gd name="connsiteY315" fmla="*/ 227249 h 228600"/>
                <a:gd name="connsiteX316" fmla="*/ 419000 w 419100"/>
                <a:gd name="connsiteY316" fmla="*/ 223553 h 228600"/>
                <a:gd name="connsiteX317" fmla="*/ 415311 w 419100"/>
                <a:gd name="connsiteY317" fmla="*/ 223553 h 228600"/>
                <a:gd name="connsiteX318" fmla="*/ 415311 w 419100"/>
                <a:gd name="connsiteY318" fmla="*/ 219867 h 228600"/>
                <a:gd name="connsiteX319" fmla="*/ 419000 w 419100"/>
                <a:gd name="connsiteY319" fmla="*/ 208789 h 228600"/>
                <a:gd name="connsiteX320" fmla="*/ 415311 w 419100"/>
                <a:gd name="connsiteY320" fmla="*/ 197721 h 228600"/>
                <a:gd name="connsiteX321" fmla="*/ 415311 w 419100"/>
                <a:gd name="connsiteY321" fmla="*/ 194026 h 228600"/>
                <a:gd name="connsiteX322" fmla="*/ 422690 w 419100"/>
                <a:gd name="connsiteY322" fmla="*/ 190339 h 228600"/>
                <a:gd name="connsiteX323" fmla="*/ 415311 w 419100"/>
                <a:gd name="connsiteY323" fmla="*/ 179271 h 228600"/>
                <a:gd name="connsiteX324" fmla="*/ 400555 w 419100"/>
                <a:gd name="connsiteY324" fmla="*/ 138666 h 228600"/>
                <a:gd name="connsiteX325" fmla="*/ 393176 w 419100"/>
                <a:gd name="connsiteY325" fmla="*/ 123912 h 228600"/>
                <a:gd name="connsiteX326" fmla="*/ 393176 w 419100"/>
                <a:gd name="connsiteY326" fmla="*/ 120216 h 228600"/>
                <a:gd name="connsiteX327" fmla="*/ 396865 w 419100"/>
                <a:gd name="connsiteY327" fmla="*/ 112835 h 228600"/>
                <a:gd name="connsiteX328" fmla="*/ 400555 w 419100"/>
                <a:gd name="connsiteY328" fmla="*/ 101766 h 228600"/>
                <a:gd name="connsiteX329" fmla="*/ 404244 w 419100"/>
                <a:gd name="connsiteY329" fmla="*/ 94384 h 228600"/>
                <a:gd name="connsiteX330" fmla="*/ 404244 w 419100"/>
                <a:gd name="connsiteY330" fmla="*/ 90689 h 228600"/>
                <a:gd name="connsiteX331" fmla="*/ 400555 w 419100"/>
                <a:gd name="connsiteY331" fmla="*/ 87003 h 228600"/>
                <a:gd name="connsiteX332" fmla="*/ 400555 w 419100"/>
                <a:gd name="connsiteY332" fmla="*/ 79621 h 228600"/>
                <a:gd name="connsiteX333" fmla="*/ 385798 w 419100"/>
                <a:gd name="connsiteY333" fmla="*/ 61171 h 228600"/>
                <a:gd name="connsiteX334" fmla="*/ 382109 w 419100"/>
                <a:gd name="connsiteY334" fmla="*/ 57475 h 228600"/>
                <a:gd name="connsiteX335" fmla="*/ 382109 w 419100"/>
                <a:gd name="connsiteY335" fmla="*/ 53789 h 228600"/>
                <a:gd name="connsiteX336" fmla="*/ 382109 w 419100"/>
                <a:gd name="connsiteY336" fmla="*/ 46407 h 228600"/>
                <a:gd name="connsiteX337" fmla="*/ 382109 w 419100"/>
                <a:gd name="connsiteY337" fmla="*/ 42711 h 228600"/>
                <a:gd name="connsiteX338" fmla="*/ 385798 w 419100"/>
                <a:gd name="connsiteY338" fmla="*/ 35339 h 228600"/>
                <a:gd name="connsiteX339" fmla="*/ 389487 w 419100"/>
                <a:gd name="connsiteY339" fmla="*/ 31643 h 228600"/>
                <a:gd name="connsiteX340" fmla="*/ 393176 w 419100"/>
                <a:gd name="connsiteY340" fmla="*/ 27957 h 228600"/>
                <a:gd name="connsiteX341" fmla="*/ 404244 w 419100"/>
                <a:gd name="connsiteY341" fmla="*/ 24261 h 228600"/>
                <a:gd name="connsiteX342" fmla="*/ 400555 w 419100"/>
                <a:gd name="connsiteY342" fmla="*/ 24261 h 228600"/>
                <a:gd name="connsiteX343" fmla="*/ 393176 w 419100"/>
                <a:gd name="connsiteY343" fmla="*/ 20575 h 228600"/>
                <a:gd name="connsiteX344" fmla="*/ 385798 w 419100"/>
                <a:gd name="connsiteY344" fmla="*/ 20575 h 228600"/>
                <a:gd name="connsiteX345" fmla="*/ 382109 w 419100"/>
                <a:gd name="connsiteY345" fmla="*/ 20575 h 228600"/>
                <a:gd name="connsiteX346" fmla="*/ 378419 w 419100"/>
                <a:gd name="connsiteY346" fmla="*/ 20575 h 228600"/>
                <a:gd name="connsiteX347" fmla="*/ 371040 w 419100"/>
                <a:gd name="connsiteY347" fmla="*/ 16880 h 228600"/>
                <a:gd name="connsiteX348" fmla="*/ 359973 w 419100"/>
                <a:gd name="connsiteY348" fmla="*/ 9498 h 228600"/>
                <a:gd name="connsiteX349" fmla="*/ 356284 w 419100"/>
                <a:gd name="connsiteY349" fmla="*/ 9498 h 228600"/>
                <a:gd name="connsiteX350" fmla="*/ 345216 w 419100"/>
                <a:gd name="connsiteY350" fmla="*/ 5812 h 228600"/>
                <a:gd name="connsiteX351" fmla="*/ 134933 w 419100"/>
                <a:gd name="connsiteY351" fmla="*/ 171890 h 228600"/>
                <a:gd name="connsiteX352" fmla="*/ 138622 w 419100"/>
                <a:gd name="connsiteY352" fmla="*/ 164508 h 228600"/>
                <a:gd name="connsiteX353" fmla="*/ 134933 w 419100"/>
                <a:gd name="connsiteY353" fmla="*/ 168194 h 228600"/>
                <a:gd name="connsiteX354" fmla="*/ 134933 w 419100"/>
                <a:gd name="connsiteY354" fmla="*/ 17189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Lst>
              <a:rect l="l" t="t" r="r" b="b"/>
              <a:pathLst>
                <a:path w="419100" h="228600">
                  <a:moveTo>
                    <a:pt x="345216" y="5812"/>
                  </a:moveTo>
                  <a:lnTo>
                    <a:pt x="345216" y="9498"/>
                  </a:lnTo>
                  <a:lnTo>
                    <a:pt x="337838" y="16880"/>
                  </a:lnTo>
                  <a:lnTo>
                    <a:pt x="334149" y="16880"/>
                  </a:lnTo>
                  <a:lnTo>
                    <a:pt x="337838" y="24261"/>
                  </a:lnTo>
                  <a:lnTo>
                    <a:pt x="341527" y="24261"/>
                  </a:lnTo>
                  <a:lnTo>
                    <a:pt x="345216" y="31643"/>
                  </a:lnTo>
                  <a:lnTo>
                    <a:pt x="348905" y="39025"/>
                  </a:lnTo>
                  <a:lnTo>
                    <a:pt x="356284" y="39025"/>
                  </a:lnTo>
                  <a:lnTo>
                    <a:pt x="363662" y="39025"/>
                  </a:lnTo>
                  <a:lnTo>
                    <a:pt x="367351" y="39025"/>
                  </a:lnTo>
                  <a:lnTo>
                    <a:pt x="371040" y="39025"/>
                  </a:lnTo>
                  <a:lnTo>
                    <a:pt x="371040" y="35339"/>
                  </a:lnTo>
                  <a:lnTo>
                    <a:pt x="374730" y="35339"/>
                  </a:lnTo>
                  <a:lnTo>
                    <a:pt x="374730" y="39025"/>
                  </a:lnTo>
                  <a:lnTo>
                    <a:pt x="374730" y="42711"/>
                  </a:lnTo>
                  <a:lnTo>
                    <a:pt x="371040" y="46407"/>
                  </a:lnTo>
                  <a:lnTo>
                    <a:pt x="367351" y="46407"/>
                  </a:lnTo>
                  <a:lnTo>
                    <a:pt x="363662" y="46407"/>
                  </a:lnTo>
                  <a:lnTo>
                    <a:pt x="359973" y="46407"/>
                  </a:lnTo>
                  <a:lnTo>
                    <a:pt x="356284" y="46407"/>
                  </a:lnTo>
                  <a:lnTo>
                    <a:pt x="352594" y="46407"/>
                  </a:lnTo>
                  <a:lnTo>
                    <a:pt x="348905" y="50093"/>
                  </a:lnTo>
                  <a:lnTo>
                    <a:pt x="345216" y="50093"/>
                  </a:lnTo>
                  <a:lnTo>
                    <a:pt x="337838" y="42711"/>
                  </a:lnTo>
                  <a:lnTo>
                    <a:pt x="323081" y="39025"/>
                  </a:lnTo>
                  <a:lnTo>
                    <a:pt x="319392" y="39025"/>
                  </a:lnTo>
                  <a:lnTo>
                    <a:pt x="312014" y="42711"/>
                  </a:lnTo>
                  <a:lnTo>
                    <a:pt x="308325" y="46407"/>
                  </a:lnTo>
                  <a:lnTo>
                    <a:pt x="304635" y="46407"/>
                  </a:lnTo>
                  <a:lnTo>
                    <a:pt x="297257" y="50093"/>
                  </a:lnTo>
                  <a:lnTo>
                    <a:pt x="293568" y="53789"/>
                  </a:lnTo>
                  <a:lnTo>
                    <a:pt x="289879" y="50093"/>
                  </a:lnTo>
                  <a:lnTo>
                    <a:pt x="282500" y="53789"/>
                  </a:lnTo>
                  <a:lnTo>
                    <a:pt x="278811" y="57475"/>
                  </a:lnTo>
                  <a:lnTo>
                    <a:pt x="278811" y="64857"/>
                  </a:lnTo>
                  <a:lnTo>
                    <a:pt x="282500" y="64857"/>
                  </a:lnTo>
                  <a:lnTo>
                    <a:pt x="282500" y="68553"/>
                  </a:lnTo>
                  <a:lnTo>
                    <a:pt x="286190" y="68553"/>
                  </a:lnTo>
                  <a:lnTo>
                    <a:pt x="289879" y="68553"/>
                  </a:lnTo>
                  <a:lnTo>
                    <a:pt x="293568" y="72239"/>
                  </a:lnTo>
                  <a:lnTo>
                    <a:pt x="297257" y="75935"/>
                  </a:lnTo>
                  <a:lnTo>
                    <a:pt x="300946" y="75935"/>
                  </a:lnTo>
                  <a:lnTo>
                    <a:pt x="300946" y="79621"/>
                  </a:lnTo>
                  <a:lnTo>
                    <a:pt x="300946" y="83317"/>
                  </a:lnTo>
                  <a:lnTo>
                    <a:pt x="304635" y="87003"/>
                  </a:lnTo>
                  <a:lnTo>
                    <a:pt x="308325" y="87003"/>
                  </a:lnTo>
                  <a:lnTo>
                    <a:pt x="312014" y="90689"/>
                  </a:lnTo>
                  <a:lnTo>
                    <a:pt x="315703" y="94384"/>
                  </a:lnTo>
                  <a:lnTo>
                    <a:pt x="315703" y="101766"/>
                  </a:lnTo>
                  <a:lnTo>
                    <a:pt x="319392" y="105453"/>
                  </a:lnTo>
                  <a:lnTo>
                    <a:pt x="323081" y="105453"/>
                  </a:lnTo>
                  <a:lnTo>
                    <a:pt x="323081" y="109148"/>
                  </a:lnTo>
                  <a:lnTo>
                    <a:pt x="326770" y="109148"/>
                  </a:lnTo>
                  <a:lnTo>
                    <a:pt x="330460" y="109148"/>
                  </a:lnTo>
                  <a:lnTo>
                    <a:pt x="345216" y="109148"/>
                  </a:lnTo>
                  <a:lnTo>
                    <a:pt x="348905" y="109148"/>
                  </a:lnTo>
                  <a:lnTo>
                    <a:pt x="352594" y="109148"/>
                  </a:lnTo>
                  <a:lnTo>
                    <a:pt x="356284" y="112835"/>
                  </a:lnTo>
                  <a:lnTo>
                    <a:pt x="359973" y="112835"/>
                  </a:lnTo>
                  <a:lnTo>
                    <a:pt x="359973" y="109148"/>
                  </a:lnTo>
                  <a:lnTo>
                    <a:pt x="367351" y="112835"/>
                  </a:lnTo>
                  <a:lnTo>
                    <a:pt x="374730" y="116530"/>
                  </a:lnTo>
                  <a:lnTo>
                    <a:pt x="371040" y="120216"/>
                  </a:lnTo>
                  <a:lnTo>
                    <a:pt x="371040" y="123912"/>
                  </a:lnTo>
                  <a:lnTo>
                    <a:pt x="371040" y="127598"/>
                  </a:lnTo>
                  <a:lnTo>
                    <a:pt x="374730" y="127598"/>
                  </a:lnTo>
                  <a:lnTo>
                    <a:pt x="389487" y="134980"/>
                  </a:lnTo>
                  <a:lnTo>
                    <a:pt x="393176" y="138666"/>
                  </a:lnTo>
                  <a:lnTo>
                    <a:pt x="393176" y="160812"/>
                  </a:lnTo>
                  <a:lnTo>
                    <a:pt x="393176" y="164508"/>
                  </a:lnTo>
                  <a:lnTo>
                    <a:pt x="396865" y="179271"/>
                  </a:lnTo>
                  <a:lnTo>
                    <a:pt x="393176" y="179271"/>
                  </a:lnTo>
                  <a:lnTo>
                    <a:pt x="389487" y="179271"/>
                  </a:lnTo>
                  <a:lnTo>
                    <a:pt x="385798" y="179271"/>
                  </a:lnTo>
                  <a:lnTo>
                    <a:pt x="382109" y="175576"/>
                  </a:lnTo>
                  <a:lnTo>
                    <a:pt x="378419" y="175576"/>
                  </a:lnTo>
                  <a:lnTo>
                    <a:pt x="374730" y="175576"/>
                  </a:lnTo>
                  <a:lnTo>
                    <a:pt x="371040" y="175576"/>
                  </a:lnTo>
                  <a:lnTo>
                    <a:pt x="367351" y="179271"/>
                  </a:lnTo>
                  <a:lnTo>
                    <a:pt x="363662" y="179271"/>
                  </a:lnTo>
                  <a:lnTo>
                    <a:pt x="359973" y="182958"/>
                  </a:lnTo>
                  <a:lnTo>
                    <a:pt x="356284" y="182958"/>
                  </a:lnTo>
                  <a:lnTo>
                    <a:pt x="352594" y="182958"/>
                  </a:lnTo>
                  <a:lnTo>
                    <a:pt x="348905" y="182958"/>
                  </a:lnTo>
                  <a:lnTo>
                    <a:pt x="348905" y="179271"/>
                  </a:lnTo>
                  <a:lnTo>
                    <a:pt x="345216" y="179271"/>
                  </a:lnTo>
                  <a:lnTo>
                    <a:pt x="334149" y="171890"/>
                  </a:lnTo>
                  <a:lnTo>
                    <a:pt x="330460" y="171890"/>
                  </a:lnTo>
                  <a:lnTo>
                    <a:pt x="326770" y="160812"/>
                  </a:lnTo>
                  <a:lnTo>
                    <a:pt x="323081" y="160812"/>
                  </a:lnTo>
                  <a:lnTo>
                    <a:pt x="315703" y="149744"/>
                  </a:lnTo>
                  <a:lnTo>
                    <a:pt x="315703" y="146048"/>
                  </a:lnTo>
                  <a:lnTo>
                    <a:pt x="312014" y="142362"/>
                  </a:lnTo>
                  <a:lnTo>
                    <a:pt x="315703" y="138666"/>
                  </a:lnTo>
                  <a:lnTo>
                    <a:pt x="312014" y="134980"/>
                  </a:lnTo>
                  <a:lnTo>
                    <a:pt x="312014" y="131294"/>
                  </a:lnTo>
                  <a:lnTo>
                    <a:pt x="312014" y="127598"/>
                  </a:lnTo>
                  <a:lnTo>
                    <a:pt x="308325" y="127598"/>
                  </a:lnTo>
                  <a:lnTo>
                    <a:pt x="304635" y="123912"/>
                  </a:lnTo>
                  <a:lnTo>
                    <a:pt x="297257" y="116530"/>
                  </a:lnTo>
                  <a:lnTo>
                    <a:pt x="293568" y="112835"/>
                  </a:lnTo>
                  <a:lnTo>
                    <a:pt x="289879" y="112835"/>
                  </a:lnTo>
                  <a:lnTo>
                    <a:pt x="286190" y="112835"/>
                  </a:lnTo>
                  <a:lnTo>
                    <a:pt x="282500" y="109148"/>
                  </a:lnTo>
                  <a:lnTo>
                    <a:pt x="278811" y="109148"/>
                  </a:lnTo>
                  <a:lnTo>
                    <a:pt x="271433" y="105453"/>
                  </a:lnTo>
                  <a:lnTo>
                    <a:pt x="267744" y="105453"/>
                  </a:lnTo>
                  <a:lnTo>
                    <a:pt x="264055" y="101766"/>
                  </a:lnTo>
                  <a:lnTo>
                    <a:pt x="260365" y="105453"/>
                  </a:lnTo>
                  <a:lnTo>
                    <a:pt x="256676" y="105453"/>
                  </a:lnTo>
                  <a:lnTo>
                    <a:pt x="256676" y="109148"/>
                  </a:lnTo>
                  <a:lnTo>
                    <a:pt x="249298" y="98071"/>
                  </a:lnTo>
                  <a:lnTo>
                    <a:pt x="252987" y="98071"/>
                  </a:lnTo>
                  <a:lnTo>
                    <a:pt x="249298" y="94384"/>
                  </a:lnTo>
                  <a:lnTo>
                    <a:pt x="249298" y="90689"/>
                  </a:lnTo>
                  <a:lnTo>
                    <a:pt x="245609" y="90689"/>
                  </a:lnTo>
                  <a:lnTo>
                    <a:pt x="241920" y="90689"/>
                  </a:lnTo>
                  <a:lnTo>
                    <a:pt x="238231" y="90689"/>
                  </a:lnTo>
                  <a:lnTo>
                    <a:pt x="234541" y="94384"/>
                  </a:lnTo>
                  <a:lnTo>
                    <a:pt x="230852" y="94384"/>
                  </a:lnTo>
                  <a:lnTo>
                    <a:pt x="227162" y="94384"/>
                  </a:lnTo>
                  <a:lnTo>
                    <a:pt x="219784" y="94384"/>
                  </a:lnTo>
                  <a:lnTo>
                    <a:pt x="216095" y="94384"/>
                  </a:lnTo>
                  <a:lnTo>
                    <a:pt x="212405" y="94384"/>
                  </a:lnTo>
                  <a:lnTo>
                    <a:pt x="208716" y="94384"/>
                  </a:lnTo>
                  <a:lnTo>
                    <a:pt x="208716" y="90689"/>
                  </a:lnTo>
                  <a:lnTo>
                    <a:pt x="205027" y="87003"/>
                  </a:lnTo>
                  <a:lnTo>
                    <a:pt x="197649" y="87003"/>
                  </a:lnTo>
                  <a:lnTo>
                    <a:pt x="190270" y="90689"/>
                  </a:lnTo>
                  <a:lnTo>
                    <a:pt x="186581" y="90689"/>
                  </a:lnTo>
                  <a:lnTo>
                    <a:pt x="182892" y="94384"/>
                  </a:lnTo>
                  <a:lnTo>
                    <a:pt x="171825" y="90689"/>
                  </a:lnTo>
                  <a:lnTo>
                    <a:pt x="168136" y="90689"/>
                  </a:lnTo>
                  <a:lnTo>
                    <a:pt x="164446" y="87003"/>
                  </a:lnTo>
                  <a:lnTo>
                    <a:pt x="160757" y="90689"/>
                  </a:lnTo>
                  <a:lnTo>
                    <a:pt x="153379" y="94384"/>
                  </a:lnTo>
                  <a:lnTo>
                    <a:pt x="153379" y="98071"/>
                  </a:lnTo>
                  <a:lnTo>
                    <a:pt x="149690" y="101766"/>
                  </a:lnTo>
                  <a:lnTo>
                    <a:pt x="149690" y="105453"/>
                  </a:lnTo>
                  <a:lnTo>
                    <a:pt x="146001" y="109148"/>
                  </a:lnTo>
                  <a:lnTo>
                    <a:pt x="142311" y="109148"/>
                  </a:lnTo>
                  <a:lnTo>
                    <a:pt x="138622" y="112835"/>
                  </a:lnTo>
                  <a:lnTo>
                    <a:pt x="142311" y="112835"/>
                  </a:lnTo>
                  <a:lnTo>
                    <a:pt x="146001" y="112835"/>
                  </a:lnTo>
                  <a:lnTo>
                    <a:pt x="138622" y="116530"/>
                  </a:lnTo>
                  <a:lnTo>
                    <a:pt x="138622" y="112835"/>
                  </a:lnTo>
                  <a:lnTo>
                    <a:pt x="131244" y="105453"/>
                  </a:lnTo>
                  <a:lnTo>
                    <a:pt x="127555" y="101766"/>
                  </a:lnTo>
                  <a:lnTo>
                    <a:pt x="127555" y="98071"/>
                  </a:lnTo>
                  <a:lnTo>
                    <a:pt x="123866" y="87003"/>
                  </a:lnTo>
                  <a:lnTo>
                    <a:pt x="123866" y="83317"/>
                  </a:lnTo>
                  <a:lnTo>
                    <a:pt x="120176" y="83317"/>
                  </a:lnTo>
                  <a:lnTo>
                    <a:pt x="116487" y="79621"/>
                  </a:lnTo>
                  <a:lnTo>
                    <a:pt x="109109" y="75935"/>
                  </a:lnTo>
                  <a:lnTo>
                    <a:pt x="105420" y="72239"/>
                  </a:lnTo>
                  <a:lnTo>
                    <a:pt x="101731" y="68553"/>
                  </a:lnTo>
                  <a:lnTo>
                    <a:pt x="101731" y="64857"/>
                  </a:lnTo>
                  <a:lnTo>
                    <a:pt x="101731" y="57475"/>
                  </a:lnTo>
                  <a:lnTo>
                    <a:pt x="105420" y="53789"/>
                  </a:lnTo>
                  <a:lnTo>
                    <a:pt x="101731" y="53789"/>
                  </a:lnTo>
                  <a:lnTo>
                    <a:pt x="98041" y="53789"/>
                  </a:lnTo>
                  <a:lnTo>
                    <a:pt x="94352" y="50093"/>
                  </a:lnTo>
                  <a:lnTo>
                    <a:pt x="83284" y="50093"/>
                  </a:lnTo>
                  <a:lnTo>
                    <a:pt x="79595" y="50093"/>
                  </a:lnTo>
                  <a:lnTo>
                    <a:pt x="75906" y="50093"/>
                  </a:lnTo>
                  <a:lnTo>
                    <a:pt x="68527" y="50093"/>
                  </a:lnTo>
                  <a:lnTo>
                    <a:pt x="68527" y="53789"/>
                  </a:lnTo>
                  <a:lnTo>
                    <a:pt x="64838" y="53789"/>
                  </a:lnTo>
                  <a:lnTo>
                    <a:pt x="61149" y="53789"/>
                  </a:lnTo>
                  <a:lnTo>
                    <a:pt x="57460" y="57475"/>
                  </a:lnTo>
                  <a:lnTo>
                    <a:pt x="50081" y="61171"/>
                  </a:lnTo>
                  <a:lnTo>
                    <a:pt x="46393" y="64857"/>
                  </a:lnTo>
                  <a:lnTo>
                    <a:pt x="39014" y="68553"/>
                  </a:lnTo>
                  <a:lnTo>
                    <a:pt x="35325" y="68553"/>
                  </a:lnTo>
                  <a:lnTo>
                    <a:pt x="31636" y="72239"/>
                  </a:lnTo>
                  <a:lnTo>
                    <a:pt x="27947" y="75935"/>
                  </a:lnTo>
                  <a:lnTo>
                    <a:pt x="20568" y="79621"/>
                  </a:lnTo>
                  <a:lnTo>
                    <a:pt x="16879" y="83317"/>
                  </a:lnTo>
                  <a:lnTo>
                    <a:pt x="13190" y="83317"/>
                  </a:lnTo>
                  <a:lnTo>
                    <a:pt x="9501" y="87003"/>
                  </a:lnTo>
                  <a:lnTo>
                    <a:pt x="5812" y="90689"/>
                  </a:lnTo>
                  <a:lnTo>
                    <a:pt x="5812" y="94384"/>
                  </a:lnTo>
                  <a:lnTo>
                    <a:pt x="5812" y="98071"/>
                  </a:lnTo>
                  <a:lnTo>
                    <a:pt x="5812" y="101766"/>
                  </a:lnTo>
                  <a:lnTo>
                    <a:pt x="9501" y="109148"/>
                  </a:lnTo>
                  <a:lnTo>
                    <a:pt x="13190" y="109148"/>
                  </a:lnTo>
                  <a:lnTo>
                    <a:pt x="16879" y="112835"/>
                  </a:lnTo>
                  <a:lnTo>
                    <a:pt x="20568" y="116530"/>
                  </a:lnTo>
                  <a:lnTo>
                    <a:pt x="27947" y="120216"/>
                  </a:lnTo>
                  <a:lnTo>
                    <a:pt x="27947" y="123912"/>
                  </a:lnTo>
                  <a:lnTo>
                    <a:pt x="31636" y="123912"/>
                  </a:lnTo>
                  <a:lnTo>
                    <a:pt x="35325" y="127598"/>
                  </a:lnTo>
                  <a:lnTo>
                    <a:pt x="39014" y="131294"/>
                  </a:lnTo>
                  <a:lnTo>
                    <a:pt x="39014" y="134980"/>
                  </a:lnTo>
                  <a:lnTo>
                    <a:pt x="42703" y="138666"/>
                  </a:lnTo>
                  <a:lnTo>
                    <a:pt x="42703" y="142362"/>
                  </a:lnTo>
                  <a:lnTo>
                    <a:pt x="46393" y="146048"/>
                  </a:lnTo>
                  <a:lnTo>
                    <a:pt x="46393" y="149744"/>
                  </a:lnTo>
                  <a:lnTo>
                    <a:pt x="50081" y="153430"/>
                  </a:lnTo>
                  <a:lnTo>
                    <a:pt x="53771" y="157126"/>
                  </a:lnTo>
                  <a:lnTo>
                    <a:pt x="61149" y="160812"/>
                  </a:lnTo>
                  <a:lnTo>
                    <a:pt x="61149" y="164508"/>
                  </a:lnTo>
                  <a:lnTo>
                    <a:pt x="64838" y="164508"/>
                  </a:lnTo>
                  <a:lnTo>
                    <a:pt x="68527" y="168194"/>
                  </a:lnTo>
                  <a:lnTo>
                    <a:pt x="68527" y="171890"/>
                  </a:lnTo>
                  <a:lnTo>
                    <a:pt x="72216" y="171890"/>
                  </a:lnTo>
                  <a:lnTo>
                    <a:pt x="79595" y="171890"/>
                  </a:lnTo>
                  <a:lnTo>
                    <a:pt x="83284" y="171890"/>
                  </a:lnTo>
                  <a:lnTo>
                    <a:pt x="83284" y="168194"/>
                  </a:lnTo>
                  <a:lnTo>
                    <a:pt x="83284" y="160812"/>
                  </a:lnTo>
                  <a:lnTo>
                    <a:pt x="86974" y="160812"/>
                  </a:lnTo>
                  <a:lnTo>
                    <a:pt x="86974" y="168194"/>
                  </a:lnTo>
                  <a:lnTo>
                    <a:pt x="90663" y="171890"/>
                  </a:lnTo>
                  <a:lnTo>
                    <a:pt x="94352" y="171890"/>
                  </a:lnTo>
                  <a:lnTo>
                    <a:pt x="101731" y="171890"/>
                  </a:lnTo>
                  <a:lnTo>
                    <a:pt x="105420" y="168194"/>
                  </a:lnTo>
                  <a:lnTo>
                    <a:pt x="105420" y="164508"/>
                  </a:lnTo>
                  <a:lnTo>
                    <a:pt x="109109" y="164508"/>
                  </a:lnTo>
                  <a:lnTo>
                    <a:pt x="116487" y="164508"/>
                  </a:lnTo>
                  <a:lnTo>
                    <a:pt x="120176" y="164508"/>
                  </a:lnTo>
                  <a:lnTo>
                    <a:pt x="112798" y="160812"/>
                  </a:lnTo>
                  <a:lnTo>
                    <a:pt x="116487" y="157126"/>
                  </a:lnTo>
                  <a:lnTo>
                    <a:pt x="123866" y="153430"/>
                  </a:lnTo>
                  <a:lnTo>
                    <a:pt x="127555" y="153430"/>
                  </a:lnTo>
                  <a:lnTo>
                    <a:pt x="127555" y="157126"/>
                  </a:lnTo>
                  <a:lnTo>
                    <a:pt x="138622" y="149744"/>
                  </a:lnTo>
                  <a:lnTo>
                    <a:pt x="138622" y="146048"/>
                  </a:lnTo>
                  <a:lnTo>
                    <a:pt x="138622" y="142362"/>
                  </a:lnTo>
                  <a:lnTo>
                    <a:pt x="142311" y="146048"/>
                  </a:lnTo>
                  <a:lnTo>
                    <a:pt x="142311" y="149744"/>
                  </a:lnTo>
                  <a:lnTo>
                    <a:pt x="146001" y="149744"/>
                  </a:lnTo>
                  <a:lnTo>
                    <a:pt x="142311" y="153430"/>
                  </a:lnTo>
                  <a:lnTo>
                    <a:pt x="142311" y="160812"/>
                  </a:lnTo>
                  <a:lnTo>
                    <a:pt x="146001" y="160812"/>
                  </a:lnTo>
                  <a:lnTo>
                    <a:pt x="142311" y="164508"/>
                  </a:lnTo>
                  <a:lnTo>
                    <a:pt x="146001" y="168194"/>
                  </a:lnTo>
                  <a:lnTo>
                    <a:pt x="146001" y="171890"/>
                  </a:lnTo>
                  <a:lnTo>
                    <a:pt x="142311" y="168194"/>
                  </a:lnTo>
                  <a:lnTo>
                    <a:pt x="138622" y="171890"/>
                  </a:lnTo>
                  <a:lnTo>
                    <a:pt x="134933" y="171890"/>
                  </a:lnTo>
                  <a:lnTo>
                    <a:pt x="138622" y="175576"/>
                  </a:lnTo>
                  <a:lnTo>
                    <a:pt x="142311" y="179271"/>
                  </a:lnTo>
                  <a:lnTo>
                    <a:pt x="142311" y="182958"/>
                  </a:lnTo>
                  <a:lnTo>
                    <a:pt x="146001" y="182958"/>
                  </a:lnTo>
                  <a:lnTo>
                    <a:pt x="146001" y="190339"/>
                  </a:lnTo>
                  <a:lnTo>
                    <a:pt x="146001" y="194026"/>
                  </a:lnTo>
                  <a:lnTo>
                    <a:pt x="149690" y="194026"/>
                  </a:lnTo>
                  <a:lnTo>
                    <a:pt x="153379" y="197721"/>
                  </a:lnTo>
                  <a:lnTo>
                    <a:pt x="157068" y="197721"/>
                  </a:lnTo>
                  <a:lnTo>
                    <a:pt x="157068" y="194026"/>
                  </a:lnTo>
                  <a:lnTo>
                    <a:pt x="160757" y="194026"/>
                  </a:lnTo>
                  <a:lnTo>
                    <a:pt x="168136" y="197721"/>
                  </a:lnTo>
                  <a:lnTo>
                    <a:pt x="171825" y="197721"/>
                  </a:lnTo>
                  <a:lnTo>
                    <a:pt x="171825" y="201407"/>
                  </a:lnTo>
                  <a:lnTo>
                    <a:pt x="179203" y="205103"/>
                  </a:lnTo>
                  <a:lnTo>
                    <a:pt x="179203" y="208789"/>
                  </a:lnTo>
                  <a:lnTo>
                    <a:pt x="182892" y="208789"/>
                  </a:lnTo>
                  <a:lnTo>
                    <a:pt x="190270" y="216171"/>
                  </a:lnTo>
                  <a:lnTo>
                    <a:pt x="193960" y="216171"/>
                  </a:lnTo>
                  <a:lnTo>
                    <a:pt x="201338" y="216171"/>
                  </a:lnTo>
                  <a:lnTo>
                    <a:pt x="208716" y="212485"/>
                  </a:lnTo>
                  <a:lnTo>
                    <a:pt x="212405" y="212485"/>
                  </a:lnTo>
                  <a:lnTo>
                    <a:pt x="216095" y="208789"/>
                  </a:lnTo>
                  <a:lnTo>
                    <a:pt x="223473" y="208789"/>
                  </a:lnTo>
                  <a:lnTo>
                    <a:pt x="227162" y="208789"/>
                  </a:lnTo>
                  <a:lnTo>
                    <a:pt x="230852" y="212485"/>
                  </a:lnTo>
                  <a:lnTo>
                    <a:pt x="234541" y="208789"/>
                  </a:lnTo>
                  <a:lnTo>
                    <a:pt x="238231" y="194026"/>
                  </a:lnTo>
                  <a:lnTo>
                    <a:pt x="241920" y="194026"/>
                  </a:lnTo>
                  <a:lnTo>
                    <a:pt x="241920" y="190339"/>
                  </a:lnTo>
                  <a:lnTo>
                    <a:pt x="241920" y="186644"/>
                  </a:lnTo>
                  <a:lnTo>
                    <a:pt x="245609" y="186644"/>
                  </a:lnTo>
                  <a:lnTo>
                    <a:pt x="245609" y="179271"/>
                  </a:lnTo>
                  <a:lnTo>
                    <a:pt x="245609" y="175576"/>
                  </a:lnTo>
                  <a:lnTo>
                    <a:pt x="245609" y="171890"/>
                  </a:lnTo>
                  <a:lnTo>
                    <a:pt x="245609" y="168194"/>
                  </a:lnTo>
                  <a:lnTo>
                    <a:pt x="245609" y="164508"/>
                  </a:lnTo>
                  <a:lnTo>
                    <a:pt x="252987" y="168194"/>
                  </a:lnTo>
                  <a:lnTo>
                    <a:pt x="260365" y="164508"/>
                  </a:lnTo>
                  <a:lnTo>
                    <a:pt x="264055" y="164508"/>
                  </a:lnTo>
                  <a:lnTo>
                    <a:pt x="271433" y="157126"/>
                  </a:lnTo>
                  <a:lnTo>
                    <a:pt x="275122" y="160812"/>
                  </a:lnTo>
                  <a:lnTo>
                    <a:pt x="278811" y="164508"/>
                  </a:lnTo>
                  <a:lnTo>
                    <a:pt x="282500" y="168194"/>
                  </a:lnTo>
                  <a:lnTo>
                    <a:pt x="282500" y="171890"/>
                  </a:lnTo>
                  <a:lnTo>
                    <a:pt x="286190" y="171890"/>
                  </a:lnTo>
                  <a:lnTo>
                    <a:pt x="286190" y="175576"/>
                  </a:lnTo>
                  <a:lnTo>
                    <a:pt x="289879" y="175576"/>
                  </a:lnTo>
                  <a:lnTo>
                    <a:pt x="293568" y="175576"/>
                  </a:lnTo>
                  <a:lnTo>
                    <a:pt x="297257" y="179271"/>
                  </a:lnTo>
                  <a:lnTo>
                    <a:pt x="300946" y="182958"/>
                  </a:lnTo>
                  <a:lnTo>
                    <a:pt x="308325" y="182958"/>
                  </a:lnTo>
                  <a:lnTo>
                    <a:pt x="308325" y="186644"/>
                  </a:lnTo>
                  <a:lnTo>
                    <a:pt x="308325" y="194026"/>
                  </a:lnTo>
                  <a:lnTo>
                    <a:pt x="315703" y="197721"/>
                  </a:lnTo>
                  <a:lnTo>
                    <a:pt x="319392" y="197721"/>
                  </a:lnTo>
                  <a:lnTo>
                    <a:pt x="323081" y="201407"/>
                  </a:lnTo>
                  <a:lnTo>
                    <a:pt x="326770" y="201407"/>
                  </a:lnTo>
                  <a:lnTo>
                    <a:pt x="334149" y="205103"/>
                  </a:lnTo>
                  <a:lnTo>
                    <a:pt x="341527" y="208789"/>
                  </a:lnTo>
                  <a:lnTo>
                    <a:pt x="348905" y="208789"/>
                  </a:lnTo>
                  <a:lnTo>
                    <a:pt x="352594" y="212485"/>
                  </a:lnTo>
                  <a:lnTo>
                    <a:pt x="359973" y="212485"/>
                  </a:lnTo>
                  <a:lnTo>
                    <a:pt x="371040" y="208789"/>
                  </a:lnTo>
                  <a:lnTo>
                    <a:pt x="378419" y="205103"/>
                  </a:lnTo>
                  <a:lnTo>
                    <a:pt x="382109" y="205103"/>
                  </a:lnTo>
                  <a:lnTo>
                    <a:pt x="385798" y="205103"/>
                  </a:lnTo>
                  <a:lnTo>
                    <a:pt x="385798" y="208789"/>
                  </a:lnTo>
                  <a:lnTo>
                    <a:pt x="389487" y="208789"/>
                  </a:lnTo>
                  <a:lnTo>
                    <a:pt x="393176" y="208789"/>
                  </a:lnTo>
                  <a:lnTo>
                    <a:pt x="400555" y="212485"/>
                  </a:lnTo>
                  <a:lnTo>
                    <a:pt x="404244" y="223553"/>
                  </a:lnTo>
                  <a:lnTo>
                    <a:pt x="404244" y="230935"/>
                  </a:lnTo>
                  <a:lnTo>
                    <a:pt x="415311" y="230935"/>
                  </a:lnTo>
                  <a:lnTo>
                    <a:pt x="422690" y="227249"/>
                  </a:lnTo>
                  <a:lnTo>
                    <a:pt x="419000" y="223553"/>
                  </a:lnTo>
                  <a:lnTo>
                    <a:pt x="415311" y="223553"/>
                  </a:lnTo>
                  <a:lnTo>
                    <a:pt x="415311" y="219867"/>
                  </a:lnTo>
                  <a:lnTo>
                    <a:pt x="419000" y="208789"/>
                  </a:lnTo>
                  <a:lnTo>
                    <a:pt x="415311" y="197721"/>
                  </a:lnTo>
                  <a:lnTo>
                    <a:pt x="415311" y="194026"/>
                  </a:lnTo>
                  <a:lnTo>
                    <a:pt x="422690" y="190339"/>
                  </a:lnTo>
                  <a:lnTo>
                    <a:pt x="415311" y="179271"/>
                  </a:lnTo>
                  <a:lnTo>
                    <a:pt x="400555" y="138666"/>
                  </a:lnTo>
                  <a:lnTo>
                    <a:pt x="393176" y="123912"/>
                  </a:lnTo>
                  <a:lnTo>
                    <a:pt x="393176" y="120216"/>
                  </a:lnTo>
                  <a:lnTo>
                    <a:pt x="396865" y="112835"/>
                  </a:lnTo>
                  <a:lnTo>
                    <a:pt x="400555" y="101766"/>
                  </a:lnTo>
                  <a:lnTo>
                    <a:pt x="404244" y="94384"/>
                  </a:lnTo>
                  <a:lnTo>
                    <a:pt x="404244" y="90689"/>
                  </a:lnTo>
                  <a:lnTo>
                    <a:pt x="400555" y="87003"/>
                  </a:lnTo>
                  <a:lnTo>
                    <a:pt x="400555" y="79621"/>
                  </a:lnTo>
                  <a:lnTo>
                    <a:pt x="385798" y="61171"/>
                  </a:lnTo>
                  <a:lnTo>
                    <a:pt x="382109" y="57475"/>
                  </a:lnTo>
                  <a:lnTo>
                    <a:pt x="382109" y="53789"/>
                  </a:lnTo>
                  <a:lnTo>
                    <a:pt x="382109" y="46407"/>
                  </a:lnTo>
                  <a:lnTo>
                    <a:pt x="382109" y="42711"/>
                  </a:lnTo>
                  <a:lnTo>
                    <a:pt x="385798" y="35339"/>
                  </a:lnTo>
                  <a:lnTo>
                    <a:pt x="389487" y="31643"/>
                  </a:lnTo>
                  <a:lnTo>
                    <a:pt x="393176" y="27957"/>
                  </a:lnTo>
                  <a:lnTo>
                    <a:pt x="404244" y="24261"/>
                  </a:lnTo>
                  <a:lnTo>
                    <a:pt x="400555" y="24261"/>
                  </a:lnTo>
                  <a:lnTo>
                    <a:pt x="393176" y="20575"/>
                  </a:lnTo>
                  <a:lnTo>
                    <a:pt x="385798" y="20575"/>
                  </a:lnTo>
                  <a:lnTo>
                    <a:pt x="382109" y="20575"/>
                  </a:lnTo>
                  <a:lnTo>
                    <a:pt x="378419" y="20575"/>
                  </a:lnTo>
                  <a:lnTo>
                    <a:pt x="371040" y="16880"/>
                  </a:lnTo>
                  <a:lnTo>
                    <a:pt x="359973" y="9498"/>
                  </a:lnTo>
                  <a:lnTo>
                    <a:pt x="356284" y="9498"/>
                  </a:lnTo>
                  <a:lnTo>
                    <a:pt x="345216" y="5812"/>
                  </a:lnTo>
                  <a:close/>
                  <a:moveTo>
                    <a:pt x="134933" y="171890"/>
                  </a:moveTo>
                  <a:lnTo>
                    <a:pt x="138622" y="164508"/>
                  </a:lnTo>
                  <a:lnTo>
                    <a:pt x="134933" y="168194"/>
                  </a:lnTo>
                  <a:lnTo>
                    <a:pt x="134933" y="171890"/>
                  </a:lnTo>
                  <a:close/>
                </a:path>
              </a:pathLst>
            </a:custGeom>
            <a:solidFill>
              <a:srgbClr val="EC6224"/>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64</a:t>
              </a:r>
            </a:p>
          </p:txBody>
        </p:sp>
      </p:grpSp>
      <p:grpSp>
        <p:nvGrpSpPr>
          <p:cNvPr id="36" name="Group 35">
            <a:extLst>
              <a:ext uri="{FF2B5EF4-FFF2-40B4-BE49-F238E27FC236}">
                <a16:creationId xmlns:a16="http://schemas.microsoft.com/office/drawing/2014/main" id="{5067CA91-681A-450E-AE7B-548F1B25E4A5}"/>
              </a:ext>
            </a:extLst>
          </p:cNvPr>
          <p:cNvGrpSpPr/>
          <p:nvPr/>
        </p:nvGrpSpPr>
        <p:grpSpPr>
          <a:xfrm>
            <a:off x="7701717" y="2413315"/>
            <a:ext cx="3068866" cy="3609270"/>
            <a:chOff x="7701717" y="2413315"/>
            <a:chExt cx="3068866" cy="3609270"/>
          </a:xfrm>
        </p:grpSpPr>
        <p:sp>
          <p:nvSpPr>
            <p:cNvPr id="327" name="Freeform: Shape 326">
              <a:extLst>
                <a:ext uri="{FF2B5EF4-FFF2-40B4-BE49-F238E27FC236}">
                  <a16:creationId xmlns:a16="http://schemas.microsoft.com/office/drawing/2014/main" id="{D8D87E6F-DE59-4160-8AD0-29695809266E}"/>
                </a:ext>
              </a:extLst>
            </p:cNvPr>
            <p:cNvSpPr/>
            <p:nvPr/>
          </p:nvSpPr>
          <p:spPr>
            <a:xfrm>
              <a:off x="9291453" y="2597958"/>
              <a:ext cx="860870" cy="799379"/>
            </a:xfrm>
            <a:custGeom>
              <a:avLst/>
              <a:gdLst>
                <a:gd name="connsiteX0" fmla="*/ 407938 w 533400"/>
                <a:gd name="connsiteY0" fmla="*/ 5812 h 495300"/>
                <a:gd name="connsiteX1" fmla="*/ 389488 w 533400"/>
                <a:gd name="connsiteY1" fmla="*/ 13192 h 495300"/>
                <a:gd name="connsiteX2" fmla="*/ 385802 w 533400"/>
                <a:gd name="connsiteY2" fmla="*/ 13192 h 495300"/>
                <a:gd name="connsiteX3" fmla="*/ 378420 w 533400"/>
                <a:gd name="connsiteY3" fmla="*/ 9502 h 495300"/>
                <a:gd name="connsiteX4" fmla="*/ 367352 w 533400"/>
                <a:gd name="connsiteY4" fmla="*/ 9502 h 495300"/>
                <a:gd name="connsiteX5" fmla="*/ 367352 w 533400"/>
                <a:gd name="connsiteY5" fmla="*/ 13192 h 495300"/>
                <a:gd name="connsiteX6" fmla="*/ 363666 w 533400"/>
                <a:gd name="connsiteY6" fmla="*/ 13192 h 495300"/>
                <a:gd name="connsiteX7" fmla="*/ 359970 w 533400"/>
                <a:gd name="connsiteY7" fmla="*/ 13192 h 495300"/>
                <a:gd name="connsiteX8" fmla="*/ 356284 w 533400"/>
                <a:gd name="connsiteY8" fmla="*/ 9502 h 495300"/>
                <a:gd name="connsiteX9" fmla="*/ 341530 w 533400"/>
                <a:gd name="connsiteY9" fmla="*/ 13192 h 495300"/>
                <a:gd name="connsiteX10" fmla="*/ 334148 w 533400"/>
                <a:gd name="connsiteY10" fmla="*/ 13192 h 495300"/>
                <a:gd name="connsiteX11" fmla="*/ 330462 w 533400"/>
                <a:gd name="connsiteY11" fmla="*/ 13192 h 495300"/>
                <a:gd name="connsiteX12" fmla="*/ 326775 w 533400"/>
                <a:gd name="connsiteY12" fmla="*/ 16883 h 495300"/>
                <a:gd name="connsiteX13" fmla="*/ 312012 w 533400"/>
                <a:gd name="connsiteY13" fmla="*/ 20573 h 495300"/>
                <a:gd name="connsiteX14" fmla="*/ 308326 w 533400"/>
                <a:gd name="connsiteY14" fmla="*/ 20573 h 495300"/>
                <a:gd name="connsiteX15" fmla="*/ 304639 w 533400"/>
                <a:gd name="connsiteY15" fmla="*/ 20573 h 495300"/>
                <a:gd name="connsiteX16" fmla="*/ 289876 w 533400"/>
                <a:gd name="connsiteY16" fmla="*/ 27955 h 495300"/>
                <a:gd name="connsiteX17" fmla="*/ 282503 w 533400"/>
                <a:gd name="connsiteY17" fmla="*/ 27955 h 495300"/>
                <a:gd name="connsiteX18" fmla="*/ 278808 w 533400"/>
                <a:gd name="connsiteY18" fmla="*/ 27955 h 495300"/>
                <a:gd name="connsiteX19" fmla="*/ 275121 w 533400"/>
                <a:gd name="connsiteY19" fmla="*/ 27955 h 495300"/>
                <a:gd name="connsiteX20" fmla="*/ 271435 w 533400"/>
                <a:gd name="connsiteY20" fmla="*/ 27955 h 495300"/>
                <a:gd name="connsiteX21" fmla="*/ 271435 w 533400"/>
                <a:gd name="connsiteY21" fmla="*/ 24264 h 495300"/>
                <a:gd name="connsiteX22" fmla="*/ 267749 w 533400"/>
                <a:gd name="connsiteY22" fmla="*/ 20573 h 495300"/>
                <a:gd name="connsiteX23" fmla="*/ 267749 w 533400"/>
                <a:gd name="connsiteY23" fmla="*/ 27955 h 495300"/>
                <a:gd name="connsiteX24" fmla="*/ 260367 w 533400"/>
                <a:gd name="connsiteY24" fmla="*/ 31645 h 495300"/>
                <a:gd name="connsiteX25" fmla="*/ 252985 w 533400"/>
                <a:gd name="connsiteY25" fmla="*/ 35336 h 495300"/>
                <a:gd name="connsiteX26" fmla="*/ 249299 w 533400"/>
                <a:gd name="connsiteY26" fmla="*/ 39027 h 495300"/>
                <a:gd name="connsiteX27" fmla="*/ 241917 w 533400"/>
                <a:gd name="connsiteY27" fmla="*/ 42717 h 495300"/>
                <a:gd name="connsiteX28" fmla="*/ 238231 w 533400"/>
                <a:gd name="connsiteY28" fmla="*/ 46408 h 495300"/>
                <a:gd name="connsiteX29" fmla="*/ 230849 w 533400"/>
                <a:gd name="connsiteY29" fmla="*/ 50098 h 495300"/>
                <a:gd name="connsiteX30" fmla="*/ 223477 w 533400"/>
                <a:gd name="connsiteY30" fmla="*/ 50098 h 495300"/>
                <a:gd name="connsiteX31" fmla="*/ 212409 w 533400"/>
                <a:gd name="connsiteY31" fmla="*/ 57480 h 495300"/>
                <a:gd name="connsiteX32" fmla="*/ 197655 w 533400"/>
                <a:gd name="connsiteY32" fmla="*/ 64861 h 495300"/>
                <a:gd name="connsiteX33" fmla="*/ 190273 w 533400"/>
                <a:gd name="connsiteY33" fmla="*/ 68551 h 495300"/>
                <a:gd name="connsiteX34" fmla="*/ 171823 w 533400"/>
                <a:gd name="connsiteY34" fmla="*/ 79623 h 495300"/>
                <a:gd name="connsiteX35" fmla="*/ 160755 w 533400"/>
                <a:gd name="connsiteY35" fmla="*/ 79623 h 495300"/>
                <a:gd name="connsiteX36" fmla="*/ 157069 w 533400"/>
                <a:gd name="connsiteY36" fmla="*/ 83314 h 495300"/>
                <a:gd name="connsiteX37" fmla="*/ 149687 w 533400"/>
                <a:gd name="connsiteY37" fmla="*/ 87004 h 495300"/>
                <a:gd name="connsiteX38" fmla="*/ 146000 w 533400"/>
                <a:gd name="connsiteY38" fmla="*/ 87004 h 495300"/>
                <a:gd name="connsiteX39" fmla="*/ 142314 w 533400"/>
                <a:gd name="connsiteY39" fmla="*/ 90695 h 495300"/>
                <a:gd name="connsiteX40" fmla="*/ 134932 w 533400"/>
                <a:gd name="connsiteY40" fmla="*/ 94385 h 495300"/>
                <a:gd name="connsiteX41" fmla="*/ 127560 w 533400"/>
                <a:gd name="connsiteY41" fmla="*/ 98075 h 495300"/>
                <a:gd name="connsiteX42" fmla="*/ 123864 w 533400"/>
                <a:gd name="connsiteY42" fmla="*/ 101766 h 495300"/>
                <a:gd name="connsiteX43" fmla="*/ 116492 w 533400"/>
                <a:gd name="connsiteY43" fmla="*/ 109147 h 495300"/>
                <a:gd name="connsiteX44" fmla="*/ 112796 w 533400"/>
                <a:gd name="connsiteY44" fmla="*/ 116528 h 495300"/>
                <a:gd name="connsiteX45" fmla="*/ 109110 w 533400"/>
                <a:gd name="connsiteY45" fmla="*/ 120219 h 495300"/>
                <a:gd name="connsiteX46" fmla="*/ 109110 w 533400"/>
                <a:gd name="connsiteY46" fmla="*/ 123910 h 495300"/>
                <a:gd name="connsiteX47" fmla="*/ 105424 w 533400"/>
                <a:gd name="connsiteY47" fmla="*/ 123910 h 495300"/>
                <a:gd name="connsiteX48" fmla="*/ 105424 w 533400"/>
                <a:gd name="connsiteY48" fmla="*/ 127600 h 495300"/>
                <a:gd name="connsiteX49" fmla="*/ 98042 w 533400"/>
                <a:gd name="connsiteY49" fmla="*/ 131291 h 495300"/>
                <a:gd name="connsiteX50" fmla="*/ 94356 w 533400"/>
                <a:gd name="connsiteY50" fmla="*/ 134981 h 495300"/>
                <a:gd name="connsiteX51" fmla="*/ 90660 w 533400"/>
                <a:gd name="connsiteY51" fmla="*/ 134981 h 495300"/>
                <a:gd name="connsiteX52" fmla="*/ 83288 w 533400"/>
                <a:gd name="connsiteY52" fmla="*/ 142363 h 495300"/>
                <a:gd name="connsiteX53" fmla="*/ 79592 w 533400"/>
                <a:gd name="connsiteY53" fmla="*/ 146053 h 495300"/>
                <a:gd name="connsiteX54" fmla="*/ 75906 w 533400"/>
                <a:gd name="connsiteY54" fmla="*/ 146053 h 495300"/>
                <a:gd name="connsiteX55" fmla="*/ 72220 w 533400"/>
                <a:gd name="connsiteY55" fmla="*/ 149744 h 495300"/>
                <a:gd name="connsiteX56" fmla="*/ 68524 w 533400"/>
                <a:gd name="connsiteY56" fmla="*/ 157125 h 495300"/>
                <a:gd name="connsiteX57" fmla="*/ 64838 w 533400"/>
                <a:gd name="connsiteY57" fmla="*/ 157125 h 495300"/>
                <a:gd name="connsiteX58" fmla="*/ 61152 w 533400"/>
                <a:gd name="connsiteY58" fmla="*/ 160816 h 495300"/>
                <a:gd name="connsiteX59" fmla="*/ 57466 w 533400"/>
                <a:gd name="connsiteY59" fmla="*/ 168197 h 495300"/>
                <a:gd name="connsiteX60" fmla="*/ 53770 w 533400"/>
                <a:gd name="connsiteY60" fmla="*/ 179268 h 495300"/>
                <a:gd name="connsiteX61" fmla="*/ 50084 w 533400"/>
                <a:gd name="connsiteY61" fmla="*/ 182958 h 495300"/>
                <a:gd name="connsiteX62" fmla="*/ 50084 w 533400"/>
                <a:gd name="connsiteY62" fmla="*/ 186649 h 495300"/>
                <a:gd name="connsiteX63" fmla="*/ 53770 w 533400"/>
                <a:gd name="connsiteY63" fmla="*/ 186649 h 495300"/>
                <a:gd name="connsiteX64" fmla="*/ 50084 w 533400"/>
                <a:gd name="connsiteY64" fmla="*/ 190340 h 495300"/>
                <a:gd name="connsiteX65" fmla="*/ 46398 w 533400"/>
                <a:gd name="connsiteY65" fmla="*/ 194030 h 495300"/>
                <a:gd name="connsiteX66" fmla="*/ 42702 w 533400"/>
                <a:gd name="connsiteY66" fmla="*/ 197721 h 495300"/>
                <a:gd name="connsiteX67" fmla="*/ 42702 w 533400"/>
                <a:gd name="connsiteY67" fmla="*/ 201411 h 495300"/>
                <a:gd name="connsiteX68" fmla="*/ 46398 w 533400"/>
                <a:gd name="connsiteY68" fmla="*/ 201411 h 495300"/>
                <a:gd name="connsiteX69" fmla="*/ 46398 w 533400"/>
                <a:gd name="connsiteY69" fmla="*/ 208793 h 495300"/>
                <a:gd name="connsiteX70" fmla="*/ 42702 w 533400"/>
                <a:gd name="connsiteY70" fmla="*/ 216174 h 495300"/>
                <a:gd name="connsiteX71" fmla="*/ 42702 w 533400"/>
                <a:gd name="connsiteY71" fmla="*/ 227246 h 495300"/>
                <a:gd name="connsiteX72" fmla="*/ 42702 w 533400"/>
                <a:gd name="connsiteY72" fmla="*/ 234627 h 495300"/>
                <a:gd name="connsiteX73" fmla="*/ 42702 w 533400"/>
                <a:gd name="connsiteY73" fmla="*/ 238318 h 495300"/>
                <a:gd name="connsiteX74" fmla="*/ 39016 w 533400"/>
                <a:gd name="connsiteY74" fmla="*/ 242008 h 495300"/>
                <a:gd name="connsiteX75" fmla="*/ 39016 w 533400"/>
                <a:gd name="connsiteY75" fmla="*/ 245699 h 495300"/>
                <a:gd name="connsiteX76" fmla="*/ 31634 w 533400"/>
                <a:gd name="connsiteY76" fmla="*/ 249389 h 495300"/>
                <a:gd name="connsiteX77" fmla="*/ 27948 w 533400"/>
                <a:gd name="connsiteY77" fmla="*/ 249389 h 495300"/>
                <a:gd name="connsiteX78" fmla="*/ 31634 w 533400"/>
                <a:gd name="connsiteY78" fmla="*/ 253080 h 495300"/>
                <a:gd name="connsiteX79" fmla="*/ 27948 w 533400"/>
                <a:gd name="connsiteY79" fmla="*/ 256771 h 495300"/>
                <a:gd name="connsiteX80" fmla="*/ 27948 w 533400"/>
                <a:gd name="connsiteY80" fmla="*/ 260461 h 495300"/>
                <a:gd name="connsiteX81" fmla="*/ 24261 w 533400"/>
                <a:gd name="connsiteY81" fmla="*/ 264151 h 495300"/>
                <a:gd name="connsiteX82" fmla="*/ 27948 w 533400"/>
                <a:gd name="connsiteY82" fmla="*/ 264151 h 495300"/>
                <a:gd name="connsiteX83" fmla="*/ 31634 w 533400"/>
                <a:gd name="connsiteY83" fmla="*/ 267841 h 495300"/>
                <a:gd name="connsiteX84" fmla="*/ 35330 w 533400"/>
                <a:gd name="connsiteY84" fmla="*/ 275223 h 495300"/>
                <a:gd name="connsiteX85" fmla="*/ 35330 w 533400"/>
                <a:gd name="connsiteY85" fmla="*/ 278913 h 495300"/>
                <a:gd name="connsiteX86" fmla="*/ 35330 w 533400"/>
                <a:gd name="connsiteY86" fmla="*/ 282604 h 495300"/>
                <a:gd name="connsiteX87" fmla="*/ 35330 w 533400"/>
                <a:gd name="connsiteY87" fmla="*/ 286295 h 495300"/>
                <a:gd name="connsiteX88" fmla="*/ 39016 w 533400"/>
                <a:gd name="connsiteY88" fmla="*/ 293676 h 495300"/>
                <a:gd name="connsiteX89" fmla="*/ 35330 w 533400"/>
                <a:gd name="connsiteY89" fmla="*/ 293676 h 495300"/>
                <a:gd name="connsiteX90" fmla="*/ 39016 w 533400"/>
                <a:gd name="connsiteY90" fmla="*/ 297366 h 495300"/>
                <a:gd name="connsiteX91" fmla="*/ 35330 w 533400"/>
                <a:gd name="connsiteY91" fmla="*/ 297366 h 495300"/>
                <a:gd name="connsiteX92" fmla="*/ 35330 w 533400"/>
                <a:gd name="connsiteY92" fmla="*/ 293676 h 495300"/>
                <a:gd name="connsiteX93" fmla="*/ 27948 w 533400"/>
                <a:gd name="connsiteY93" fmla="*/ 293676 h 495300"/>
                <a:gd name="connsiteX94" fmla="*/ 27948 w 533400"/>
                <a:gd name="connsiteY94" fmla="*/ 297366 h 495300"/>
                <a:gd name="connsiteX95" fmla="*/ 27948 w 533400"/>
                <a:gd name="connsiteY95" fmla="*/ 301057 h 495300"/>
                <a:gd name="connsiteX96" fmla="*/ 31634 w 533400"/>
                <a:gd name="connsiteY96" fmla="*/ 301057 h 495300"/>
                <a:gd name="connsiteX97" fmla="*/ 35330 w 533400"/>
                <a:gd name="connsiteY97" fmla="*/ 301057 h 495300"/>
                <a:gd name="connsiteX98" fmla="*/ 35330 w 533400"/>
                <a:gd name="connsiteY98" fmla="*/ 308438 h 495300"/>
                <a:gd name="connsiteX99" fmla="*/ 35330 w 533400"/>
                <a:gd name="connsiteY99" fmla="*/ 312129 h 495300"/>
                <a:gd name="connsiteX100" fmla="*/ 39016 w 533400"/>
                <a:gd name="connsiteY100" fmla="*/ 308438 h 495300"/>
                <a:gd name="connsiteX101" fmla="*/ 39016 w 533400"/>
                <a:gd name="connsiteY101" fmla="*/ 312129 h 495300"/>
                <a:gd name="connsiteX102" fmla="*/ 35330 w 533400"/>
                <a:gd name="connsiteY102" fmla="*/ 312129 h 495300"/>
                <a:gd name="connsiteX103" fmla="*/ 35330 w 533400"/>
                <a:gd name="connsiteY103" fmla="*/ 315819 h 495300"/>
                <a:gd name="connsiteX104" fmla="*/ 39016 w 533400"/>
                <a:gd name="connsiteY104" fmla="*/ 315819 h 495300"/>
                <a:gd name="connsiteX105" fmla="*/ 42702 w 533400"/>
                <a:gd name="connsiteY105" fmla="*/ 319510 h 495300"/>
                <a:gd name="connsiteX106" fmla="*/ 42702 w 533400"/>
                <a:gd name="connsiteY106" fmla="*/ 323201 h 495300"/>
                <a:gd name="connsiteX107" fmla="*/ 42702 w 533400"/>
                <a:gd name="connsiteY107" fmla="*/ 326891 h 495300"/>
                <a:gd name="connsiteX108" fmla="*/ 42702 w 533400"/>
                <a:gd name="connsiteY108" fmla="*/ 330582 h 495300"/>
                <a:gd name="connsiteX109" fmla="*/ 39016 w 533400"/>
                <a:gd name="connsiteY109" fmla="*/ 334272 h 495300"/>
                <a:gd name="connsiteX110" fmla="*/ 39016 w 533400"/>
                <a:gd name="connsiteY110" fmla="*/ 341654 h 495300"/>
                <a:gd name="connsiteX111" fmla="*/ 42702 w 533400"/>
                <a:gd name="connsiteY111" fmla="*/ 352725 h 495300"/>
                <a:gd name="connsiteX112" fmla="*/ 42702 w 533400"/>
                <a:gd name="connsiteY112" fmla="*/ 360106 h 495300"/>
                <a:gd name="connsiteX113" fmla="*/ 46398 w 533400"/>
                <a:gd name="connsiteY113" fmla="*/ 363796 h 495300"/>
                <a:gd name="connsiteX114" fmla="*/ 46398 w 533400"/>
                <a:gd name="connsiteY114" fmla="*/ 365065 h 495300"/>
                <a:gd name="connsiteX115" fmla="*/ 53770 w 533400"/>
                <a:gd name="connsiteY115" fmla="*/ 360106 h 495300"/>
                <a:gd name="connsiteX116" fmla="*/ 46398 w 533400"/>
                <a:gd name="connsiteY116" fmla="*/ 367487 h 495300"/>
                <a:gd name="connsiteX117" fmla="*/ 46398 w 533400"/>
                <a:gd name="connsiteY117" fmla="*/ 365065 h 495300"/>
                <a:gd name="connsiteX118" fmla="*/ 42702 w 533400"/>
                <a:gd name="connsiteY118" fmla="*/ 367487 h 495300"/>
                <a:gd name="connsiteX119" fmla="*/ 42702 w 533400"/>
                <a:gd name="connsiteY119" fmla="*/ 371178 h 495300"/>
                <a:gd name="connsiteX120" fmla="*/ 42702 w 533400"/>
                <a:gd name="connsiteY120" fmla="*/ 378559 h 495300"/>
                <a:gd name="connsiteX121" fmla="*/ 39016 w 533400"/>
                <a:gd name="connsiteY121" fmla="*/ 378559 h 495300"/>
                <a:gd name="connsiteX122" fmla="*/ 35330 w 533400"/>
                <a:gd name="connsiteY122" fmla="*/ 382249 h 495300"/>
                <a:gd name="connsiteX123" fmla="*/ 39016 w 533400"/>
                <a:gd name="connsiteY123" fmla="*/ 385940 h 495300"/>
                <a:gd name="connsiteX124" fmla="*/ 42702 w 533400"/>
                <a:gd name="connsiteY124" fmla="*/ 393321 h 495300"/>
                <a:gd name="connsiteX125" fmla="*/ 42702 w 533400"/>
                <a:gd name="connsiteY125" fmla="*/ 397012 h 495300"/>
                <a:gd name="connsiteX126" fmla="*/ 42702 w 533400"/>
                <a:gd name="connsiteY126" fmla="*/ 404393 h 495300"/>
                <a:gd name="connsiteX127" fmla="*/ 42702 w 533400"/>
                <a:gd name="connsiteY127" fmla="*/ 408084 h 495300"/>
                <a:gd name="connsiteX128" fmla="*/ 39016 w 533400"/>
                <a:gd name="connsiteY128" fmla="*/ 411774 h 495300"/>
                <a:gd name="connsiteX129" fmla="*/ 35330 w 533400"/>
                <a:gd name="connsiteY129" fmla="*/ 411774 h 495300"/>
                <a:gd name="connsiteX130" fmla="*/ 31634 w 533400"/>
                <a:gd name="connsiteY130" fmla="*/ 411774 h 495300"/>
                <a:gd name="connsiteX131" fmla="*/ 24261 w 533400"/>
                <a:gd name="connsiteY131" fmla="*/ 419156 h 495300"/>
                <a:gd name="connsiteX132" fmla="*/ 20566 w 533400"/>
                <a:gd name="connsiteY132" fmla="*/ 422846 h 495300"/>
                <a:gd name="connsiteX133" fmla="*/ 16880 w 533400"/>
                <a:gd name="connsiteY133" fmla="*/ 426537 h 495300"/>
                <a:gd name="connsiteX134" fmla="*/ 20566 w 533400"/>
                <a:gd name="connsiteY134" fmla="*/ 430227 h 495300"/>
                <a:gd name="connsiteX135" fmla="*/ 20566 w 533400"/>
                <a:gd name="connsiteY135" fmla="*/ 433917 h 495300"/>
                <a:gd name="connsiteX136" fmla="*/ 20566 w 533400"/>
                <a:gd name="connsiteY136" fmla="*/ 437608 h 495300"/>
                <a:gd name="connsiteX137" fmla="*/ 27948 w 533400"/>
                <a:gd name="connsiteY137" fmla="*/ 437608 h 495300"/>
                <a:gd name="connsiteX138" fmla="*/ 27948 w 533400"/>
                <a:gd name="connsiteY138" fmla="*/ 441298 h 495300"/>
                <a:gd name="connsiteX139" fmla="*/ 31634 w 533400"/>
                <a:gd name="connsiteY139" fmla="*/ 441298 h 495300"/>
                <a:gd name="connsiteX140" fmla="*/ 39016 w 533400"/>
                <a:gd name="connsiteY140" fmla="*/ 448679 h 495300"/>
                <a:gd name="connsiteX141" fmla="*/ 46398 w 533400"/>
                <a:gd name="connsiteY141" fmla="*/ 456061 h 495300"/>
                <a:gd name="connsiteX142" fmla="*/ 50084 w 533400"/>
                <a:gd name="connsiteY142" fmla="*/ 456061 h 495300"/>
                <a:gd name="connsiteX143" fmla="*/ 53770 w 533400"/>
                <a:gd name="connsiteY143" fmla="*/ 456061 h 495300"/>
                <a:gd name="connsiteX144" fmla="*/ 57466 w 533400"/>
                <a:gd name="connsiteY144" fmla="*/ 456061 h 495300"/>
                <a:gd name="connsiteX145" fmla="*/ 64838 w 533400"/>
                <a:gd name="connsiteY145" fmla="*/ 456061 h 495300"/>
                <a:gd name="connsiteX146" fmla="*/ 64838 w 533400"/>
                <a:gd name="connsiteY146" fmla="*/ 452370 h 495300"/>
                <a:gd name="connsiteX147" fmla="*/ 75906 w 533400"/>
                <a:gd name="connsiteY147" fmla="*/ 456061 h 495300"/>
                <a:gd name="connsiteX148" fmla="*/ 83288 w 533400"/>
                <a:gd name="connsiteY148" fmla="*/ 456061 h 495300"/>
                <a:gd name="connsiteX149" fmla="*/ 86974 w 533400"/>
                <a:gd name="connsiteY149" fmla="*/ 459751 h 495300"/>
                <a:gd name="connsiteX150" fmla="*/ 101728 w 533400"/>
                <a:gd name="connsiteY150" fmla="*/ 467133 h 495300"/>
                <a:gd name="connsiteX151" fmla="*/ 109110 w 533400"/>
                <a:gd name="connsiteY151" fmla="*/ 467133 h 495300"/>
                <a:gd name="connsiteX152" fmla="*/ 109110 w 533400"/>
                <a:gd name="connsiteY152" fmla="*/ 470823 h 495300"/>
                <a:gd name="connsiteX153" fmla="*/ 116492 w 533400"/>
                <a:gd name="connsiteY153" fmla="*/ 470823 h 495300"/>
                <a:gd name="connsiteX154" fmla="*/ 120178 w 533400"/>
                <a:gd name="connsiteY154" fmla="*/ 467133 h 495300"/>
                <a:gd name="connsiteX155" fmla="*/ 123864 w 533400"/>
                <a:gd name="connsiteY155" fmla="*/ 467133 h 495300"/>
                <a:gd name="connsiteX156" fmla="*/ 123864 w 533400"/>
                <a:gd name="connsiteY156" fmla="*/ 463442 h 495300"/>
                <a:gd name="connsiteX157" fmla="*/ 127560 w 533400"/>
                <a:gd name="connsiteY157" fmla="*/ 459751 h 495300"/>
                <a:gd name="connsiteX158" fmla="*/ 127560 w 533400"/>
                <a:gd name="connsiteY158" fmla="*/ 456061 h 495300"/>
                <a:gd name="connsiteX159" fmla="*/ 134932 w 533400"/>
                <a:gd name="connsiteY159" fmla="*/ 452370 h 495300"/>
                <a:gd name="connsiteX160" fmla="*/ 142314 w 533400"/>
                <a:gd name="connsiteY160" fmla="*/ 456061 h 495300"/>
                <a:gd name="connsiteX161" fmla="*/ 146000 w 533400"/>
                <a:gd name="connsiteY161" fmla="*/ 452370 h 495300"/>
                <a:gd name="connsiteX162" fmla="*/ 153382 w 533400"/>
                <a:gd name="connsiteY162" fmla="*/ 448679 h 495300"/>
                <a:gd name="connsiteX163" fmla="*/ 157069 w 533400"/>
                <a:gd name="connsiteY163" fmla="*/ 448679 h 495300"/>
                <a:gd name="connsiteX164" fmla="*/ 160755 w 533400"/>
                <a:gd name="connsiteY164" fmla="*/ 452370 h 495300"/>
                <a:gd name="connsiteX165" fmla="*/ 160755 w 533400"/>
                <a:gd name="connsiteY165" fmla="*/ 459751 h 495300"/>
                <a:gd name="connsiteX166" fmla="*/ 164450 w 533400"/>
                <a:gd name="connsiteY166" fmla="*/ 459751 h 495300"/>
                <a:gd name="connsiteX167" fmla="*/ 168137 w 533400"/>
                <a:gd name="connsiteY167" fmla="*/ 459751 h 495300"/>
                <a:gd name="connsiteX168" fmla="*/ 175518 w 533400"/>
                <a:gd name="connsiteY168" fmla="*/ 459751 h 495300"/>
                <a:gd name="connsiteX169" fmla="*/ 179205 w 533400"/>
                <a:gd name="connsiteY169" fmla="*/ 459751 h 495300"/>
                <a:gd name="connsiteX170" fmla="*/ 182891 w 533400"/>
                <a:gd name="connsiteY170" fmla="*/ 459751 h 495300"/>
                <a:gd name="connsiteX171" fmla="*/ 182891 w 533400"/>
                <a:gd name="connsiteY171" fmla="*/ 463442 h 495300"/>
                <a:gd name="connsiteX172" fmla="*/ 186587 w 533400"/>
                <a:gd name="connsiteY172" fmla="*/ 463442 h 495300"/>
                <a:gd name="connsiteX173" fmla="*/ 190273 w 533400"/>
                <a:gd name="connsiteY173" fmla="*/ 459751 h 495300"/>
                <a:gd name="connsiteX174" fmla="*/ 190273 w 533400"/>
                <a:gd name="connsiteY174" fmla="*/ 463442 h 495300"/>
                <a:gd name="connsiteX175" fmla="*/ 197655 w 533400"/>
                <a:gd name="connsiteY175" fmla="*/ 467133 h 495300"/>
                <a:gd name="connsiteX176" fmla="*/ 193959 w 533400"/>
                <a:gd name="connsiteY176" fmla="*/ 459751 h 495300"/>
                <a:gd name="connsiteX177" fmla="*/ 205027 w 533400"/>
                <a:gd name="connsiteY177" fmla="*/ 463442 h 495300"/>
                <a:gd name="connsiteX178" fmla="*/ 208713 w 533400"/>
                <a:gd name="connsiteY178" fmla="*/ 463442 h 495300"/>
                <a:gd name="connsiteX179" fmla="*/ 223477 w 533400"/>
                <a:gd name="connsiteY179" fmla="*/ 481895 h 495300"/>
                <a:gd name="connsiteX180" fmla="*/ 227163 w 533400"/>
                <a:gd name="connsiteY180" fmla="*/ 489276 h 495300"/>
                <a:gd name="connsiteX181" fmla="*/ 227163 w 533400"/>
                <a:gd name="connsiteY181" fmla="*/ 492967 h 495300"/>
                <a:gd name="connsiteX182" fmla="*/ 230849 w 533400"/>
                <a:gd name="connsiteY182" fmla="*/ 489276 h 495300"/>
                <a:gd name="connsiteX183" fmla="*/ 238231 w 533400"/>
                <a:gd name="connsiteY183" fmla="*/ 481895 h 495300"/>
                <a:gd name="connsiteX184" fmla="*/ 241917 w 533400"/>
                <a:gd name="connsiteY184" fmla="*/ 481895 h 495300"/>
                <a:gd name="connsiteX185" fmla="*/ 241917 w 533400"/>
                <a:gd name="connsiteY185" fmla="*/ 485586 h 495300"/>
                <a:gd name="connsiteX186" fmla="*/ 245613 w 533400"/>
                <a:gd name="connsiteY186" fmla="*/ 485586 h 495300"/>
                <a:gd name="connsiteX187" fmla="*/ 249299 w 533400"/>
                <a:gd name="connsiteY187" fmla="*/ 485586 h 495300"/>
                <a:gd name="connsiteX188" fmla="*/ 249299 w 533400"/>
                <a:gd name="connsiteY188" fmla="*/ 489276 h 495300"/>
                <a:gd name="connsiteX189" fmla="*/ 252985 w 533400"/>
                <a:gd name="connsiteY189" fmla="*/ 489276 h 495300"/>
                <a:gd name="connsiteX190" fmla="*/ 256681 w 533400"/>
                <a:gd name="connsiteY190" fmla="*/ 489276 h 495300"/>
                <a:gd name="connsiteX191" fmla="*/ 260367 w 533400"/>
                <a:gd name="connsiteY191" fmla="*/ 492967 h 495300"/>
                <a:gd name="connsiteX192" fmla="*/ 264053 w 533400"/>
                <a:gd name="connsiteY192" fmla="*/ 492967 h 495300"/>
                <a:gd name="connsiteX193" fmla="*/ 267749 w 533400"/>
                <a:gd name="connsiteY193" fmla="*/ 492967 h 495300"/>
                <a:gd name="connsiteX194" fmla="*/ 271435 w 533400"/>
                <a:gd name="connsiteY194" fmla="*/ 492967 h 495300"/>
                <a:gd name="connsiteX195" fmla="*/ 275121 w 533400"/>
                <a:gd name="connsiteY195" fmla="*/ 489276 h 495300"/>
                <a:gd name="connsiteX196" fmla="*/ 278808 w 533400"/>
                <a:gd name="connsiteY196" fmla="*/ 489276 h 495300"/>
                <a:gd name="connsiteX197" fmla="*/ 278808 w 533400"/>
                <a:gd name="connsiteY197" fmla="*/ 485586 h 495300"/>
                <a:gd name="connsiteX198" fmla="*/ 282503 w 533400"/>
                <a:gd name="connsiteY198" fmla="*/ 485586 h 495300"/>
                <a:gd name="connsiteX199" fmla="*/ 286189 w 533400"/>
                <a:gd name="connsiteY199" fmla="*/ 481895 h 495300"/>
                <a:gd name="connsiteX200" fmla="*/ 286189 w 533400"/>
                <a:gd name="connsiteY200" fmla="*/ 478204 h 495300"/>
                <a:gd name="connsiteX201" fmla="*/ 289876 w 533400"/>
                <a:gd name="connsiteY201" fmla="*/ 474514 h 495300"/>
                <a:gd name="connsiteX202" fmla="*/ 289876 w 533400"/>
                <a:gd name="connsiteY202" fmla="*/ 470823 h 495300"/>
                <a:gd name="connsiteX203" fmla="*/ 293571 w 533400"/>
                <a:gd name="connsiteY203" fmla="*/ 467133 h 495300"/>
                <a:gd name="connsiteX204" fmla="*/ 300944 w 533400"/>
                <a:gd name="connsiteY204" fmla="*/ 467133 h 495300"/>
                <a:gd name="connsiteX205" fmla="*/ 300944 w 533400"/>
                <a:gd name="connsiteY205" fmla="*/ 463442 h 495300"/>
                <a:gd name="connsiteX206" fmla="*/ 308326 w 533400"/>
                <a:gd name="connsiteY206" fmla="*/ 467133 h 495300"/>
                <a:gd name="connsiteX207" fmla="*/ 308326 w 533400"/>
                <a:gd name="connsiteY207" fmla="*/ 463442 h 495300"/>
                <a:gd name="connsiteX208" fmla="*/ 315707 w 533400"/>
                <a:gd name="connsiteY208" fmla="*/ 459751 h 495300"/>
                <a:gd name="connsiteX209" fmla="*/ 315707 w 533400"/>
                <a:gd name="connsiteY209" fmla="*/ 467133 h 495300"/>
                <a:gd name="connsiteX210" fmla="*/ 319394 w 533400"/>
                <a:gd name="connsiteY210" fmla="*/ 474514 h 495300"/>
                <a:gd name="connsiteX211" fmla="*/ 323080 w 533400"/>
                <a:gd name="connsiteY211" fmla="*/ 478204 h 495300"/>
                <a:gd name="connsiteX212" fmla="*/ 326775 w 533400"/>
                <a:gd name="connsiteY212" fmla="*/ 478204 h 495300"/>
                <a:gd name="connsiteX213" fmla="*/ 326775 w 533400"/>
                <a:gd name="connsiteY213" fmla="*/ 481895 h 495300"/>
                <a:gd name="connsiteX214" fmla="*/ 330462 w 533400"/>
                <a:gd name="connsiteY214" fmla="*/ 478204 h 495300"/>
                <a:gd name="connsiteX215" fmla="*/ 341530 w 533400"/>
                <a:gd name="connsiteY215" fmla="*/ 474514 h 495300"/>
                <a:gd name="connsiteX216" fmla="*/ 341530 w 533400"/>
                <a:gd name="connsiteY216" fmla="*/ 481895 h 495300"/>
                <a:gd name="connsiteX217" fmla="*/ 348912 w 533400"/>
                <a:gd name="connsiteY217" fmla="*/ 478204 h 495300"/>
                <a:gd name="connsiteX218" fmla="*/ 352598 w 533400"/>
                <a:gd name="connsiteY218" fmla="*/ 474514 h 495300"/>
                <a:gd name="connsiteX219" fmla="*/ 356284 w 533400"/>
                <a:gd name="connsiteY219" fmla="*/ 474514 h 495300"/>
                <a:gd name="connsiteX220" fmla="*/ 356284 w 533400"/>
                <a:gd name="connsiteY220" fmla="*/ 470823 h 495300"/>
                <a:gd name="connsiteX221" fmla="*/ 352598 w 533400"/>
                <a:gd name="connsiteY221" fmla="*/ 463442 h 495300"/>
                <a:gd name="connsiteX222" fmla="*/ 356284 w 533400"/>
                <a:gd name="connsiteY222" fmla="*/ 463442 h 495300"/>
                <a:gd name="connsiteX223" fmla="*/ 367352 w 533400"/>
                <a:gd name="connsiteY223" fmla="*/ 463442 h 495300"/>
                <a:gd name="connsiteX224" fmla="*/ 371038 w 533400"/>
                <a:gd name="connsiteY224" fmla="*/ 459751 h 495300"/>
                <a:gd name="connsiteX225" fmla="*/ 374734 w 533400"/>
                <a:gd name="connsiteY225" fmla="*/ 456061 h 495300"/>
                <a:gd name="connsiteX226" fmla="*/ 385802 w 533400"/>
                <a:gd name="connsiteY226" fmla="*/ 448679 h 495300"/>
                <a:gd name="connsiteX227" fmla="*/ 396870 w 533400"/>
                <a:gd name="connsiteY227" fmla="*/ 441298 h 495300"/>
                <a:gd name="connsiteX228" fmla="*/ 404242 w 533400"/>
                <a:gd name="connsiteY228" fmla="*/ 433917 h 495300"/>
                <a:gd name="connsiteX229" fmla="*/ 418996 w 533400"/>
                <a:gd name="connsiteY229" fmla="*/ 426537 h 495300"/>
                <a:gd name="connsiteX230" fmla="*/ 422692 w 533400"/>
                <a:gd name="connsiteY230" fmla="*/ 422846 h 495300"/>
                <a:gd name="connsiteX231" fmla="*/ 426378 w 533400"/>
                <a:gd name="connsiteY231" fmla="*/ 419156 h 495300"/>
                <a:gd name="connsiteX232" fmla="*/ 437446 w 533400"/>
                <a:gd name="connsiteY232" fmla="*/ 404393 h 495300"/>
                <a:gd name="connsiteX233" fmla="*/ 444828 w 533400"/>
                <a:gd name="connsiteY233" fmla="*/ 400703 h 495300"/>
                <a:gd name="connsiteX234" fmla="*/ 444828 w 533400"/>
                <a:gd name="connsiteY234" fmla="*/ 397012 h 495300"/>
                <a:gd name="connsiteX235" fmla="*/ 444828 w 533400"/>
                <a:gd name="connsiteY235" fmla="*/ 393321 h 495300"/>
                <a:gd name="connsiteX236" fmla="*/ 452201 w 533400"/>
                <a:gd name="connsiteY236" fmla="*/ 389631 h 495300"/>
                <a:gd name="connsiteX237" fmla="*/ 463269 w 533400"/>
                <a:gd name="connsiteY237" fmla="*/ 393321 h 495300"/>
                <a:gd name="connsiteX238" fmla="*/ 474337 w 533400"/>
                <a:gd name="connsiteY238" fmla="*/ 393321 h 495300"/>
                <a:gd name="connsiteX239" fmla="*/ 489100 w 533400"/>
                <a:gd name="connsiteY239" fmla="*/ 408084 h 495300"/>
                <a:gd name="connsiteX240" fmla="*/ 503855 w 533400"/>
                <a:gd name="connsiteY240" fmla="*/ 397012 h 495300"/>
                <a:gd name="connsiteX241" fmla="*/ 514923 w 533400"/>
                <a:gd name="connsiteY241" fmla="*/ 385940 h 495300"/>
                <a:gd name="connsiteX242" fmla="*/ 518609 w 533400"/>
                <a:gd name="connsiteY242" fmla="*/ 382249 h 495300"/>
                <a:gd name="connsiteX243" fmla="*/ 522295 w 533400"/>
                <a:gd name="connsiteY243" fmla="*/ 378559 h 495300"/>
                <a:gd name="connsiteX244" fmla="*/ 522295 w 533400"/>
                <a:gd name="connsiteY244" fmla="*/ 374868 h 495300"/>
                <a:gd name="connsiteX245" fmla="*/ 533363 w 533400"/>
                <a:gd name="connsiteY245" fmla="*/ 356415 h 495300"/>
                <a:gd name="connsiteX246" fmla="*/ 529677 w 533400"/>
                <a:gd name="connsiteY246" fmla="*/ 352725 h 495300"/>
                <a:gd name="connsiteX247" fmla="*/ 525991 w 533400"/>
                <a:gd name="connsiteY247" fmla="*/ 345344 h 495300"/>
                <a:gd name="connsiteX248" fmla="*/ 522295 w 533400"/>
                <a:gd name="connsiteY248" fmla="*/ 337963 h 495300"/>
                <a:gd name="connsiteX249" fmla="*/ 507541 w 533400"/>
                <a:gd name="connsiteY249" fmla="*/ 315819 h 495300"/>
                <a:gd name="connsiteX250" fmla="*/ 500159 w 533400"/>
                <a:gd name="connsiteY250" fmla="*/ 304748 h 495300"/>
                <a:gd name="connsiteX251" fmla="*/ 500159 w 533400"/>
                <a:gd name="connsiteY251" fmla="*/ 301057 h 495300"/>
                <a:gd name="connsiteX252" fmla="*/ 500159 w 533400"/>
                <a:gd name="connsiteY252" fmla="*/ 289985 h 495300"/>
                <a:gd name="connsiteX253" fmla="*/ 503855 w 533400"/>
                <a:gd name="connsiteY253" fmla="*/ 278913 h 495300"/>
                <a:gd name="connsiteX254" fmla="*/ 496473 w 533400"/>
                <a:gd name="connsiteY254" fmla="*/ 275223 h 495300"/>
                <a:gd name="connsiteX255" fmla="*/ 485405 w 533400"/>
                <a:gd name="connsiteY255" fmla="*/ 275223 h 495300"/>
                <a:gd name="connsiteX256" fmla="*/ 474337 w 533400"/>
                <a:gd name="connsiteY256" fmla="*/ 267841 h 495300"/>
                <a:gd name="connsiteX257" fmla="*/ 478033 w 533400"/>
                <a:gd name="connsiteY257" fmla="*/ 260461 h 495300"/>
                <a:gd name="connsiteX258" fmla="*/ 466964 w 533400"/>
                <a:gd name="connsiteY258" fmla="*/ 256771 h 495300"/>
                <a:gd name="connsiteX259" fmla="*/ 466964 w 533400"/>
                <a:gd name="connsiteY259" fmla="*/ 253080 h 495300"/>
                <a:gd name="connsiteX260" fmla="*/ 463269 w 533400"/>
                <a:gd name="connsiteY260" fmla="*/ 249389 h 495300"/>
                <a:gd name="connsiteX261" fmla="*/ 455896 w 533400"/>
                <a:gd name="connsiteY261" fmla="*/ 245699 h 495300"/>
                <a:gd name="connsiteX262" fmla="*/ 452201 w 533400"/>
                <a:gd name="connsiteY262" fmla="*/ 242008 h 495300"/>
                <a:gd name="connsiteX263" fmla="*/ 448515 w 533400"/>
                <a:gd name="connsiteY263" fmla="*/ 242008 h 495300"/>
                <a:gd name="connsiteX264" fmla="*/ 441133 w 533400"/>
                <a:gd name="connsiteY264" fmla="*/ 242008 h 495300"/>
                <a:gd name="connsiteX265" fmla="*/ 433760 w 533400"/>
                <a:gd name="connsiteY265" fmla="*/ 242008 h 495300"/>
                <a:gd name="connsiteX266" fmla="*/ 426378 w 533400"/>
                <a:gd name="connsiteY266" fmla="*/ 242008 h 495300"/>
                <a:gd name="connsiteX267" fmla="*/ 422692 w 533400"/>
                <a:gd name="connsiteY267" fmla="*/ 242008 h 495300"/>
                <a:gd name="connsiteX268" fmla="*/ 418996 w 533400"/>
                <a:gd name="connsiteY268" fmla="*/ 234627 h 495300"/>
                <a:gd name="connsiteX269" fmla="*/ 415310 w 533400"/>
                <a:gd name="connsiteY269" fmla="*/ 230936 h 495300"/>
                <a:gd name="connsiteX270" fmla="*/ 411624 w 533400"/>
                <a:gd name="connsiteY270" fmla="*/ 227246 h 495300"/>
                <a:gd name="connsiteX271" fmla="*/ 411624 w 533400"/>
                <a:gd name="connsiteY271" fmla="*/ 212483 h 495300"/>
                <a:gd name="connsiteX272" fmla="*/ 411624 w 533400"/>
                <a:gd name="connsiteY272" fmla="*/ 208793 h 495300"/>
                <a:gd name="connsiteX273" fmla="*/ 411624 w 533400"/>
                <a:gd name="connsiteY273" fmla="*/ 201411 h 495300"/>
                <a:gd name="connsiteX274" fmla="*/ 411624 w 533400"/>
                <a:gd name="connsiteY274" fmla="*/ 194030 h 495300"/>
                <a:gd name="connsiteX275" fmla="*/ 415310 w 533400"/>
                <a:gd name="connsiteY275" fmla="*/ 190340 h 495300"/>
                <a:gd name="connsiteX276" fmla="*/ 418996 w 533400"/>
                <a:gd name="connsiteY276" fmla="*/ 182958 h 495300"/>
                <a:gd name="connsiteX277" fmla="*/ 418996 w 533400"/>
                <a:gd name="connsiteY277" fmla="*/ 179268 h 495300"/>
                <a:gd name="connsiteX278" fmla="*/ 422692 w 533400"/>
                <a:gd name="connsiteY278" fmla="*/ 175578 h 495300"/>
                <a:gd name="connsiteX279" fmla="*/ 426378 w 533400"/>
                <a:gd name="connsiteY279" fmla="*/ 175578 h 495300"/>
                <a:gd name="connsiteX280" fmla="*/ 430065 w 533400"/>
                <a:gd name="connsiteY280" fmla="*/ 171888 h 495300"/>
                <a:gd name="connsiteX281" fmla="*/ 433760 w 533400"/>
                <a:gd name="connsiteY281" fmla="*/ 164506 h 495300"/>
                <a:gd name="connsiteX282" fmla="*/ 433760 w 533400"/>
                <a:gd name="connsiteY282" fmla="*/ 160816 h 495300"/>
                <a:gd name="connsiteX283" fmla="*/ 433760 w 533400"/>
                <a:gd name="connsiteY283" fmla="*/ 157125 h 495300"/>
                <a:gd name="connsiteX284" fmla="*/ 433760 w 533400"/>
                <a:gd name="connsiteY284" fmla="*/ 149744 h 495300"/>
                <a:gd name="connsiteX285" fmla="*/ 430065 w 533400"/>
                <a:gd name="connsiteY285" fmla="*/ 149744 h 495300"/>
                <a:gd name="connsiteX286" fmla="*/ 426378 w 533400"/>
                <a:gd name="connsiteY286" fmla="*/ 149744 h 495300"/>
                <a:gd name="connsiteX287" fmla="*/ 426378 w 533400"/>
                <a:gd name="connsiteY287" fmla="*/ 146053 h 495300"/>
                <a:gd name="connsiteX288" fmla="*/ 430065 w 533400"/>
                <a:gd name="connsiteY288" fmla="*/ 142363 h 495300"/>
                <a:gd name="connsiteX289" fmla="*/ 433760 w 533400"/>
                <a:gd name="connsiteY289" fmla="*/ 138672 h 495300"/>
                <a:gd name="connsiteX290" fmla="*/ 437446 w 533400"/>
                <a:gd name="connsiteY290" fmla="*/ 134981 h 495300"/>
                <a:gd name="connsiteX291" fmla="*/ 437446 w 533400"/>
                <a:gd name="connsiteY291" fmla="*/ 131291 h 495300"/>
                <a:gd name="connsiteX292" fmla="*/ 437446 w 533400"/>
                <a:gd name="connsiteY292" fmla="*/ 127600 h 495300"/>
                <a:gd name="connsiteX293" fmla="*/ 441133 w 533400"/>
                <a:gd name="connsiteY293" fmla="*/ 123910 h 495300"/>
                <a:gd name="connsiteX294" fmla="*/ 441133 w 533400"/>
                <a:gd name="connsiteY294" fmla="*/ 120219 h 495300"/>
                <a:gd name="connsiteX295" fmla="*/ 444828 w 533400"/>
                <a:gd name="connsiteY295" fmla="*/ 120219 h 495300"/>
                <a:gd name="connsiteX296" fmla="*/ 448515 w 533400"/>
                <a:gd name="connsiteY296" fmla="*/ 116528 h 495300"/>
                <a:gd name="connsiteX297" fmla="*/ 444828 w 533400"/>
                <a:gd name="connsiteY297" fmla="*/ 116528 h 495300"/>
                <a:gd name="connsiteX298" fmla="*/ 444828 w 533400"/>
                <a:gd name="connsiteY298" fmla="*/ 112838 h 495300"/>
                <a:gd name="connsiteX299" fmla="*/ 444828 w 533400"/>
                <a:gd name="connsiteY299" fmla="*/ 109147 h 495300"/>
                <a:gd name="connsiteX300" fmla="*/ 444828 w 533400"/>
                <a:gd name="connsiteY300" fmla="*/ 105457 h 495300"/>
                <a:gd name="connsiteX301" fmla="*/ 448515 w 533400"/>
                <a:gd name="connsiteY301" fmla="*/ 101766 h 495300"/>
                <a:gd name="connsiteX302" fmla="*/ 452201 w 533400"/>
                <a:gd name="connsiteY302" fmla="*/ 101766 h 495300"/>
                <a:gd name="connsiteX303" fmla="*/ 455896 w 533400"/>
                <a:gd name="connsiteY303" fmla="*/ 98075 h 495300"/>
                <a:gd name="connsiteX304" fmla="*/ 455896 w 533400"/>
                <a:gd name="connsiteY304" fmla="*/ 94385 h 495300"/>
                <a:gd name="connsiteX305" fmla="*/ 459582 w 533400"/>
                <a:gd name="connsiteY305" fmla="*/ 90695 h 495300"/>
                <a:gd name="connsiteX306" fmla="*/ 463269 w 533400"/>
                <a:gd name="connsiteY306" fmla="*/ 90695 h 495300"/>
                <a:gd name="connsiteX307" fmla="*/ 463269 w 533400"/>
                <a:gd name="connsiteY307" fmla="*/ 87004 h 495300"/>
                <a:gd name="connsiteX308" fmla="*/ 459582 w 533400"/>
                <a:gd name="connsiteY308" fmla="*/ 87004 h 495300"/>
                <a:gd name="connsiteX309" fmla="*/ 459582 w 533400"/>
                <a:gd name="connsiteY309" fmla="*/ 83314 h 495300"/>
                <a:gd name="connsiteX310" fmla="*/ 459582 w 533400"/>
                <a:gd name="connsiteY310" fmla="*/ 61170 h 495300"/>
                <a:gd name="connsiteX311" fmla="*/ 455896 w 533400"/>
                <a:gd name="connsiteY311" fmla="*/ 61170 h 495300"/>
                <a:gd name="connsiteX312" fmla="*/ 455896 w 533400"/>
                <a:gd name="connsiteY312" fmla="*/ 57480 h 495300"/>
                <a:gd name="connsiteX313" fmla="*/ 448515 w 533400"/>
                <a:gd name="connsiteY313" fmla="*/ 57480 h 495300"/>
                <a:gd name="connsiteX314" fmla="*/ 444828 w 533400"/>
                <a:gd name="connsiteY314" fmla="*/ 57480 h 495300"/>
                <a:gd name="connsiteX315" fmla="*/ 441133 w 533400"/>
                <a:gd name="connsiteY315" fmla="*/ 61170 h 495300"/>
                <a:gd name="connsiteX316" fmla="*/ 437446 w 533400"/>
                <a:gd name="connsiteY316" fmla="*/ 61170 h 495300"/>
                <a:gd name="connsiteX317" fmla="*/ 433760 w 533400"/>
                <a:gd name="connsiteY317" fmla="*/ 61170 h 495300"/>
                <a:gd name="connsiteX318" fmla="*/ 437446 w 533400"/>
                <a:gd name="connsiteY318" fmla="*/ 64861 h 495300"/>
                <a:gd name="connsiteX319" fmla="*/ 437446 w 533400"/>
                <a:gd name="connsiteY319" fmla="*/ 68551 h 495300"/>
                <a:gd name="connsiteX320" fmla="*/ 433760 w 533400"/>
                <a:gd name="connsiteY320" fmla="*/ 68551 h 495300"/>
                <a:gd name="connsiteX321" fmla="*/ 433760 w 533400"/>
                <a:gd name="connsiteY321" fmla="*/ 64861 h 495300"/>
                <a:gd name="connsiteX322" fmla="*/ 430065 w 533400"/>
                <a:gd name="connsiteY322" fmla="*/ 61170 h 495300"/>
                <a:gd name="connsiteX323" fmla="*/ 430065 w 533400"/>
                <a:gd name="connsiteY323" fmla="*/ 57480 h 495300"/>
                <a:gd name="connsiteX324" fmla="*/ 426378 w 533400"/>
                <a:gd name="connsiteY324" fmla="*/ 57480 h 495300"/>
                <a:gd name="connsiteX325" fmla="*/ 430065 w 533400"/>
                <a:gd name="connsiteY325" fmla="*/ 53789 h 495300"/>
                <a:gd name="connsiteX326" fmla="*/ 426378 w 533400"/>
                <a:gd name="connsiteY326" fmla="*/ 53789 h 495300"/>
                <a:gd name="connsiteX327" fmla="*/ 422692 w 533400"/>
                <a:gd name="connsiteY327" fmla="*/ 50098 h 495300"/>
                <a:gd name="connsiteX328" fmla="*/ 422692 w 533400"/>
                <a:gd name="connsiteY328" fmla="*/ 53789 h 495300"/>
                <a:gd name="connsiteX329" fmla="*/ 418996 w 533400"/>
                <a:gd name="connsiteY329" fmla="*/ 61170 h 495300"/>
                <a:gd name="connsiteX330" fmla="*/ 418996 w 533400"/>
                <a:gd name="connsiteY330" fmla="*/ 57480 h 495300"/>
                <a:gd name="connsiteX331" fmla="*/ 418996 w 533400"/>
                <a:gd name="connsiteY331" fmla="*/ 53789 h 495300"/>
                <a:gd name="connsiteX332" fmla="*/ 411624 w 533400"/>
                <a:gd name="connsiteY332" fmla="*/ 50098 h 495300"/>
                <a:gd name="connsiteX333" fmla="*/ 407938 w 533400"/>
                <a:gd name="connsiteY333" fmla="*/ 53789 h 495300"/>
                <a:gd name="connsiteX334" fmla="*/ 407938 w 533400"/>
                <a:gd name="connsiteY334" fmla="*/ 57480 h 495300"/>
                <a:gd name="connsiteX335" fmla="*/ 415310 w 533400"/>
                <a:gd name="connsiteY335" fmla="*/ 64861 h 495300"/>
                <a:gd name="connsiteX336" fmla="*/ 415310 w 533400"/>
                <a:gd name="connsiteY336" fmla="*/ 68551 h 495300"/>
                <a:gd name="connsiteX337" fmla="*/ 411624 w 533400"/>
                <a:gd name="connsiteY337" fmla="*/ 68551 h 495300"/>
                <a:gd name="connsiteX338" fmla="*/ 411624 w 533400"/>
                <a:gd name="connsiteY338" fmla="*/ 64861 h 495300"/>
                <a:gd name="connsiteX339" fmla="*/ 407938 w 533400"/>
                <a:gd name="connsiteY339" fmla="*/ 68551 h 495300"/>
                <a:gd name="connsiteX340" fmla="*/ 407938 w 533400"/>
                <a:gd name="connsiteY340" fmla="*/ 64861 h 495300"/>
                <a:gd name="connsiteX341" fmla="*/ 404242 w 533400"/>
                <a:gd name="connsiteY341" fmla="*/ 61170 h 495300"/>
                <a:gd name="connsiteX342" fmla="*/ 404242 w 533400"/>
                <a:gd name="connsiteY342" fmla="*/ 57480 h 495300"/>
                <a:gd name="connsiteX343" fmla="*/ 404242 w 533400"/>
                <a:gd name="connsiteY343" fmla="*/ 53789 h 495300"/>
                <a:gd name="connsiteX344" fmla="*/ 404242 w 533400"/>
                <a:gd name="connsiteY344" fmla="*/ 46408 h 495300"/>
                <a:gd name="connsiteX345" fmla="*/ 400556 w 533400"/>
                <a:gd name="connsiteY345" fmla="*/ 42717 h 495300"/>
                <a:gd name="connsiteX346" fmla="*/ 400556 w 533400"/>
                <a:gd name="connsiteY346" fmla="*/ 39027 h 495300"/>
                <a:gd name="connsiteX347" fmla="*/ 404242 w 533400"/>
                <a:gd name="connsiteY347" fmla="*/ 35336 h 495300"/>
                <a:gd name="connsiteX348" fmla="*/ 400556 w 533400"/>
                <a:gd name="connsiteY348" fmla="*/ 35336 h 495300"/>
                <a:gd name="connsiteX349" fmla="*/ 400556 w 533400"/>
                <a:gd name="connsiteY349" fmla="*/ 31645 h 495300"/>
                <a:gd name="connsiteX350" fmla="*/ 400556 w 533400"/>
                <a:gd name="connsiteY350" fmla="*/ 27955 h 495300"/>
                <a:gd name="connsiteX351" fmla="*/ 396870 w 533400"/>
                <a:gd name="connsiteY351" fmla="*/ 24264 h 495300"/>
                <a:gd name="connsiteX352" fmla="*/ 400556 w 533400"/>
                <a:gd name="connsiteY352" fmla="*/ 16883 h 495300"/>
                <a:gd name="connsiteX353" fmla="*/ 400556 w 533400"/>
                <a:gd name="connsiteY353" fmla="*/ 13192 h 495300"/>
                <a:gd name="connsiteX354" fmla="*/ 400556 w 533400"/>
                <a:gd name="connsiteY354" fmla="*/ 9502 h 495300"/>
                <a:gd name="connsiteX355" fmla="*/ 407938 w 533400"/>
                <a:gd name="connsiteY355" fmla="*/ 5812 h 495300"/>
                <a:gd name="connsiteX356" fmla="*/ 430065 w 533400"/>
                <a:gd name="connsiteY356" fmla="*/ 53789 h 495300"/>
                <a:gd name="connsiteX357" fmla="*/ 430065 w 533400"/>
                <a:gd name="connsiteY357" fmla="*/ 57480 h 495300"/>
                <a:gd name="connsiteX358" fmla="*/ 433760 w 533400"/>
                <a:gd name="connsiteY358" fmla="*/ 61170 h 495300"/>
                <a:gd name="connsiteX359" fmla="*/ 430065 w 533400"/>
                <a:gd name="connsiteY359" fmla="*/ 53789 h 495300"/>
                <a:gd name="connsiteX360" fmla="*/ 24261 w 533400"/>
                <a:gd name="connsiteY360" fmla="*/ 264151 h 495300"/>
                <a:gd name="connsiteX361" fmla="*/ 13193 w 533400"/>
                <a:gd name="connsiteY361" fmla="*/ 275223 h 495300"/>
                <a:gd name="connsiteX362" fmla="*/ 9498 w 533400"/>
                <a:gd name="connsiteY362" fmla="*/ 275223 h 495300"/>
                <a:gd name="connsiteX363" fmla="*/ 5812 w 533400"/>
                <a:gd name="connsiteY363" fmla="*/ 275223 h 495300"/>
                <a:gd name="connsiteX364" fmla="*/ 9498 w 533400"/>
                <a:gd name="connsiteY364" fmla="*/ 278913 h 495300"/>
                <a:gd name="connsiteX365" fmla="*/ 13193 w 533400"/>
                <a:gd name="connsiteY365" fmla="*/ 278913 h 495300"/>
                <a:gd name="connsiteX366" fmla="*/ 16880 w 533400"/>
                <a:gd name="connsiteY366" fmla="*/ 275223 h 495300"/>
                <a:gd name="connsiteX367" fmla="*/ 24261 w 533400"/>
                <a:gd name="connsiteY367" fmla="*/ 264151 h 495300"/>
                <a:gd name="connsiteX368" fmla="*/ 50084 w 533400"/>
                <a:gd name="connsiteY368" fmla="*/ 190340 h 495300"/>
                <a:gd name="connsiteX369" fmla="*/ 50084 w 533400"/>
                <a:gd name="connsiteY369" fmla="*/ 186649 h 495300"/>
                <a:gd name="connsiteX370" fmla="*/ 46398 w 533400"/>
                <a:gd name="connsiteY370" fmla="*/ 190340 h 495300"/>
                <a:gd name="connsiteX371" fmla="*/ 50084 w 533400"/>
                <a:gd name="connsiteY371" fmla="*/ 190340 h 495300"/>
                <a:gd name="connsiteX372" fmla="*/ 407938 w 533400"/>
                <a:gd name="connsiteY372" fmla="*/ 75933 h 495300"/>
                <a:gd name="connsiteX373" fmla="*/ 411624 w 533400"/>
                <a:gd name="connsiteY373" fmla="*/ 75933 h 495300"/>
                <a:gd name="connsiteX374" fmla="*/ 411624 w 533400"/>
                <a:gd name="connsiteY374" fmla="*/ 79623 h 495300"/>
                <a:gd name="connsiteX375" fmla="*/ 407938 w 533400"/>
                <a:gd name="connsiteY375" fmla="*/ 75933 h 495300"/>
                <a:gd name="connsiteX376" fmla="*/ 400556 w 533400"/>
                <a:gd name="connsiteY376" fmla="*/ 79623 h 495300"/>
                <a:gd name="connsiteX377" fmla="*/ 404242 w 533400"/>
                <a:gd name="connsiteY377" fmla="*/ 79623 h 495300"/>
                <a:gd name="connsiteX378" fmla="*/ 400556 w 533400"/>
                <a:gd name="connsiteY378" fmla="*/ 83314 h 495300"/>
                <a:gd name="connsiteX379" fmla="*/ 400556 w 533400"/>
                <a:gd name="connsiteY379" fmla="*/ 79623 h 495300"/>
                <a:gd name="connsiteX380" fmla="*/ 39016 w 533400"/>
                <a:gd name="connsiteY380" fmla="*/ 301057 h 495300"/>
                <a:gd name="connsiteX381" fmla="*/ 42702 w 533400"/>
                <a:gd name="connsiteY381" fmla="*/ 301057 h 495300"/>
                <a:gd name="connsiteX382" fmla="*/ 39016 w 533400"/>
                <a:gd name="connsiteY382" fmla="*/ 304748 h 495300"/>
                <a:gd name="connsiteX383" fmla="*/ 39016 w 533400"/>
                <a:gd name="connsiteY383" fmla="*/ 301057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Lst>
              <a:rect l="l" t="t" r="r" b="b"/>
              <a:pathLst>
                <a:path w="533400" h="495300">
                  <a:moveTo>
                    <a:pt x="407938" y="5812"/>
                  </a:moveTo>
                  <a:lnTo>
                    <a:pt x="389488" y="13192"/>
                  </a:lnTo>
                  <a:lnTo>
                    <a:pt x="385802" y="13192"/>
                  </a:lnTo>
                  <a:lnTo>
                    <a:pt x="378420" y="9502"/>
                  </a:lnTo>
                  <a:lnTo>
                    <a:pt x="367352" y="9502"/>
                  </a:lnTo>
                  <a:lnTo>
                    <a:pt x="367352" y="13192"/>
                  </a:lnTo>
                  <a:lnTo>
                    <a:pt x="363666" y="13192"/>
                  </a:lnTo>
                  <a:lnTo>
                    <a:pt x="359970" y="13192"/>
                  </a:lnTo>
                  <a:lnTo>
                    <a:pt x="356284" y="9502"/>
                  </a:lnTo>
                  <a:lnTo>
                    <a:pt x="341530" y="13192"/>
                  </a:lnTo>
                  <a:lnTo>
                    <a:pt x="334148" y="13192"/>
                  </a:lnTo>
                  <a:lnTo>
                    <a:pt x="330462" y="13192"/>
                  </a:lnTo>
                  <a:lnTo>
                    <a:pt x="326775" y="16883"/>
                  </a:lnTo>
                  <a:lnTo>
                    <a:pt x="312012" y="20573"/>
                  </a:lnTo>
                  <a:lnTo>
                    <a:pt x="308326" y="20573"/>
                  </a:lnTo>
                  <a:lnTo>
                    <a:pt x="304639" y="20573"/>
                  </a:lnTo>
                  <a:lnTo>
                    <a:pt x="289876" y="27955"/>
                  </a:lnTo>
                  <a:lnTo>
                    <a:pt x="282503" y="27955"/>
                  </a:lnTo>
                  <a:lnTo>
                    <a:pt x="278808" y="27955"/>
                  </a:lnTo>
                  <a:lnTo>
                    <a:pt x="275121" y="27955"/>
                  </a:lnTo>
                  <a:lnTo>
                    <a:pt x="271435" y="27955"/>
                  </a:lnTo>
                  <a:lnTo>
                    <a:pt x="271435" y="24264"/>
                  </a:lnTo>
                  <a:lnTo>
                    <a:pt x="267749" y="20573"/>
                  </a:lnTo>
                  <a:lnTo>
                    <a:pt x="267749" y="27955"/>
                  </a:lnTo>
                  <a:lnTo>
                    <a:pt x="260367" y="31645"/>
                  </a:lnTo>
                  <a:lnTo>
                    <a:pt x="252985" y="35336"/>
                  </a:lnTo>
                  <a:lnTo>
                    <a:pt x="249299" y="39027"/>
                  </a:lnTo>
                  <a:lnTo>
                    <a:pt x="241917" y="42717"/>
                  </a:lnTo>
                  <a:lnTo>
                    <a:pt x="238231" y="46408"/>
                  </a:lnTo>
                  <a:lnTo>
                    <a:pt x="230849" y="50098"/>
                  </a:lnTo>
                  <a:lnTo>
                    <a:pt x="223477" y="50098"/>
                  </a:lnTo>
                  <a:lnTo>
                    <a:pt x="212409" y="57480"/>
                  </a:lnTo>
                  <a:lnTo>
                    <a:pt x="197655" y="64861"/>
                  </a:lnTo>
                  <a:lnTo>
                    <a:pt x="190273" y="68551"/>
                  </a:lnTo>
                  <a:lnTo>
                    <a:pt x="171823" y="79623"/>
                  </a:lnTo>
                  <a:lnTo>
                    <a:pt x="160755" y="79623"/>
                  </a:lnTo>
                  <a:lnTo>
                    <a:pt x="157069" y="83314"/>
                  </a:lnTo>
                  <a:lnTo>
                    <a:pt x="149687" y="87004"/>
                  </a:lnTo>
                  <a:lnTo>
                    <a:pt x="146000" y="87004"/>
                  </a:lnTo>
                  <a:lnTo>
                    <a:pt x="142314" y="90695"/>
                  </a:lnTo>
                  <a:lnTo>
                    <a:pt x="134932" y="94385"/>
                  </a:lnTo>
                  <a:lnTo>
                    <a:pt x="127560" y="98075"/>
                  </a:lnTo>
                  <a:lnTo>
                    <a:pt x="123864" y="101766"/>
                  </a:lnTo>
                  <a:lnTo>
                    <a:pt x="116492" y="109147"/>
                  </a:lnTo>
                  <a:lnTo>
                    <a:pt x="112796" y="116528"/>
                  </a:lnTo>
                  <a:lnTo>
                    <a:pt x="109110" y="120219"/>
                  </a:lnTo>
                  <a:lnTo>
                    <a:pt x="109110" y="123910"/>
                  </a:lnTo>
                  <a:lnTo>
                    <a:pt x="105424" y="123910"/>
                  </a:lnTo>
                  <a:lnTo>
                    <a:pt x="105424" y="127600"/>
                  </a:lnTo>
                  <a:lnTo>
                    <a:pt x="98042" y="131291"/>
                  </a:lnTo>
                  <a:lnTo>
                    <a:pt x="94356" y="134981"/>
                  </a:lnTo>
                  <a:lnTo>
                    <a:pt x="90660" y="134981"/>
                  </a:lnTo>
                  <a:lnTo>
                    <a:pt x="83288" y="142363"/>
                  </a:lnTo>
                  <a:lnTo>
                    <a:pt x="79592" y="146053"/>
                  </a:lnTo>
                  <a:lnTo>
                    <a:pt x="75906" y="146053"/>
                  </a:lnTo>
                  <a:lnTo>
                    <a:pt x="72220" y="149744"/>
                  </a:lnTo>
                  <a:lnTo>
                    <a:pt x="68524" y="157125"/>
                  </a:lnTo>
                  <a:lnTo>
                    <a:pt x="64838" y="157125"/>
                  </a:lnTo>
                  <a:lnTo>
                    <a:pt x="61152" y="160816"/>
                  </a:lnTo>
                  <a:lnTo>
                    <a:pt x="57466" y="168197"/>
                  </a:lnTo>
                  <a:lnTo>
                    <a:pt x="53770" y="179268"/>
                  </a:lnTo>
                  <a:lnTo>
                    <a:pt x="50084" y="182958"/>
                  </a:lnTo>
                  <a:lnTo>
                    <a:pt x="50084" y="186649"/>
                  </a:lnTo>
                  <a:lnTo>
                    <a:pt x="53770" y="186649"/>
                  </a:lnTo>
                  <a:lnTo>
                    <a:pt x="50084" y="190340"/>
                  </a:lnTo>
                  <a:lnTo>
                    <a:pt x="46398" y="194030"/>
                  </a:lnTo>
                  <a:lnTo>
                    <a:pt x="42702" y="197721"/>
                  </a:lnTo>
                  <a:lnTo>
                    <a:pt x="42702" y="201411"/>
                  </a:lnTo>
                  <a:lnTo>
                    <a:pt x="46398" y="201411"/>
                  </a:lnTo>
                  <a:lnTo>
                    <a:pt x="46398" y="208793"/>
                  </a:lnTo>
                  <a:lnTo>
                    <a:pt x="42702" y="216174"/>
                  </a:lnTo>
                  <a:lnTo>
                    <a:pt x="42702" y="227246"/>
                  </a:lnTo>
                  <a:lnTo>
                    <a:pt x="42702" y="234627"/>
                  </a:lnTo>
                  <a:lnTo>
                    <a:pt x="42702" y="238318"/>
                  </a:lnTo>
                  <a:lnTo>
                    <a:pt x="39016" y="242008"/>
                  </a:lnTo>
                  <a:lnTo>
                    <a:pt x="39016" y="245699"/>
                  </a:lnTo>
                  <a:lnTo>
                    <a:pt x="31634" y="249389"/>
                  </a:lnTo>
                  <a:lnTo>
                    <a:pt x="27948" y="249389"/>
                  </a:lnTo>
                  <a:lnTo>
                    <a:pt x="31634" y="253080"/>
                  </a:lnTo>
                  <a:lnTo>
                    <a:pt x="27948" y="256771"/>
                  </a:lnTo>
                  <a:lnTo>
                    <a:pt x="27948" y="260461"/>
                  </a:lnTo>
                  <a:lnTo>
                    <a:pt x="24261" y="264151"/>
                  </a:lnTo>
                  <a:lnTo>
                    <a:pt x="27948" y="264151"/>
                  </a:lnTo>
                  <a:lnTo>
                    <a:pt x="31634" y="267841"/>
                  </a:lnTo>
                  <a:lnTo>
                    <a:pt x="35330" y="275223"/>
                  </a:lnTo>
                  <a:lnTo>
                    <a:pt x="35330" y="278913"/>
                  </a:lnTo>
                  <a:lnTo>
                    <a:pt x="35330" y="282604"/>
                  </a:lnTo>
                  <a:lnTo>
                    <a:pt x="35330" y="286295"/>
                  </a:lnTo>
                  <a:lnTo>
                    <a:pt x="39016" y="293676"/>
                  </a:lnTo>
                  <a:lnTo>
                    <a:pt x="35330" y="293676"/>
                  </a:lnTo>
                  <a:lnTo>
                    <a:pt x="39016" y="297366"/>
                  </a:lnTo>
                  <a:lnTo>
                    <a:pt x="35330" y="297366"/>
                  </a:lnTo>
                  <a:lnTo>
                    <a:pt x="35330" y="293676"/>
                  </a:lnTo>
                  <a:lnTo>
                    <a:pt x="27948" y="293676"/>
                  </a:lnTo>
                  <a:lnTo>
                    <a:pt x="27948" y="297366"/>
                  </a:lnTo>
                  <a:lnTo>
                    <a:pt x="27948" y="301057"/>
                  </a:lnTo>
                  <a:lnTo>
                    <a:pt x="31634" y="301057"/>
                  </a:lnTo>
                  <a:lnTo>
                    <a:pt x="35330" y="301057"/>
                  </a:lnTo>
                  <a:lnTo>
                    <a:pt x="35330" y="308438"/>
                  </a:lnTo>
                  <a:lnTo>
                    <a:pt x="35330" y="312129"/>
                  </a:lnTo>
                  <a:lnTo>
                    <a:pt x="39016" y="308438"/>
                  </a:lnTo>
                  <a:lnTo>
                    <a:pt x="39016" y="312129"/>
                  </a:lnTo>
                  <a:lnTo>
                    <a:pt x="35330" y="312129"/>
                  </a:lnTo>
                  <a:lnTo>
                    <a:pt x="35330" y="315819"/>
                  </a:lnTo>
                  <a:lnTo>
                    <a:pt x="39016" y="315819"/>
                  </a:lnTo>
                  <a:lnTo>
                    <a:pt x="42702" y="319510"/>
                  </a:lnTo>
                  <a:lnTo>
                    <a:pt x="42702" y="323201"/>
                  </a:lnTo>
                  <a:lnTo>
                    <a:pt x="42702" y="326891"/>
                  </a:lnTo>
                  <a:lnTo>
                    <a:pt x="42702" y="330582"/>
                  </a:lnTo>
                  <a:lnTo>
                    <a:pt x="39016" y="334272"/>
                  </a:lnTo>
                  <a:lnTo>
                    <a:pt x="39016" y="341654"/>
                  </a:lnTo>
                  <a:lnTo>
                    <a:pt x="42702" y="352725"/>
                  </a:lnTo>
                  <a:lnTo>
                    <a:pt x="42702" y="360106"/>
                  </a:lnTo>
                  <a:lnTo>
                    <a:pt x="46398" y="363796"/>
                  </a:lnTo>
                  <a:lnTo>
                    <a:pt x="46398" y="365065"/>
                  </a:lnTo>
                  <a:lnTo>
                    <a:pt x="53770" y="360106"/>
                  </a:lnTo>
                  <a:lnTo>
                    <a:pt x="46398" y="367487"/>
                  </a:lnTo>
                  <a:lnTo>
                    <a:pt x="46398" y="365065"/>
                  </a:lnTo>
                  <a:lnTo>
                    <a:pt x="42702" y="367487"/>
                  </a:lnTo>
                  <a:lnTo>
                    <a:pt x="42702" y="371178"/>
                  </a:lnTo>
                  <a:lnTo>
                    <a:pt x="42702" y="378559"/>
                  </a:lnTo>
                  <a:lnTo>
                    <a:pt x="39016" y="378559"/>
                  </a:lnTo>
                  <a:lnTo>
                    <a:pt x="35330" y="382249"/>
                  </a:lnTo>
                  <a:lnTo>
                    <a:pt x="39016" y="385940"/>
                  </a:lnTo>
                  <a:lnTo>
                    <a:pt x="42702" y="393321"/>
                  </a:lnTo>
                  <a:lnTo>
                    <a:pt x="42702" y="397012"/>
                  </a:lnTo>
                  <a:lnTo>
                    <a:pt x="42702" y="404393"/>
                  </a:lnTo>
                  <a:lnTo>
                    <a:pt x="42702" y="408084"/>
                  </a:lnTo>
                  <a:lnTo>
                    <a:pt x="39016" y="411774"/>
                  </a:lnTo>
                  <a:lnTo>
                    <a:pt x="35330" y="411774"/>
                  </a:lnTo>
                  <a:lnTo>
                    <a:pt x="31634" y="411774"/>
                  </a:lnTo>
                  <a:lnTo>
                    <a:pt x="24261" y="419156"/>
                  </a:lnTo>
                  <a:lnTo>
                    <a:pt x="20566" y="422846"/>
                  </a:lnTo>
                  <a:lnTo>
                    <a:pt x="16880" y="426537"/>
                  </a:lnTo>
                  <a:lnTo>
                    <a:pt x="20566" y="430227"/>
                  </a:lnTo>
                  <a:lnTo>
                    <a:pt x="20566" y="433917"/>
                  </a:lnTo>
                  <a:lnTo>
                    <a:pt x="20566" y="437608"/>
                  </a:lnTo>
                  <a:lnTo>
                    <a:pt x="27948" y="437608"/>
                  </a:lnTo>
                  <a:lnTo>
                    <a:pt x="27948" y="441298"/>
                  </a:lnTo>
                  <a:lnTo>
                    <a:pt x="31634" y="441298"/>
                  </a:lnTo>
                  <a:lnTo>
                    <a:pt x="39016" y="448679"/>
                  </a:lnTo>
                  <a:lnTo>
                    <a:pt x="46398" y="456061"/>
                  </a:lnTo>
                  <a:lnTo>
                    <a:pt x="50084" y="456061"/>
                  </a:lnTo>
                  <a:lnTo>
                    <a:pt x="53770" y="456061"/>
                  </a:lnTo>
                  <a:lnTo>
                    <a:pt x="57466" y="456061"/>
                  </a:lnTo>
                  <a:lnTo>
                    <a:pt x="64838" y="456061"/>
                  </a:lnTo>
                  <a:lnTo>
                    <a:pt x="64838" y="452370"/>
                  </a:lnTo>
                  <a:lnTo>
                    <a:pt x="75906" y="456061"/>
                  </a:lnTo>
                  <a:lnTo>
                    <a:pt x="83288" y="456061"/>
                  </a:lnTo>
                  <a:lnTo>
                    <a:pt x="86974" y="459751"/>
                  </a:lnTo>
                  <a:lnTo>
                    <a:pt x="101728" y="467133"/>
                  </a:lnTo>
                  <a:lnTo>
                    <a:pt x="109110" y="467133"/>
                  </a:lnTo>
                  <a:lnTo>
                    <a:pt x="109110" y="470823"/>
                  </a:lnTo>
                  <a:lnTo>
                    <a:pt x="116492" y="470823"/>
                  </a:lnTo>
                  <a:lnTo>
                    <a:pt x="120178" y="467133"/>
                  </a:lnTo>
                  <a:lnTo>
                    <a:pt x="123864" y="467133"/>
                  </a:lnTo>
                  <a:lnTo>
                    <a:pt x="123864" y="463442"/>
                  </a:lnTo>
                  <a:lnTo>
                    <a:pt x="127560" y="459751"/>
                  </a:lnTo>
                  <a:lnTo>
                    <a:pt x="127560" y="456061"/>
                  </a:lnTo>
                  <a:lnTo>
                    <a:pt x="134932" y="452370"/>
                  </a:lnTo>
                  <a:lnTo>
                    <a:pt x="142314" y="456061"/>
                  </a:lnTo>
                  <a:lnTo>
                    <a:pt x="146000" y="452370"/>
                  </a:lnTo>
                  <a:lnTo>
                    <a:pt x="153382" y="448679"/>
                  </a:lnTo>
                  <a:lnTo>
                    <a:pt x="157069" y="448679"/>
                  </a:lnTo>
                  <a:lnTo>
                    <a:pt x="160755" y="452370"/>
                  </a:lnTo>
                  <a:lnTo>
                    <a:pt x="160755" y="459751"/>
                  </a:lnTo>
                  <a:lnTo>
                    <a:pt x="164450" y="459751"/>
                  </a:lnTo>
                  <a:lnTo>
                    <a:pt x="168137" y="459751"/>
                  </a:lnTo>
                  <a:lnTo>
                    <a:pt x="175518" y="459751"/>
                  </a:lnTo>
                  <a:lnTo>
                    <a:pt x="179205" y="459751"/>
                  </a:lnTo>
                  <a:lnTo>
                    <a:pt x="182891" y="459751"/>
                  </a:lnTo>
                  <a:lnTo>
                    <a:pt x="182891" y="463442"/>
                  </a:lnTo>
                  <a:lnTo>
                    <a:pt x="186587" y="463442"/>
                  </a:lnTo>
                  <a:lnTo>
                    <a:pt x="190273" y="459751"/>
                  </a:lnTo>
                  <a:lnTo>
                    <a:pt x="190273" y="463442"/>
                  </a:lnTo>
                  <a:lnTo>
                    <a:pt x="197655" y="467133"/>
                  </a:lnTo>
                  <a:lnTo>
                    <a:pt x="193959" y="459751"/>
                  </a:lnTo>
                  <a:lnTo>
                    <a:pt x="205027" y="463442"/>
                  </a:lnTo>
                  <a:lnTo>
                    <a:pt x="208713" y="463442"/>
                  </a:lnTo>
                  <a:lnTo>
                    <a:pt x="223477" y="481895"/>
                  </a:lnTo>
                  <a:lnTo>
                    <a:pt x="227163" y="489276"/>
                  </a:lnTo>
                  <a:lnTo>
                    <a:pt x="227163" y="492967"/>
                  </a:lnTo>
                  <a:lnTo>
                    <a:pt x="230849" y="489276"/>
                  </a:lnTo>
                  <a:lnTo>
                    <a:pt x="238231" y="481895"/>
                  </a:lnTo>
                  <a:lnTo>
                    <a:pt x="241917" y="481895"/>
                  </a:lnTo>
                  <a:lnTo>
                    <a:pt x="241917" y="485586"/>
                  </a:lnTo>
                  <a:lnTo>
                    <a:pt x="245613" y="485586"/>
                  </a:lnTo>
                  <a:lnTo>
                    <a:pt x="249299" y="485586"/>
                  </a:lnTo>
                  <a:lnTo>
                    <a:pt x="249299" y="489276"/>
                  </a:lnTo>
                  <a:lnTo>
                    <a:pt x="252985" y="489276"/>
                  </a:lnTo>
                  <a:lnTo>
                    <a:pt x="256681" y="489276"/>
                  </a:lnTo>
                  <a:lnTo>
                    <a:pt x="260367" y="492967"/>
                  </a:lnTo>
                  <a:lnTo>
                    <a:pt x="264053" y="492967"/>
                  </a:lnTo>
                  <a:lnTo>
                    <a:pt x="267749" y="492967"/>
                  </a:lnTo>
                  <a:lnTo>
                    <a:pt x="271435" y="492967"/>
                  </a:lnTo>
                  <a:lnTo>
                    <a:pt x="275121" y="489276"/>
                  </a:lnTo>
                  <a:lnTo>
                    <a:pt x="278808" y="489276"/>
                  </a:lnTo>
                  <a:lnTo>
                    <a:pt x="278808" y="485586"/>
                  </a:lnTo>
                  <a:lnTo>
                    <a:pt x="282503" y="485586"/>
                  </a:lnTo>
                  <a:lnTo>
                    <a:pt x="286189" y="481895"/>
                  </a:lnTo>
                  <a:lnTo>
                    <a:pt x="286189" y="478204"/>
                  </a:lnTo>
                  <a:lnTo>
                    <a:pt x="289876" y="474514"/>
                  </a:lnTo>
                  <a:lnTo>
                    <a:pt x="289876" y="470823"/>
                  </a:lnTo>
                  <a:lnTo>
                    <a:pt x="293571" y="467133"/>
                  </a:lnTo>
                  <a:lnTo>
                    <a:pt x="300944" y="467133"/>
                  </a:lnTo>
                  <a:lnTo>
                    <a:pt x="300944" y="463442"/>
                  </a:lnTo>
                  <a:lnTo>
                    <a:pt x="308326" y="467133"/>
                  </a:lnTo>
                  <a:lnTo>
                    <a:pt x="308326" y="463442"/>
                  </a:lnTo>
                  <a:lnTo>
                    <a:pt x="315707" y="459751"/>
                  </a:lnTo>
                  <a:lnTo>
                    <a:pt x="315707" y="467133"/>
                  </a:lnTo>
                  <a:lnTo>
                    <a:pt x="319394" y="474514"/>
                  </a:lnTo>
                  <a:lnTo>
                    <a:pt x="323080" y="478204"/>
                  </a:lnTo>
                  <a:lnTo>
                    <a:pt x="326775" y="478204"/>
                  </a:lnTo>
                  <a:lnTo>
                    <a:pt x="326775" y="481895"/>
                  </a:lnTo>
                  <a:lnTo>
                    <a:pt x="330462" y="478204"/>
                  </a:lnTo>
                  <a:lnTo>
                    <a:pt x="341530" y="474514"/>
                  </a:lnTo>
                  <a:lnTo>
                    <a:pt x="341530" y="481895"/>
                  </a:lnTo>
                  <a:lnTo>
                    <a:pt x="348912" y="478204"/>
                  </a:lnTo>
                  <a:lnTo>
                    <a:pt x="352598" y="474514"/>
                  </a:lnTo>
                  <a:lnTo>
                    <a:pt x="356284" y="474514"/>
                  </a:lnTo>
                  <a:lnTo>
                    <a:pt x="356284" y="470823"/>
                  </a:lnTo>
                  <a:lnTo>
                    <a:pt x="352598" y="463442"/>
                  </a:lnTo>
                  <a:lnTo>
                    <a:pt x="356284" y="463442"/>
                  </a:lnTo>
                  <a:lnTo>
                    <a:pt x="367352" y="463442"/>
                  </a:lnTo>
                  <a:lnTo>
                    <a:pt x="371038" y="459751"/>
                  </a:lnTo>
                  <a:lnTo>
                    <a:pt x="374734" y="456061"/>
                  </a:lnTo>
                  <a:lnTo>
                    <a:pt x="385802" y="448679"/>
                  </a:lnTo>
                  <a:lnTo>
                    <a:pt x="396870" y="441298"/>
                  </a:lnTo>
                  <a:lnTo>
                    <a:pt x="404242" y="433917"/>
                  </a:lnTo>
                  <a:lnTo>
                    <a:pt x="418996" y="426537"/>
                  </a:lnTo>
                  <a:lnTo>
                    <a:pt x="422692" y="422846"/>
                  </a:lnTo>
                  <a:lnTo>
                    <a:pt x="426378" y="419156"/>
                  </a:lnTo>
                  <a:lnTo>
                    <a:pt x="437446" y="404393"/>
                  </a:lnTo>
                  <a:lnTo>
                    <a:pt x="444828" y="400703"/>
                  </a:lnTo>
                  <a:lnTo>
                    <a:pt x="444828" y="397012"/>
                  </a:lnTo>
                  <a:lnTo>
                    <a:pt x="444828" y="393321"/>
                  </a:lnTo>
                  <a:lnTo>
                    <a:pt x="452201" y="389631"/>
                  </a:lnTo>
                  <a:lnTo>
                    <a:pt x="463269" y="393321"/>
                  </a:lnTo>
                  <a:lnTo>
                    <a:pt x="474337" y="393321"/>
                  </a:lnTo>
                  <a:lnTo>
                    <a:pt x="489100" y="408084"/>
                  </a:lnTo>
                  <a:lnTo>
                    <a:pt x="503855" y="397012"/>
                  </a:lnTo>
                  <a:lnTo>
                    <a:pt x="514923" y="385940"/>
                  </a:lnTo>
                  <a:lnTo>
                    <a:pt x="518609" y="382249"/>
                  </a:lnTo>
                  <a:lnTo>
                    <a:pt x="522295" y="378559"/>
                  </a:lnTo>
                  <a:lnTo>
                    <a:pt x="522295" y="374868"/>
                  </a:lnTo>
                  <a:lnTo>
                    <a:pt x="533363" y="356415"/>
                  </a:lnTo>
                  <a:lnTo>
                    <a:pt x="529677" y="352725"/>
                  </a:lnTo>
                  <a:lnTo>
                    <a:pt x="525991" y="345344"/>
                  </a:lnTo>
                  <a:lnTo>
                    <a:pt x="522295" y="337963"/>
                  </a:lnTo>
                  <a:lnTo>
                    <a:pt x="507541" y="315819"/>
                  </a:lnTo>
                  <a:lnTo>
                    <a:pt x="500159" y="304748"/>
                  </a:lnTo>
                  <a:lnTo>
                    <a:pt x="500159" y="301057"/>
                  </a:lnTo>
                  <a:lnTo>
                    <a:pt x="500159" y="289985"/>
                  </a:lnTo>
                  <a:lnTo>
                    <a:pt x="503855" y="278913"/>
                  </a:lnTo>
                  <a:lnTo>
                    <a:pt x="496473" y="275223"/>
                  </a:lnTo>
                  <a:lnTo>
                    <a:pt x="485405" y="275223"/>
                  </a:lnTo>
                  <a:lnTo>
                    <a:pt x="474337" y="267841"/>
                  </a:lnTo>
                  <a:lnTo>
                    <a:pt x="478033" y="260461"/>
                  </a:lnTo>
                  <a:lnTo>
                    <a:pt x="466964" y="256771"/>
                  </a:lnTo>
                  <a:lnTo>
                    <a:pt x="466964" y="253080"/>
                  </a:lnTo>
                  <a:lnTo>
                    <a:pt x="463269" y="249389"/>
                  </a:lnTo>
                  <a:lnTo>
                    <a:pt x="455896" y="245699"/>
                  </a:lnTo>
                  <a:lnTo>
                    <a:pt x="452201" y="242008"/>
                  </a:lnTo>
                  <a:lnTo>
                    <a:pt x="448515" y="242008"/>
                  </a:lnTo>
                  <a:lnTo>
                    <a:pt x="441133" y="242008"/>
                  </a:lnTo>
                  <a:lnTo>
                    <a:pt x="433760" y="242008"/>
                  </a:lnTo>
                  <a:lnTo>
                    <a:pt x="426378" y="242008"/>
                  </a:lnTo>
                  <a:lnTo>
                    <a:pt x="422692" y="242008"/>
                  </a:lnTo>
                  <a:lnTo>
                    <a:pt x="418996" y="234627"/>
                  </a:lnTo>
                  <a:lnTo>
                    <a:pt x="415310" y="230936"/>
                  </a:lnTo>
                  <a:lnTo>
                    <a:pt x="411624" y="227246"/>
                  </a:lnTo>
                  <a:lnTo>
                    <a:pt x="411624" y="212483"/>
                  </a:lnTo>
                  <a:lnTo>
                    <a:pt x="411624" y="208793"/>
                  </a:lnTo>
                  <a:lnTo>
                    <a:pt x="411624" y="201411"/>
                  </a:lnTo>
                  <a:lnTo>
                    <a:pt x="411624" y="194030"/>
                  </a:lnTo>
                  <a:lnTo>
                    <a:pt x="415310" y="190340"/>
                  </a:lnTo>
                  <a:lnTo>
                    <a:pt x="418996" y="182958"/>
                  </a:lnTo>
                  <a:lnTo>
                    <a:pt x="418996" y="179268"/>
                  </a:lnTo>
                  <a:lnTo>
                    <a:pt x="422692" y="175578"/>
                  </a:lnTo>
                  <a:lnTo>
                    <a:pt x="426378" y="175578"/>
                  </a:lnTo>
                  <a:lnTo>
                    <a:pt x="430065" y="171888"/>
                  </a:lnTo>
                  <a:lnTo>
                    <a:pt x="433760" y="164506"/>
                  </a:lnTo>
                  <a:lnTo>
                    <a:pt x="433760" y="160816"/>
                  </a:lnTo>
                  <a:lnTo>
                    <a:pt x="433760" y="157125"/>
                  </a:lnTo>
                  <a:lnTo>
                    <a:pt x="433760" y="149744"/>
                  </a:lnTo>
                  <a:lnTo>
                    <a:pt x="430065" y="149744"/>
                  </a:lnTo>
                  <a:lnTo>
                    <a:pt x="426378" y="149744"/>
                  </a:lnTo>
                  <a:lnTo>
                    <a:pt x="426378" y="146053"/>
                  </a:lnTo>
                  <a:lnTo>
                    <a:pt x="430065" y="142363"/>
                  </a:lnTo>
                  <a:lnTo>
                    <a:pt x="433760" y="138672"/>
                  </a:lnTo>
                  <a:lnTo>
                    <a:pt x="437446" y="134981"/>
                  </a:lnTo>
                  <a:lnTo>
                    <a:pt x="437446" y="131291"/>
                  </a:lnTo>
                  <a:lnTo>
                    <a:pt x="437446" y="127600"/>
                  </a:lnTo>
                  <a:lnTo>
                    <a:pt x="441133" y="123910"/>
                  </a:lnTo>
                  <a:lnTo>
                    <a:pt x="441133" y="120219"/>
                  </a:lnTo>
                  <a:lnTo>
                    <a:pt x="444828" y="120219"/>
                  </a:lnTo>
                  <a:lnTo>
                    <a:pt x="448515" y="116528"/>
                  </a:lnTo>
                  <a:lnTo>
                    <a:pt x="444828" y="116528"/>
                  </a:lnTo>
                  <a:lnTo>
                    <a:pt x="444828" y="112838"/>
                  </a:lnTo>
                  <a:lnTo>
                    <a:pt x="444828" y="109147"/>
                  </a:lnTo>
                  <a:lnTo>
                    <a:pt x="444828" y="105457"/>
                  </a:lnTo>
                  <a:lnTo>
                    <a:pt x="448515" y="101766"/>
                  </a:lnTo>
                  <a:lnTo>
                    <a:pt x="452201" y="101766"/>
                  </a:lnTo>
                  <a:lnTo>
                    <a:pt x="455896" y="98075"/>
                  </a:lnTo>
                  <a:lnTo>
                    <a:pt x="455896" y="94385"/>
                  </a:lnTo>
                  <a:lnTo>
                    <a:pt x="459582" y="90695"/>
                  </a:lnTo>
                  <a:lnTo>
                    <a:pt x="463269" y="90695"/>
                  </a:lnTo>
                  <a:lnTo>
                    <a:pt x="463269" y="87004"/>
                  </a:lnTo>
                  <a:lnTo>
                    <a:pt x="459582" y="87004"/>
                  </a:lnTo>
                  <a:lnTo>
                    <a:pt x="459582" y="83314"/>
                  </a:lnTo>
                  <a:lnTo>
                    <a:pt x="459582" y="61170"/>
                  </a:lnTo>
                  <a:lnTo>
                    <a:pt x="455896" y="61170"/>
                  </a:lnTo>
                  <a:lnTo>
                    <a:pt x="455896" y="57480"/>
                  </a:lnTo>
                  <a:lnTo>
                    <a:pt x="448515" y="57480"/>
                  </a:lnTo>
                  <a:lnTo>
                    <a:pt x="444828" y="57480"/>
                  </a:lnTo>
                  <a:lnTo>
                    <a:pt x="441133" y="61170"/>
                  </a:lnTo>
                  <a:lnTo>
                    <a:pt x="437446" y="61170"/>
                  </a:lnTo>
                  <a:lnTo>
                    <a:pt x="433760" y="61170"/>
                  </a:lnTo>
                  <a:lnTo>
                    <a:pt x="437446" y="64861"/>
                  </a:lnTo>
                  <a:lnTo>
                    <a:pt x="437446" y="68551"/>
                  </a:lnTo>
                  <a:lnTo>
                    <a:pt x="433760" y="68551"/>
                  </a:lnTo>
                  <a:lnTo>
                    <a:pt x="433760" y="64861"/>
                  </a:lnTo>
                  <a:lnTo>
                    <a:pt x="430065" y="61170"/>
                  </a:lnTo>
                  <a:lnTo>
                    <a:pt x="430065" y="57480"/>
                  </a:lnTo>
                  <a:lnTo>
                    <a:pt x="426378" y="57480"/>
                  </a:lnTo>
                  <a:lnTo>
                    <a:pt x="430065" y="53789"/>
                  </a:lnTo>
                  <a:lnTo>
                    <a:pt x="426378" y="53789"/>
                  </a:lnTo>
                  <a:lnTo>
                    <a:pt x="422692" y="50098"/>
                  </a:lnTo>
                  <a:lnTo>
                    <a:pt x="422692" y="53789"/>
                  </a:lnTo>
                  <a:lnTo>
                    <a:pt x="418996" y="61170"/>
                  </a:lnTo>
                  <a:lnTo>
                    <a:pt x="418996" y="57480"/>
                  </a:lnTo>
                  <a:lnTo>
                    <a:pt x="418996" y="53789"/>
                  </a:lnTo>
                  <a:lnTo>
                    <a:pt x="411624" y="50098"/>
                  </a:lnTo>
                  <a:lnTo>
                    <a:pt x="407938" y="53789"/>
                  </a:lnTo>
                  <a:lnTo>
                    <a:pt x="407938" y="57480"/>
                  </a:lnTo>
                  <a:lnTo>
                    <a:pt x="415310" y="64861"/>
                  </a:lnTo>
                  <a:lnTo>
                    <a:pt x="415310" y="68551"/>
                  </a:lnTo>
                  <a:lnTo>
                    <a:pt x="411624" y="68551"/>
                  </a:lnTo>
                  <a:lnTo>
                    <a:pt x="411624" y="64861"/>
                  </a:lnTo>
                  <a:lnTo>
                    <a:pt x="407938" y="68551"/>
                  </a:lnTo>
                  <a:lnTo>
                    <a:pt x="407938" y="64861"/>
                  </a:lnTo>
                  <a:lnTo>
                    <a:pt x="404242" y="61170"/>
                  </a:lnTo>
                  <a:lnTo>
                    <a:pt x="404242" y="57480"/>
                  </a:lnTo>
                  <a:lnTo>
                    <a:pt x="404242" y="53789"/>
                  </a:lnTo>
                  <a:lnTo>
                    <a:pt x="404242" y="46408"/>
                  </a:lnTo>
                  <a:lnTo>
                    <a:pt x="400556" y="42717"/>
                  </a:lnTo>
                  <a:lnTo>
                    <a:pt x="400556" y="39027"/>
                  </a:lnTo>
                  <a:lnTo>
                    <a:pt x="404242" y="35336"/>
                  </a:lnTo>
                  <a:lnTo>
                    <a:pt x="400556" y="35336"/>
                  </a:lnTo>
                  <a:lnTo>
                    <a:pt x="400556" y="31645"/>
                  </a:lnTo>
                  <a:lnTo>
                    <a:pt x="400556" y="27955"/>
                  </a:lnTo>
                  <a:lnTo>
                    <a:pt x="396870" y="24264"/>
                  </a:lnTo>
                  <a:lnTo>
                    <a:pt x="400556" y="16883"/>
                  </a:lnTo>
                  <a:lnTo>
                    <a:pt x="400556" y="13192"/>
                  </a:lnTo>
                  <a:lnTo>
                    <a:pt x="400556" y="9502"/>
                  </a:lnTo>
                  <a:lnTo>
                    <a:pt x="407938" y="5812"/>
                  </a:lnTo>
                  <a:close/>
                  <a:moveTo>
                    <a:pt x="430065" y="53789"/>
                  </a:moveTo>
                  <a:lnTo>
                    <a:pt x="430065" y="57480"/>
                  </a:lnTo>
                  <a:lnTo>
                    <a:pt x="433760" y="61170"/>
                  </a:lnTo>
                  <a:lnTo>
                    <a:pt x="430065" y="53789"/>
                  </a:lnTo>
                  <a:close/>
                  <a:moveTo>
                    <a:pt x="24261" y="264151"/>
                  </a:moveTo>
                  <a:lnTo>
                    <a:pt x="13193" y="275223"/>
                  </a:lnTo>
                  <a:lnTo>
                    <a:pt x="9498" y="275223"/>
                  </a:lnTo>
                  <a:lnTo>
                    <a:pt x="5812" y="275223"/>
                  </a:lnTo>
                  <a:lnTo>
                    <a:pt x="9498" y="278913"/>
                  </a:lnTo>
                  <a:lnTo>
                    <a:pt x="13193" y="278913"/>
                  </a:lnTo>
                  <a:lnTo>
                    <a:pt x="16880" y="275223"/>
                  </a:lnTo>
                  <a:lnTo>
                    <a:pt x="24261" y="264151"/>
                  </a:lnTo>
                  <a:close/>
                  <a:moveTo>
                    <a:pt x="50084" y="190340"/>
                  </a:moveTo>
                  <a:lnTo>
                    <a:pt x="50084" y="186649"/>
                  </a:lnTo>
                  <a:lnTo>
                    <a:pt x="46398" y="190340"/>
                  </a:lnTo>
                  <a:lnTo>
                    <a:pt x="50084" y="190340"/>
                  </a:lnTo>
                  <a:close/>
                  <a:moveTo>
                    <a:pt x="407938" y="75933"/>
                  </a:moveTo>
                  <a:lnTo>
                    <a:pt x="411624" y="75933"/>
                  </a:lnTo>
                  <a:lnTo>
                    <a:pt x="411624" y="79623"/>
                  </a:lnTo>
                  <a:lnTo>
                    <a:pt x="407938" y="75933"/>
                  </a:lnTo>
                  <a:close/>
                  <a:moveTo>
                    <a:pt x="400556" y="79623"/>
                  </a:moveTo>
                  <a:lnTo>
                    <a:pt x="404242" y="79623"/>
                  </a:lnTo>
                  <a:lnTo>
                    <a:pt x="400556" y="83314"/>
                  </a:lnTo>
                  <a:lnTo>
                    <a:pt x="400556" y="79623"/>
                  </a:lnTo>
                  <a:close/>
                  <a:moveTo>
                    <a:pt x="39016" y="301057"/>
                  </a:moveTo>
                  <a:lnTo>
                    <a:pt x="42702" y="301057"/>
                  </a:lnTo>
                  <a:lnTo>
                    <a:pt x="39016" y="304748"/>
                  </a:lnTo>
                  <a:lnTo>
                    <a:pt x="39016" y="301057"/>
                  </a:lnTo>
                  <a:close/>
                </a:path>
              </a:pathLst>
            </a:custGeom>
            <a:solidFill>
              <a:srgbClr val="FFBD42"/>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08</a:t>
              </a:r>
            </a:p>
          </p:txBody>
        </p:sp>
        <p:sp>
          <p:nvSpPr>
            <p:cNvPr id="328" name="Freeform: Shape 327">
              <a:extLst>
                <a:ext uri="{FF2B5EF4-FFF2-40B4-BE49-F238E27FC236}">
                  <a16:creationId xmlns:a16="http://schemas.microsoft.com/office/drawing/2014/main" id="{E6BD2FA9-B69E-4B71-8B99-5B825E31B139}"/>
                </a:ext>
              </a:extLst>
            </p:cNvPr>
            <p:cNvSpPr/>
            <p:nvPr/>
          </p:nvSpPr>
          <p:spPr>
            <a:xfrm>
              <a:off x="9839229" y="2538398"/>
              <a:ext cx="15373" cy="30745"/>
            </a:xfrm>
            <a:custGeom>
              <a:avLst/>
              <a:gdLst>
                <a:gd name="connsiteX0" fmla="*/ 13193 w 9525"/>
                <a:gd name="connsiteY0" fmla="*/ 9502 h 19050"/>
                <a:gd name="connsiteX1" fmla="*/ 13193 w 9525"/>
                <a:gd name="connsiteY1" fmla="*/ 13193 h 19050"/>
                <a:gd name="connsiteX2" fmla="*/ 9507 w 9525"/>
                <a:gd name="connsiteY2" fmla="*/ 16884 h 19050"/>
                <a:gd name="connsiteX3" fmla="*/ 5812 w 9525"/>
                <a:gd name="connsiteY3" fmla="*/ 16884 h 19050"/>
                <a:gd name="connsiteX4" fmla="*/ 5812 w 9525"/>
                <a:gd name="connsiteY4" fmla="*/ 16884 h 19050"/>
                <a:gd name="connsiteX5" fmla="*/ 5812 w 9525"/>
                <a:gd name="connsiteY5" fmla="*/ 13193 h 19050"/>
                <a:gd name="connsiteX6" fmla="*/ 5812 w 9525"/>
                <a:gd name="connsiteY6" fmla="*/ 9502 h 19050"/>
                <a:gd name="connsiteX7" fmla="*/ 5812 w 9525"/>
                <a:gd name="connsiteY7" fmla="*/ 9502 h 19050"/>
                <a:gd name="connsiteX8" fmla="*/ 9507 w 9525"/>
                <a:gd name="connsiteY8" fmla="*/ 5812 h 19050"/>
                <a:gd name="connsiteX9" fmla="*/ 9507 w 9525"/>
                <a:gd name="connsiteY9" fmla="*/ 5812 h 19050"/>
                <a:gd name="connsiteX10" fmla="*/ 13193 w 9525"/>
                <a:gd name="connsiteY10" fmla="*/ 5812 h 19050"/>
                <a:gd name="connsiteX11" fmla="*/ 13193 w 9525"/>
                <a:gd name="connsiteY11" fmla="*/ 950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25" h="19050">
                  <a:moveTo>
                    <a:pt x="13193" y="9502"/>
                  </a:moveTo>
                  <a:lnTo>
                    <a:pt x="13193" y="13193"/>
                  </a:lnTo>
                  <a:lnTo>
                    <a:pt x="9507" y="16884"/>
                  </a:lnTo>
                  <a:lnTo>
                    <a:pt x="5812" y="16884"/>
                  </a:lnTo>
                  <a:lnTo>
                    <a:pt x="5812" y="16884"/>
                  </a:lnTo>
                  <a:lnTo>
                    <a:pt x="5812" y="13193"/>
                  </a:lnTo>
                  <a:lnTo>
                    <a:pt x="5812" y="9502"/>
                  </a:lnTo>
                  <a:lnTo>
                    <a:pt x="5812" y="9502"/>
                  </a:lnTo>
                  <a:lnTo>
                    <a:pt x="9507" y="5812"/>
                  </a:lnTo>
                  <a:lnTo>
                    <a:pt x="9507" y="5812"/>
                  </a:lnTo>
                  <a:lnTo>
                    <a:pt x="13193" y="5812"/>
                  </a:lnTo>
                  <a:lnTo>
                    <a:pt x="13193" y="9502"/>
                  </a:lnTo>
                  <a:close/>
                </a:path>
              </a:pathLst>
            </a:custGeom>
            <a:solidFill>
              <a:srgbClr val="FFBD42"/>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29" name="Freeform: Shape 328">
              <a:extLst>
                <a:ext uri="{FF2B5EF4-FFF2-40B4-BE49-F238E27FC236}">
                  <a16:creationId xmlns:a16="http://schemas.microsoft.com/office/drawing/2014/main" id="{BB5EB0BA-7E56-45E7-92E7-0E7A06B1139F}"/>
                </a:ext>
              </a:extLst>
            </p:cNvPr>
            <p:cNvSpPr/>
            <p:nvPr/>
          </p:nvSpPr>
          <p:spPr>
            <a:xfrm>
              <a:off x="9505796" y="2520529"/>
              <a:ext cx="292081" cy="76864"/>
            </a:xfrm>
            <a:custGeom>
              <a:avLst/>
              <a:gdLst>
                <a:gd name="connsiteX0" fmla="*/ 64847 w 180975"/>
                <a:gd name="connsiteY0" fmla="*/ 16883 h 47625"/>
                <a:gd name="connsiteX1" fmla="*/ 75906 w 180975"/>
                <a:gd name="connsiteY1" fmla="*/ 16883 h 47625"/>
                <a:gd name="connsiteX2" fmla="*/ 86974 w 180975"/>
                <a:gd name="connsiteY2" fmla="*/ 16883 h 47625"/>
                <a:gd name="connsiteX3" fmla="*/ 134942 w 180975"/>
                <a:gd name="connsiteY3" fmla="*/ 13193 h 47625"/>
                <a:gd name="connsiteX4" fmla="*/ 157068 w 180975"/>
                <a:gd name="connsiteY4" fmla="*/ 9502 h 47625"/>
                <a:gd name="connsiteX5" fmla="*/ 168137 w 180975"/>
                <a:gd name="connsiteY5" fmla="*/ 9502 h 47625"/>
                <a:gd name="connsiteX6" fmla="*/ 175519 w 180975"/>
                <a:gd name="connsiteY6" fmla="*/ 13193 h 47625"/>
                <a:gd name="connsiteX7" fmla="*/ 179205 w 180975"/>
                <a:gd name="connsiteY7" fmla="*/ 13193 h 47625"/>
                <a:gd name="connsiteX8" fmla="*/ 179205 w 180975"/>
                <a:gd name="connsiteY8" fmla="*/ 16883 h 47625"/>
                <a:gd name="connsiteX9" fmla="*/ 179205 w 180975"/>
                <a:gd name="connsiteY9" fmla="*/ 16883 h 47625"/>
                <a:gd name="connsiteX10" fmla="*/ 179205 w 180975"/>
                <a:gd name="connsiteY10" fmla="*/ 20574 h 47625"/>
                <a:gd name="connsiteX11" fmla="*/ 175519 w 180975"/>
                <a:gd name="connsiteY11" fmla="*/ 20574 h 47625"/>
                <a:gd name="connsiteX12" fmla="*/ 164450 w 180975"/>
                <a:gd name="connsiteY12" fmla="*/ 20574 h 47625"/>
                <a:gd name="connsiteX13" fmla="*/ 157068 w 180975"/>
                <a:gd name="connsiteY13" fmla="*/ 20574 h 47625"/>
                <a:gd name="connsiteX14" fmla="*/ 146001 w 180975"/>
                <a:gd name="connsiteY14" fmla="*/ 20574 h 47625"/>
                <a:gd name="connsiteX15" fmla="*/ 138628 w 180975"/>
                <a:gd name="connsiteY15" fmla="*/ 24264 h 47625"/>
                <a:gd name="connsiteX16" fmla="*/ 138628 w 180975"/>
                <a:gd name="connsiteY16" fmla="*/ 24264 h 47625"/>
                <a:gd name="connsiteX17" fmla="*/ 131246 w 180975"/>
                <a:gd name="connsiteY17" fmla="*/ 27955 h 47625"/>
                <a:gd name="connsiteX18" fmla="*/ 127560 w 180975"/>
                <a:gd name="connsiteY18" fmla="*/ 27955 h 47625"/>
                <a:gd name="connsiteX19" fmla="*/ 127560 w 180975"/>
                <a:gd name="connsiteY19" fmla="*/ 27955 h 47625"/>
                <a:gd name="connsiteX20" fmla="*/ 127560 w 180975"/>
                <a:gd name="connsiteY20" fmla="*/ 27955 h 47625"/>
                <a:gd name="connsiteX21" fmla="*/ 112806 w 180975"/>
                <a:gd name="connsiteY21" fmla="*/ 31645 h 47625"/>
                <a:gd name="connsiteX22" fmla="*/ 98042 w 180975"/>
                <a:gd name="connsiteY22" fmla="*/ 35336 h 47625"/>
                <a:gd name="connsiteX23" fmla="*/ 90670 w 180975"/>
                <a:gd name="connsiteY23" fmla="*/ 35336 h 47625"/>
                <a:gd name="connsiteX24" fmla="*/ 86974 w 180975"/>
                <a:gd name="connsiteY24" fmla="*/ 35336 h 47625"/>
                <a:gd name="connsiteX25" fmla="*/ 83288 w 180975"/>
                <a:gd name="connsiteY25" fmla="*/ 35336 h 47625"/>
                <a:gd name="connsiteX26" fmla="*/ 72220 w 180975"/>
                <a:gd name="connsiteY26" fmla="*/ 31645 h 47625"/>
                <a:gd name="connsiteX27" fmla="*/ 68534 w 180975"/>
                <a:gd name="connsiteY27" fmla="*/ 31645 h 47625"/>
                <a:gd name="connsiteX28" fmla="*/ 61152 w 180975"/>
                <a:gd name="connsiteY28" fmla="*/ 31645 h 47625"/>
                <a:gd name="connsiteX29" fmla="*/ 57466 w 180975"/>
                <a:gd name="connsiteY29" fmla="*/ 31645 h 47625"/>
                <a:gd name="connsiteX30" fmla="*/ 57466 w 180975"/>
                <a:gd name="connsiteY30" fmla="*/ 35336 h 47625"/>
                <a:gd name="connsiteX31" fmla="*/ 53779 w 180975"/>
                <a:gd name="connsiteY31" fmla="*/ 39027 h 47625"/>
                <a:gd name="connsiteX32" fmla="*/ 50084 w 180975"/>
                <a:gd name="connsiteY32" fmla="*/ 42717 h 47625"/>
                <a:gd name="connsiteX33" fmla="*/ 42711 w 180975"/>
                <a:gd name="connsiteY33" fmla="*/ 42717 h 47625"/>
                <a:gd name="connsiteX34" fmla="*/ 39016 w 180975"/>
                <a:gd name="connsiteY34" fmla="*/ 46408 h 47625"/>
                <a:gd name="connsiteX35" fmla="*/ 35330 w 180975"/>
                <a:gd name="connsiteY35" fmla="*/ 46408 h 47625"/>
                <a:gd name="connsiteX36" fmla="*/ 31643 w 180975"/>
                <a:gd name="connsiteY36" fmla="*/ 46408 h 47625"/>
                <a:gd name="connsiteX37" fmla="*/ 35330 w 180975"/>
                <a:gd name="connsiteY37" fmla="*/ 46408 h 47625"/>
                <a:gd name="connsiteX38" fmla="*/ 31643 w 180975"/>
                <a:gd name="connsiteY38" fmla="*/ 50098 h 47625"/>
                <a:gd name="connsiteX39" fmla="*/ 27948 w 180975"/>
                <a:gd name="connsiteY39" fmla="*/ 46408 h 47625"/>
                <a:gd name="connsiteX40" fmla="*/ 20575 w 180975"/>
                <a:gd name="connsiteY40" fmla="*/ 46408 h 47625"/>
                <a:gd name="connsiteX41" fmla="*/ 16880 w 180975"/>
                <a:gd name="connsiteY41" fmla="*/ 42717 h 47625"/>
                <a:gd name="connsiteX42" fmla="*/ 9507 w 180975"/>
                <a:gd name="connsiteY42" fmla="*/ 39027 h 47625"/>
                <a:gd name="connsiteX43" fmla="*/ 5812 w 180975"/>
                <a:gd name="connsiteY43" fmla="*/ 31645 h 47625"/>
                <a:gd name="connsiteX44" fmla="*/ 5812 w 180975"/>
                <a:gd name="connsiteY44" fmla="*/ 27955 h 47625"/>
                <a:gd name="connsiteX45" fmla="*/ 9507 w 180975"/>
                <a:gd name="connsiteY45" fmla="*/ 24264 h 47625"/>
                <a:gd name="connsiteX46" fmla="*/ 13193 w 180975"/>
                <a:gd name="connsiteY46" fmla="*/ 16883 h 47625"/>
                <a:gd name="connsiteX47" fmla="*/ 16880 w 180975"/>
                <a:gd name="connsiteY47" fmla="*/ 13193 h 47625"/>
                <a:gd name="connsiteX48" fmla="*/ 24261 w 180975"/>
                <a:gd name="connsiteY48" fmla="*/ 5812 h 47625"/>
                <a:gd name="connsiteX49" fmla="*/ 27948 w 180975"/>
                <a:gd name="connsiteY49" fmla="*/ 5812 h 47625"/>
                <a:gd name="connsiteX50" fmla="*/ 31643 w 180975"/>
                <a:gd name="connsiteY50" fmla="*/ 5812 h 47625"/>
                <a:gd name="connsiteX51" fmla="*/ 35330 w 180975"/>
                <a:gd name="connsiteY51" fmla="*/ 9502 h 47625"/>
                <a:gd name="connsiteX52" fmla="*/ 39016 w 180975"/>
                <a:gd name="connsiteY52" fmla="*/ 9502 h 47625"/>
                <a:gd name="connsiteX53" fmla="*/ 42711 w 180975"/>
                <a:gd name="connsiteY53" fmla="*/ 13193 h 47625"/>
                <a:gd name="connsiteX54" fmla="*/ 39016 w 180975"/>
                <a:gd name="connsiteY54" fmla="*/ 13193 h 47625"/>
                <a:gd name="connsiteX55" fmla="*/ 39016 w 180975"/>
                <a:gd name="connsiteY55" fmla="*/ 13193 h 47625"/>
                <a:gd name="connsiteX56" fmla="*/ 35330 w 180975"/>
                <a:gd name="connsiteY56" fmla="*/ 9502 h 47625"/>
                <a:gd name="connsiteX57" fmla="*/ 35330 w 180975"/>
                <a:gd name="connsiteY57" fmla="*/ 9502 h 47625"/>
                <a:gd name="connsiteX58" fmla="*/ 31643 w 180975"/>
                <a:gd name="connsiteY58" fmla="*/ 9502 h 47625"/>
                <a:gd name="connsiteX59" fmla="*/ 24261 w 180975"/>
                <a:gd name="connsiteY59" fmla="*/ 9502 h 47625"/>
                <a:gd name="connsiteX60" fmla="*/ 20575 w 180975"/>
                <a:gd name="connsiteY60" fmla="*/ 13193 h 47625"/>
                <a:gd name="connsiteX61" fmla="*/ 27948 w 180975"/>
                <a:gd name="connsiteY61" fmla="*/ 13193 h 47625"/>
                <a:gd name="connsiteX62" fmla="*/ 31643 w 180975"/>
                <a:gd name="connsiteY62" fmla="*/ 13193 h 47625"/>
                <a:gd name="connsiteX63" fmla="*/ 31643 w 180975"/>
                <a:gd name="connsiteY63" fmla="*/ 13193 h 47625"/>
                <a:gd name="connsiteX64" fmla="*/ 46398 w 180975"/>
                <a:gd name="connsiteY64" fmla="*/ 16883 h 47625"/>
                <a:gd name="connsiteX65" fmla="*/ 64847 w 180975"/>
                <a:gd name="connsiteY65" fmla="*/ 16883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80975" h="47625">
                  <a:moveTo>
                    <a:pt x="64847" y="16883"/>
                  </a:moveTo>
                  <a:lnTo>
                    <a:pt x="75906" y="16883"/>
                  </a:lnTo>
                  <a:lnTo>
                    <a:pt x="86974" y="16883"/>
                  </a:lnTo>
                  <a:lnTo>
                    <a:pt x="134942" y="13193"/>
                  </a:lnTo>
                  <a:lnTo>
                    <a:pt x="157068" y="9502"/>
                  </a:lnTo>
                  <a:lnTo>
                    <a:pt x="168137" y="9502"/>
                  </a:lnTo>
                  <a:lnTo>
                    <a:pt x="175519" y="13193"/>
                  </a:lnTo>
                  <a:lnTo>
                    <a:pt x="179205" y="13193"/>
                  </a:lnTo>
                  <a:lnTo>
                    <a:pt x="179205" y="16883"/>
                  </a:lnTo>
                  <a:lnTo>
                    <a:pt x="179205" y="16883"/>
                  </a:lnTo>
                  <a:lnTo>
                    <a:pt x="179205" y="20574"/>
                  </a:lnTo>
                  <a:lnTo>
                    <a:pt x="175519" y="20574"/>
                  </a:lnTo>
                  <a:lnTo>
                    <a:pt x="164450" y="20574"/>
                  </a:lnTo>
                  <a:lnTo>
                    <a:pt x="157068" y="20574"/>
                  </a:lnTo>
                  <a:lnTo>
                    <a:pt x="146001" y="20574"/>
                  </a:lnTo>
                  <a:lnTo>
                    <a:pt x="138628" y="24264"/>
                  </a:lnTo>
                  <a:lnTo>
                    <a:pt x="138628" y="24264"/>
                  </a:lnTo>
                  <a:lnTo>
                    <a:pt x="131246" y="27955"/>
                  </a:lnTo>
                  <a:lnTo>
                    <a:pt x="127560" y="27955"/>
                  </a:lnTo>
                  <a:lnTo>
                    <a:pt x="127560" y="27955"/>
                  </a:lnTo>
                  <a:lnTo>
                    <a:pt x="127560" y="27955"/>
                  </a:lnTo>
                  <a:lnTo>
                    <a:pt x="112806" y="31645"/>
                  </a:lnTo>
                  <a:lnTo>
                    <a:pt x="98042" y="35336"/>
                  </a:lnTo>
                  <a:lnTo>
                    <a:pt x="90670" y="35336"/>
                  </a:lnTo>
                  <a:lnTo>
                    <a:pt x="86974" y="35336"/>
                  </a:lnTo>
                  <a:lnTo>
                    <a:pt x="83288" y="35336"/>
                  </a:lnTo>
                  <a:lnTo>
                    <a:pt x="72220" y="31645"/>
                  </a:lnTo>
                  <a:lnTo>
                    <a:pt x="68534" y="31645"/>
                  </a:lnTo>
                  <a:lnTo>
                    <a:pt x="61152" y="31645"/>
                  </a:lnTo>
                  <a:lnTo>
                    <a:pt x="57466" y="31645"/>
                  </a:lnTo>
                  <a:lnTo>
                    <a:pt x="57466" y="35336"/>
                  </a:lnTo>
                  <a:lnTo>
                    <a:pt x="53779" y="39027"/>
                  </a:lnTo>
                  <a:lnTo>
                    <a:pt x="50084" y="42717"/>
                  </a:lnTo>
                  <a:lnTo>
                    <a:pt x="42711" y="42717"/>
                  </a:lnTo>
                  <a:lnTo>
                    <a:pt x="39016" y="46408"/>
                  </a:lnTo>
                  <a:lnTo>
                    <a:pt x="35330" y="46408"/>
                  </a:lnTo>
                  <a:lnTo>
                    <a:pt x="31643" y="46408"/>
                  </a:lnTo>
                  <a:lnTo>
                    <a:pt x="35330" y="46408"/>
                  </a:lnTo>
                  <a:lnTo>
                    <a:pt x="31643" y="50098"/>
                  </a:lnTo>
                  <a:lnTo>
                    <a:pt x="27948" y="46408"/>
                  </a:lnTo>
                  <a:lnTo>
                    <a:pt x="20575" y="46408"/>
                  </a:lnTo>
                  <a:lnTo>
                    <a:pt x="16880" y="42717"/>
                  </a:lnTo>
                  <a:lnTo>
                    <a:pt x="9507" y="39027"/>
                  </a:lnTo>
                  <a:lnTo>
                    <a:pt x="5812" y="31645"/>
                  </a:lnTo>
                  <a:lnTo>
                    <a:pt x="5812" y="27955"/>
                  </a:lnTo>
                  <a:lnTo>
                    <a:pt x="9507" y="24264"/>
                  </a:lnTo>
                  <a:lnTo>
                    <a:pt x="13193" y="16883"/>
                  </a:lnTo>
                  <a:lnTo>
                    <a:pt x="16880" y="13193"/>
                  </a:lnTo>
                  <a:lnTo>
                    <a:pt x="24261" y="5812"/>
                  </a:lnTo>
                  <a:lnTo>
                    <a:pt x="27948" y="5812"/>
                  </a:lnTo>
                  <a:lnTo>
                    <a:pt x="31643" y="5812"/>
                  </a:lnTo>
                  <a:lnTo>
                    <a:pt x="35330" y="9502"/>
                  </a:lnTo>
                  <a:lnTo>
                    <a:pt x="39016" y="9502"/>
                  </a:lnTo>
                  <a:lnTo>
                    <a:pt x="42711" y="13193"/>
                  </a:lnTo>
                  <a:lnTo>
                    <a:pt x="39016" y="13193"/>
                  </a:lnTo>
                  <a:lnTo>
                    <a:pt x="39016" y="13193"/>
                  </a:lnTo>
                  <a:lnTo>
                    <a:pt x="35330" y="9502"/>
                  </a:lnTo>
                  <a:lnTo>
                    <a:pt x="35330" y="9502"/>
                  </a:lnTo>
                  <a:lnTo>
                    <a:pt x="31643" y="9502"/>
                  </a:lnTo>
                  <a:lnTo>
                    <a:pt x="24261" y="9502"/>
                  </a:lnTo>
                  <a:lnTo>
                    <a:pt x="20575" y="13193"/>
                  </a:lnTo>
                  <a:lnTo>
                    <a:pt x="27948" y="13193"/>
                  </a:lnTo>
                  <a:lnTo>
                    <a:pt x="31643" y="13193"/>
                  </a:lnTo>
                  <a:lnTo>
                    <a:pt x="31643" y="13193"/>
                  </a:lnTo>
                  <a:lnTo>
                    <a:pt x="46398" y="16883"/>
                  </a:lnTo>
                  <a:lnTo>
                    <a:pt x="64847" y="16883"/>
                  </a:lnTo>
                  <a:close/>
                </a:path>
              </a:pathLst>
            </a:custGeom>
            <a:solidFill>
              <a:srgbClr val="FFBD42"/>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30" name="Freeform: Shape 329">
              <a:extLst>
                <a:ext uri="{FF2B5EF4-FFF2-40B4-BE49-F238E27FC236}">
                  <a16:creationId xmlns:a16="http://schemas.microsoft.com/office/drawing/2014/main" id="{0636CEEE-C9AA-401B-97A2-AEB7963B0C69}"/>
                </a:ext>
              </a:extLst>
            </p:cNvPr>
            <p:cNvSpPr/>
            <p:nvPr/>
          </p:nvSpPr>
          <p:spPr>
            <a:xfrm>
              <a:off x="9898767" y="2466921"/>
              <a:ext cx="184472" cy="92236"/>
            </a:xfrm>
            <a:custGeom>
              <a:avLst/>
              <a:gdLst>
                <a:gd name="connsiteX0" fmla="*/ 112806 w 114300"/>
                <a:gd name="connsiteY0" fmla="*/ 9502 h 57150"/>
                <a:gd name="connsiteX1" fmla="*/ 112806 w 114300"/>
                <a:gd name="connsiteY1" fmla="*/ 16883 h 57150"/>
                <a:gd name="connsiteX2" fmla="*/ 109110 w 114300"/>
                <a:gd name="connsiteY2" fmla="*/ 16883 h 57150"/>
                <a:gd name="connsiteX3" fmla="*/ 105424 w 114300"/>
                <a:gd name="connsiteY3" fmla="*/ 16883 h 57150"/>
                <a:gd name="connsiteX4" fmla="*/ 101738 w 114300"/>
                <a:gd name="connsiteY4" fmla="*/ 16883 h 57150"/>
                <a:gd name="connsiteX5" fmla="*/ 98042 w 114300"/>
                <a:gd name="connsiteY5" fmla="*/ 16883 h 57150"/>
                <a:gd name="connsiteX6" fmla="*/ 90670 w 114300"/>
                <a:gd name="connsiteY6" fmla="*/ 20574 h 57150"/>
                <a:gd name="connsiteX7" fmla="*/ 90670 w 114300"/>
                <a:gd name="connsiteY7" fmla="*/ 20574 h 57150"/>
                <a:gd name="connsiteX8" fmla="*/ 79602 w 114300"/>
                <a:gd name="connsiteY8" fmla="*/ 24264 h 57150"/>
                <a:gd name="connsiteX9" fmla="*/ 75906 w 114300"/>
                <a:gd name="connsiteY9" fmla="*/ 27955 h 57150"/>
                <a:gd name="connsiteX10" fmla="*/ 75906 w 114300"/>
                <a:gd name="connsiteY10" fmla="*/ 31646 h 57150"/>
                <a:gd name="connsiteX11" fmla="*/ 68534 w 114300"/>
                <a:gd name="connsiteY11" fmla="*/ 35336 h 57150"/>
                <a:gd name="connsiteX12" fmla="*/ 64838 w 114300"/>
                <a:gd name="connsiteY12" fmla="*/ 35336 h 57150"/>
                <a:gd name="connsiteX13" fmla="*/ 57466 w 114300"/>
                <a:gd name="connsiteY13" fmla="*/ 35336 h 57150"/>
                <a:gd name="connsiteX14" fmla="*/ 57466 w 114300"/>
                <a:gd name="connsiteY14" fmla="*/ 35336 h 57150"/>
                <a:gd name="connsiteX15" fmla="*/ 53770 w 114300"/>
                <a:gd name="connsiteY15" fmla="*/ 35336 h 57150"/>
                <a:gd name="connsiteX16" fmla="*/ 53770 w 114300"/>
                <a:gd name="connsiteY16" fmla="*/ 35336 h 57150"/>
                <a:gd name="connsiteX17" fmla="*/ 42702 w 114300"/>
                <a:gd name="connsiteY17" fmla="*/ 39027 h 57150"/>
                <a:gd name="connsiteX18" fmla="*/ 39016 w 114300"/>
                <a:gd name="connsiteY18" fmla="*/ 39027 h 57150"/>
                <a:gd name="connsiteX19" fmla="*/ 39016 w 114300"/>
                <a:gd name="connsiteY19" fmla="*/ 39027 h 57150"/>
                <a:gd name="connsiteX20" fmla="*/ 27948 w 114300"/>
                <a:gd name="connsiteY20" fmla="*/ 39027 h 57150"/>
                <a:gd name="connsiteX21" fmla="*/ 24261 w 114300"/>
                <a:gd name="connsiteY21" fmla="*/ 39027 h 57150"/>
                <a:gd name="connsiteX22" fmla="*/ 20575 w 114300"/>
                <a:gd name="connsiteY22" fmla="*/ 46408 h 57150"/>
                <a:gd name="connsiteX23" fmla="*/ 20575 w 114300"/>
                <a:gd name="connsiteY23" fmla="*/ 50098 h 57150"/>
                <a:gd name="connsiteX24" fmla="*/ 16879 w 114300"/>
                <a:gd name="connsiteY24" fmla="*/ 50098 h 57150"/>
                <a:gd name="connsiteX25" fmla="*/ 16879 w 114300"/>
                <a:gd name="connsiteY25" fmla="*/ 53789 h 57150"/>
                <a:gd name="connsiteX26" fmla="*/ 16879 w 114300"/>
                <a:gd name="connsiteY26" fmla="*/ 53789 h 57150"/>
                <a:gd name="connsiteX27" fmla="*/ 13193 w 114300"/>
                <a:gd name="connsiteY27" fmla="*/ 53789 h 57150"/>
                <a:gd name="connsiteX28" fmla="*/ 13193 w 114300"/>
                <a:gd name="connsiteY28" fmla="*/ 53789 h 57150"/>
                <a:gd name="connsiteX29" fmla="*/ 9507 w 114300"/>
                <a:gd name="connsiteY29" fmla="*/ 53789 h 57150"/>
                <a:gd name="connsiteX30" fmla="*/ 9507 w 114300"/>
                <a:gd name="connsiteY30" fmla="*/ 57480 h 57150"/>
                <a:gd name="connsiteX31" fmla="*/ 9507 w 114300"/>
                <a:gd name="connsiteY31" fmla="*/ 57480 h 57150"/>
                <a:gd name="connsiteX32" fmla="*/ 5812 w 114300"/>
                <a:gd name="connsiteY32" fmla="*/ 50098 h 57150"/>
                <a:gd name="connsiteX33" fmla="*/ 5812 w 114300"/>
                <a:gd name="connsiteY33" fmla="*/ 50098 h 57150"/>
                <a:gd name="connsiteX34" fmla="*/ 5812 w 114300"/>
                <a:gd name="connsiteY34" fmla="*/ 46408 h 57150"/>
                <a:gd name="connsiteX35" fmla="*/ 9507 w 114300"/>
                <a:gd name="connsiteY35" fmla="*/ 46408 h 57150"/>
                <a:gd name="connsiteX36" fmla="*/ 13193 w 114300"/>
                <a:gd name="connsiteY36" fmla="*/ 42717 h 57150"/>
                <a:gd name="connsiteX37" fmla="*/ 9507 w 114300"/>
                <a:gd name="connsiteY37" fmla="*/ 39027 h 57150"/>
                <a:gd name="connsiteX38" fmla="*/ 9507 w 114300"/>
                <a:gd name="connsiteY38" fmla="*/ 35336 h 57150"/>
                <a:gd name="connsiteX39" fmla="*/ 9507 w 114300"/>
                <a:gd name="connsiteY39" fmla="*/ 27955 h 57150"/>
                <a:gd name="connsiteX40" fmla="*/ 13193 w 114300"/>
                <a:gd name="connsiteY40" fmla="*/ 24264 h 57150"/>
                <a:gd name="connsiteX41" fmla="*/ 20575 w 114300"/>
                <a:gd name="connsiteY41" fmla="*/ 20574 h 57150"/>
                <a:gd name="connsiteX42" fmla="*/ 20575 w 114300"/>
                <a:gd name="connsiteY42" fmla="*/ 16883 h 57150"/>
                <a:gd name="connsiteX43" fmla="*/ 20575 w 114300"/>
                <a:gd name="connsiteY43" fmla="*/ 16883 h 57150"/>
                <a:gd name="connsiteX44" fmla="*/ 16879 w 114300"/>
                <a:gd name="connsiteY44" fmla="*/ 16883 h 57150"/>
                <a:gd name="connsiteX45" fmla="*/ 13193 w 114300"/>
                <a:gd name="connsiteY45" fmla="*/ 16883 h 57150"/>
                <a:gd name="connsiteX46" fmla="*/ 9507 w 114300"/>
                <a:gd name="connsiteY46" fmla="*/ 16883 h 57150"/>
                <a:gd name="connsiteX47" fmla="*/ 9507 w 114300"/>
                <a:gd name="connsiteY47" fmla="*/ 16883 h 57150"/>
                <a:gd name="connsiteX48" fmla="*/ 5812 w 114300"/>
                <a:gd name="connsiteY48" fmla="*/ 16883 h 57150"/>
                <a:gd name="connsiteX49" fmla="*/ 9507 w 114300"/>
                <a:gd name="connsiteY49" fmla="*/ 16883 h 57150"/>
                <a:gd name="connsiteX50" fmla="*/ 9507 w 114300"/>
                <a:gd name="connsiteY50" fmla="*/ 16883 h 57150"/>
                <a:gd name="connsiteX51" fmla="*/ 13193 w 114300"/>
                <a:gd name="connsiteY51" fmla="*/ 13193 h 57150"/>
                <a:gd name="connsiteX52" fmla="*/ 20575 w 114300"/>
                <a:gd name="connsiteY52" fmla="*/ 16883 h 57150"/>
                <a:gd name="connsiteX53" fmla="*/ 31643 w 114300"/>
                <a:gd name="connsiteY53" fmla="*/ 16883 h 57150"/>
                <a:gd name="connsiteX54" fmla="*/ 68534 w 114300"/>
                <a:gd name="connsiteY54" fmla="*/ 13193 h 57150"/>
                <a:gd name="connsiteX55" fmla="*/ 79602 w 114300"/>
                <a:gd name="connsiteY55" fmla="*/ 13193 h 57150"/>
                <a:gd name="connsiteX56" fmla="*/ 101738 w 114300"/>
                <a:gd name="connsiteY56" fmla="*/ 9502 h 57150"/>
                <a:gd name="connsiteX57" fmla="*/ 109110 w 114300"/>
                <a:gd name="connsiteY57" fmla="*/ 5812 h 57150"/>
                <a:gd name="connsiteX58" fmla="*/ 112806 w 114300"/>
                <a:gd name="connsiteY58" fmla="*/ 950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14300" h="57150">
                  <a:moveTo>
                    <a:pt x="112806" y="9502"/>
                  </a:moveTo>
                  <a:lnTo>
                    <a:pt x="112806" y="16883"/>
                  </a:lnTo>
                  <a:lnTo>
                    <a:pt x="109110" y="16883"/>
                  </a:lnTo>
                  <a:lnTo>
                    <a:pt x="105424" y="16883"/>
                  </a:lnTo>
                  <a:lnTo>
                    <a:pt x="101738" y="16883"/>
                  </a:lnTo>
                  <a:lnTo>
                    <a:pt x="98042" y="16883"/>
                  </a:lnTo>
                  <a:lnTo>
                    <a:pt x="90670" y="20574"/>
                  </a:lnTo>
                  <a:lnTo>
                    <a:pt x="90670" y="20574"/>
                  </a:lnTo>
                  <a:lnTo>
                    <a:pt x="79602" y="24264"/>
                  </a:lnTo>
                  <a:lnTo>
                    <a:pt x="75906" y="27955"/>
                  </a:lnTo>
                  <a:lnTo>
                    <a:pt x="75906" y="31646"/>
                  </a:lnTo>
                  <a:lnTo>
                    <a:pt x="68534" y="35336"/>
                  </a:lnTo>
                  <a:lnTo>
                    <a:pt x="64838" y="35336"/>
                  </a:lnTo>
                  <a:lnTo>
                    <a:pt x="57466" y="35336"/>
                  </a:lnTo>
                  <a:lnTo>
                    <a:pt x="57466" y="35336"/>
                  </a:lnTo>
                  <a:lnTo>
                    <a:pt x="53770" y="35336"/>
                  </a:lnTo>
                  <a:lnTo>
                    <a:pt x="53770" y="35336"/>
                  </a:lnTo>
                  <a:lnTo>
                    <a:pt x="42702" y="39027"/>
                  </a:lnTo>
                  <a:lnTo>
                    <a:pt x="39016" y="39027"/>
                  </a:lnTo>
                  <a:lnTo>
                    <a:pt x="39016" y="39027"/>
                  </a:lnTo>
                  <a:lnTo>
                    <a:pt x="27948" y="39027"/>
                  </a:lnTo>
                  <a:lnTo>
                    <a:pt x="24261" y="39027"/>
                  </a:lnTo>
                  <a:lnTo>
                    <a:pt x="20575" y="46408"/>
                  </a:lnTo>
                  <a:lnTo>
                    <a:pt x="20575" y="50098"/>
                  </a:lnTo>
                  <a:lnTo>
                    <a:pt x="16879" y="50098"/>
                  </a:lnTo>
                  <a:lnTo>
                    <a:pt x="16879" y="53789"/>
                  </a:lnTo>
                  <a:lnTo>
                    <a:pt x="16879" y="53789"/>
                  </a:lnTo>
                  <a:lnTo>
                    <a:pt x="13193" y="53789"/>
                  </a:lnTo>
                  <a:lnTo>
                    <a:pt x="13193" y="53789"/>
                  </a:lnTo>
                  <a:lnTo>
                    <a:pt x="9507" y="53789"/>
                  </a:lnTo>
                  <a:lnTo>
                    <a:pt x="9507" y="57480"/>
                  </a:lnTo>
                  <a:lnTo>
                    <a:pt x="9507" y="57480"/>
                  </a:lnTo>
                  <a:lnTo>
                    <a:pt x="5812" y="50098"/>
                  </a:lnTo>
                  <a:lnTo>
                    <a:pt x="5812" y="50098"/>
                  </a:lnTo>
                  <a:lnTo>
                    <a:pt x="5812" y="46408"/>
                  </a:lnTo>
                  <a:lnTo>
                    <a:pt x="9507" y="46408"/>
                  </a:lnTo>
                  <a:lnTo>
                    <a:pt x="13193" y="42717"/>
                  </a:lnTo>
                  <a:lnTo>
                    <a:pt x="9507" y="39027"/>
                  </a:lnTo>
                  <a:lnTo>
                    <a:pt x="9507" y="35336"/>
                  </a:lnTo>
                  <a:lnTo>
                    <a:pt x="9507" y="27955"/>
                  </a:lnTo>
                  <a:lnTo>
                    <a:pt x="13193" y="24264"/>
                  </a:lnTo>
                  <a:lnTo>
                    <a:pt x="20575" y="20574"/>
                  </a:lnTo>
                  <a:lnTo>
                    <a:pt x="20575" y="16883"/>
                  </a:lnTo>
                  <a:lnTo>
                    <a:pt x="20575" y="16883"/>
                  </a:lnTo>
                  <a:lnTo>
                    <a:pt x="16879" y="16883"/>
                  </a:lnTo>
                  <a:lnTo>
                    <a:pt x="13193" y="16883"/>
                  </a:lnTo>
                  <a:lnTo>
                    <a:pt x="9507" y="16883"/>
                  </a:lnTo>
                  <a:lnTo>
                    <a:pt x="9507" y="16883"/>
                  </a:lnTo>
                  <a:lnTo>
                    <a:pt x="5812" y="16883"/>
                  </a:lnTo>
                  <a:lnTo>
                    <a:pt x="9507" y="16883"/>
                  </a:lnTo>
                  <a:lnTo>
                    <a:pt x="9507" y="16883"/>
                  </a:lnTo>
                  <a:lnTo>
                    <a:pt x="13193" y="13193"/>
                  </a:lnTo>
                  <a:lnTo>
                    <a:pt x="20575" y="16883"/>
                  </a:lnTo>
                  <a:lnTo>
                    <a:pt x="31643" y="16883"/>
                  </a:lnTo>
                  <a:lnTo>
                    <a:pt x="68534" y="13193"/>
                  </a:lnTo>
                  <a:lnTo>
                    <a:pt x="79602" y="13193"/>
                  </a:lnTo>
                  <a:lnTo>
                    <a:pt x="101738" y="9502"/>
                  </a:lnTo>
                  <a:lnTo>
                    <a:pt x="109110" y="5812"/>
                  </a:lnTo>
                  <a:lnTo>
                    <a:pt x="112806" y="9502"/>
                  </a:lnTo>
                  <a:close/>
                </a:path>
              </a:pathLst>
            </a:custGeom>
            <a:solidFill>
              <a:srgbClr val="FFBD42"/>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31" name="Freeform: Shape 330">
              <a:extLst>
                <a:ext uri="{FF2B5EF4-FFF2-40B4-BE49-F238E27FC236}">
                  <a16:creationId xmlns:a16="http://schemas.microsoft.com/office/drawing/2014/main" id="{14420B9B-26E4-4CD5-9738-2E48597A1ADA}"/>
                </a:ext>
              </a:extLst>
            </p:cNvPr>
            <p:cNvSpPr/>
            <p:nvPr/>
          </p:nvSpPr>
          <p:spPr>
            <a:xfrm>
              <a:off x="9220007" y="2806430"/>
              <a:ext cx="30745" cy="15373"/>
            </a:xfrm>
            <a:custGeom>
              <a:avLst/>
              <a:gdLst>
                <a:gd name="connsiteX0" fmla="*/ 9501 w 19050"/>
                <a:gd name="connsiteY0" fmla="*/ 9503 h 9525"/>
                <a:gd name="connsiteX1" fmla="*/ 9501 w 19050"/>
                <a:gd name="connsiteY1" fmla="*/ 9503 h 9525"/>
                <a:gd name="connsiteX2" fmla="*/ 9501 w 19050"/>
                <a:gd name="connsiteY2" fmla="*/ 9503 h 9525"/>
                <a:gd name="connsiteX3" fmla="*/ 5812 w 19050"/>
                <a:gd name="connsiteY3" fmla="*/ 5812 h 9525"/>
                <a:gd name="connsiteX4" fmla="*/ 9501 w 19050"/>
                <a:gd name="connsiteY4" fmla="*/ 5812 h 9525"/>
                <a:gd name="connsiteX5" fmla="*/ 9501 w 19050"/>
                <a:gd name="connsiteY5" fmla="*/ 5812 h 9525"/>
                <a:gd name="connsiteX6" fmla="*/ 16877 w 19050"/>
                <a:gd name="connsiteY6" fmla="*/ 5812 h 9525"/>
                <a:gd name="connsiteX7" fmla="*/ 20573 w 19050"/>
                <a:gd name="connsiteY7" fmla="*/ 5812 h 9525"/>
                <a:gd name="connsiteX8" fmla="*/ 20573 w 19050"/>
                <a:gd name="connsiteY8" fmla="*/ 5812 h 9525"/>
                <a:gd name="connsiteX9" fmla="*/ 16877 w 19050"/>
                <a:gd name="connsiteY9" fmla="*/ 5812 h 9525"/>
                <a:gd name="connsiteX10" fmla="*/ 16877 w 19050"/>
                <a:gd name="connsiteY10" fmla="*/ 9503 h 9525"/>
                <a:gd name="connsiteX11" fmla="*/ 13191 w 19050"/>
                <a:gd name="connsiteY11" fmla="*/ 9503 h 9525"/>
                <a:gd name="connsiteX12" fmla="*/ 13191 w 19050"/>
                <a:gd name="connsiteY12" fmla="*/ 9503 h 9525"/>
                <a:gd name="connsiteX13" fmla="*/ 9501 w 19050"/>
                <a:gd name="connsiteY13" fmla="*/ 9503 h 9525"/>
                <a:gd name="connsiteX14" fmla="*/ 9501 w 19050"/>
                <a:gd name="connsiteY14" fmla="*/ 5812 h 9525"/>
                <a:gd name="connsiteX15" fmla="*/ 9501 w 19050"/>
                <a:gd name="connsiteY15" fmla="*/ 5812 h 9525"/>
                <a:gd name="connsiteX16" fmla="*/ 9501 w 19050"/>
                <a:gd name="connsiteY16" fmla="*/ 5812 h 9525"/>
                <a:gd name="connsiteX17" fmla="*/ 9501 w 19050"/>
                <a:gd name="connsiteY17" fmla="*/ 5812 h 9525"/>
                <a:gd name="connsiteX18" fmla="*/ 9501 w 19050"/>
                <a:gd name="connsiteY18" fmla="*/ 9503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050" h="9525">
                  <a:moveTo>
                    <a:pt x="9501" y="9503"/>
                  </a:moveTo>
                  <a:lnTo>
                    <a:pt x="9501" y="9503"/>
                  </a:lnTo>
                  <a:lnTo>
                    <a:pt x="9501" y="9503"/>
                  </a:lnTo>
                  <a:lnTo>
                    <a:pt x="5812" y="5812"/>
                  </a:lnTo>
                  <a:lnTo>
                    <a:pt x="9501" y="5812"/>
                  </a:lnTo>
                  <a:lnTo>
                    <a:pt x="9501" y="5812"/>
                  </a:lnTo>
                  <a:lnTo>
                    <a:pt x="16877" y="5812"/>
                  </a:lnTo>
                  <a:lnTo>
                    <a:pt x="20573" y="5812"/>
                  </a:lnTo>
                  <a:lnTo>
                    <a:pt x="20573" y="5812"/>
                  </a:lnTo>
                  <a:lnTo>
                    <a:pt x="16877" y="5812"/>
                  </a:lnTo>
                  <a:lnTo>
                    <a:pt x="16877" y="9503"/>
                  </a:lnTo>
                  <a:lnTo>
                    <a:pt x="13191" y="9503"/>
                  </a:lnTo>
                  <a:lnTo>
                    <a:pt x="13191" y="9503"/>
                  </a:lnTo>
                  <a:lnTo>
                    <a:pt x="9501" y="9503"/>
                  </a:lnTo>
                  <a:lnTo>
                    <a:pt x="9501" y="5812"/>
                  </a:lnTo>
                  <a:lnTo>
                    <a:pt x="9501" y="5812"/>
                  </a:lnTo>
                  <a:lnTo>
                    <a:pt x="9501" y="5812"/>
                  </a:lnTo>
                  <a:lnTo>
                    <a:pt x="9501" y="5812"/>
                  </a:lnTo>
                  <a:lnTo>
                    <a:pt x="9501" y="9503"/>
                  </a:lnTo>
                  <a:close/>
                </a:path>
              </a:pathLst>
            </a:custGeom>
            <a:solidFill>
              <a:srgbClr val="FFBD42"/>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32" name="Freeform: Shape 331">
              <a:extLst>
                <a:ext uri="{FF2B5EF4-FFF2-40B4-BE49-F238E27FC236}">
                  <a16:creationId xmlns:a16="http://schemas.microsoft.com/office/drawing/2014/main" id="{601267BD-45A2-43DA-8E64-85F448950631}"/>
                </a:ext>
              </a:extLst>
            </p:cNvPr>
            <p:cNvSpPr/>
            <p:nvPr/>
          </p:nvSpPr>
          <p:spPr>
            <a:xfrm>
              <a:off x="9154512" y="2550309"/>
              <a:ext cx="322827" cy="153727"/>
            </a:xfrm>
            <a:custGeom>
              <a:avLst/>
              <a:gdLst>
                <a:gd name="connsiteX0" fmla="*/ 138621 w 200025"/>
                <a:gd name="connsiteY0" fmla="*/ 42717 h 95250"/>
                <a:gd name="connsiteX1" fmla="*/ 123866 w 200025"/>
                <a:gd name="connsiteY1" fmla="*/ 42717 h 95250"/>
                <a:gd name="connsiteX2" fmla="*/ 116484 w 200025"/>
                <a:gd name="connsiteY2" fmla="*/ 46408 h 95250"/>
                <a:gd name="connsiteX3" fmla="*/ 112798 w 200025"/>
                <a:gd name="connsiteY3" fmla="*/ 46408 h 95250"/>
                <a:gd name="connsiteX4" fmla="*/ 109112 w 200025"/>
                <a:gd name="connsiteY4" fmla="*/ 50098 h 95250"/>
                <a:gd name="connsiteX5" fmla="*/ 109112 w 200025"/>
                <a:gd name="connsiteY5" fmla="*/ 50098 h 95250"/>
                <a:gd name="connsiteX6" fmla="*/ 101730 w 200025"/>
                <a:gd name="connsiteY6" fmla="*/ 57480 h 95250"/>
                <a:gd name="connsiteX7" fmla="*/ 98044 w 200025"/>
                <a:gd name="connsiteY7" fmla="*/ 61170 h 95250"/>
                <a:gd name="connsiteX8" fmla="*/ 98044 w 200025"/>
                <a:gd name="connsiteY8" fmla="*/ 61170 h 95250"/>
                <a:gd name="connsiteX9" fmla="*/ 94348 w 200025"/>
                <a:gd name="connsiteY9" fmla="*/ 61170 h 95250"/>
                <a:gd name="connsiteX10" fmla="*/ 90662 w 200025"/>
                <a:gd name="connsiteY10" fmla="*/ 61170 h 95250"/>
                <a:gd name="connsiteX11" fmla="*/ 90662 w 200025"/>
                <a:gd name="connsiteY11" fmla="*/ 64861 h 95250"/>
                <a:gd name="connsiteX12" fmla="*/ 86976 w 200025"/>
                <a:gd name="connsiteY12" fmla="*/ 64861 h 95250"/>
                <a:gd name="connsiteX13" fmla="*/ 83280 w 200025"/>
                <a:gd name="connsiteY13" fmla="*/ 61170 h 95250"/>
                <a:gd name="connsiteX14" fmla="*/ 83280 w 200025"/>
                <a:gd name="connsiteY14" fmla="*/ 64861 h 95250"/>
                <a:gd name="connsiteX15" fmla="*/ 79594 w 200025"/>
                <a:gd name="connsiteY15" fmla="*/ 64861 h 95250"/>
                <a:gd name="connsiteX16" fmla="*/ 75908 w 200025"/>
                <a:gd name="connsiteY16" fmla="*/ 68552 h 95250"/>
                <a:gd name="connsiteX17" fmla="*/ 75908 w 200025"/>
                <a:gd name="connsiteY17" fmla="*/ 68552 h 95250"/>
                <a:gd name="connsiteX18" fmla="*/ 75908 w 200025"/>
                <a:gd name="connsiteY18" fmla="*/ 68552 h 95250"/>
                <a:gd name="connsiteX19" fmla="*/ 72222 w 200025"/>
                <a:gd name="connsiteY19" fmla="*/ 68552 h 95250"/>
                <a:gd name="connsiteX20" fmla="*/ 72222 w 200025"/>
                <a:gd name="connsiteY20" fmla="*/ 72242 h 95250"/>
                <a:gd name="connsiteX21" fmla="*/ 72222 w 200025"/>
                <a:gd name="connsiteY21" fmla="*/ 72242 h 95250"/>
                <a:gd name="connsiteX22" fmla="*/ 68526 w 200025"/>
                <a:gd name="connsiteY22" fmla="*/ 68552 h 95250"/>
                <a:gd name="connsiteX23" fmla="*/ 64840 w 200025"/>
                <a:gd name="connsiteY23" fmla="*/ 68552 h 95250"/>
                <a:gd name="connsiteX24" fmla="*/ 64840 w 200025"/>
                <a:gd name="connsiteY24" fmla="*/ 68552 h 95250"/>
                <a:gd name="connsiteX25" fmla="*/ 61154 w 200025"/>
                <a:gd name="connsiteY25" fmla="*/ 68552 h 95250"/>
                <a:gd name="connsiteX26" fmla="*/ 57458 w 200025"/>
                <a:gd name="connsiteY26" fmla="*/ 68552 h 95250"/>
                <a:gd name="connsiteX27" fmla="*/ 57458 w 200025"/>
                <a:gd name="connsiteY27" fmla="*/ 68552 h 95250"/>
                <a:gd name="connsiteX28" fmla="*/ 53772 w 200025"/>
                <a:gd name="connsiteY28" fmla="*/ 72242 h 95250"/>
                <a:gd name="connsiteX29" fmla="*/ 50082 w 200025"/>
                <a:gd name="connsiteY29" fmla="*/ 75933 h 95250"/>
                <a:gd name="connsiteX30" fmla="*/ 46393 w 200025"/>
                <a:gd name="connsiteY30" fmla="*/ 72242 h 95250"/>
                <a:gd name="connsiteX31" fmla="*/ 42704 w 200025"/>
                <a:gd name="connsiteY31" fmla="*/ 75933 h 95250"/>
                <a:gd name="connsiteX32" fmla="*/ 39015 w 200025"/>
                <a:gd name="connsiteY32" fmla="*/ 75933 h 95250"/>
                <a:gd name="connsiteX33" fmla="*/ 35326 w 200025"/>
                <a:gd name="connsiteY33" fmla="*/ 79623 h 95250"/>
                <a:gd name="connsiteX34" fmla="*/ 35326 w 200025"/>
                <a:gd name="connsiteY34" fmla="*/ 83314 h 95250"/>
                <a:gd name="connsiteX35" fmla="*/ 35326 w 200025"/>
                <a:gd name="connsiteY35" fmla="*/ 83314 h 95250"/>
                <a:gd name="connsiteX36" fmla="*/ 35326 w 200025"/>
                <a:gd name="connsiteY36" fmla="*/ 83314 h 95250"/>
                <a:gd name="connsiteX37" fmla="*/ 31637 w 200025"/>
                <a:gd name="connsiteY37" fmla="*/ 83314 h 95250"/>
                <a:gd name="connsiteX38" fmla="*/ 24258 w 200025"/>
                <a:gd name="connsiteY38" fmla="*/ 87004 h 95250"/>
                <a:gd name="connsiteX39" fmla="*/ 27947 w 200025"/>
                <a:gd name="connsiteY39" fmla="*/ 87004 h 95250"/>
                <a:gd name="connsiteX40" fmla="*/ 24258 w 200025"/>
                <a:gd name="connsiteY40" fmla="*/ 90694 h 95250"/>
                <a:gd name="connsiteX41" fmla="*/ 20569 w 200025"/>
                <a:gd name="connsiteY41" fmla="*/ 90694 h 95250"/>
                <a:gd name="connsiteX42" fmla="*/ 13191 w 200025"/>
                <a:gd name="connsiteY42" fmla="*/ 90694 h 95250"/>
                <a:gd name="connsiteX43" fmla="*/ 9502 w 200025"/>
                <a:gd name="connsiteY43" fmla="*/ 83314 h 95250"/>
                <a:gd name="connsiteX44" fmla="*/ 5812 w 200025"/>
                <a:gd name="connsiteY44" fmla="*/ 83314 h 95250"/>
                <a:gd name="connsiteX45" fmla="*/ 5812 w 200025"/>
                <a:gd name="connsiteY45" fmla="*/ 83314 h 95250"/>
                <a:gd name="connsiteX46" fmla="*/ 5812 w 200025"/>
                <a:gd name="connsiteY46" fmla="*/ 79623 h 95250"/>
                <a:gd name="connsiteX47" fmla="*/ 9502 w 200025"/>
                <a:gd name="connsiteY47" fmla="*/ 75933 h 95250"/>
                <a:gd name="connsiteX48" fmla="*/ 16880 w 200025"/>
                <a:gd name="connsiteY48" fmla="*/ 64861 h 95250"/>
                <a:gd name="connsiteX49" fmla="*/ 24258 w 200025"/>
                <a:gd name="connsiteY49" fmla="*/ 53789 h 95250"/>
                <a:gd name="connsiteX50" fmla="*/ 24258 w 200025"/>
                <a:gd name="connsiteY50" fmla="*/ 53789 h 95250"/>
                <a:gd name="connsiteX51" fmla="*/ 31637 w 200025"/>
                <a:gd name="connsiteY51" fmla="*/ 50098 h 95250"/>
                <a:gd name="connsiteX52" fmla="*/ 39015 w 200025"/>
                <a:gd name="connsiteY52" fmla="*/ 46408 h 95250"/>
                <a:gd name="connsiteX53" fmla="*/ 53772 w 200025"/>
                <a:gd name="connsiteY53" fmla="*/ 42717 h 95250"/>
                <a:gd name="connsiteX54" fmla="*/ 75908 w 200025"/>
                <a:gd name="connsiteY54" fmla="*/ 39027 h 95250"/>
                <a:gd name="connsiteX55" fmla="*/ 83280 w 200025"/>
                <a:gd name="connsiteY55" fmla="*/ 39027 h 95250"/>
                <a:gd name="connsiteX56" fmla="*/ 105416 w 200025"/>
                <a:gd name="connsiteY56" fmla="*/ 31645 h 95250"/>
                <a:gd name="connsiteX57" fmla="*/ 123866 w 200025"/>
                <a:gd name="connsiteY57" fmla="*/ 24264 h 95250"/>
                <a:gd name="connsiteX58" fmla="*/ 164443 w 200025"/>
                <a:gd name="connsiteY58" fmla="*/ 9502 h 95250"/>
                <a:gd name="connsiteX59" fmla="*/ 175511 w 200025"/>
                <a:gd name="connsiteY59" fmla="*/ 9502 h 95250"/>
                <a:gd name="connsiteX60" fmla="*/ 186579 w 200025"/>
                <a:gd name="connsiteY60" fmla="*/ 5812 h 95250"/>
                <a:gd name="connsiteX61" fmla="*/ 190275 w 200025"/>
                <a:gd name="connsiteY61" fmla="*/ 9502 h 95250"/>
                <a:gd name="connsiteX62" fmla="*/ 193961 w 200025"/>
                <a:gd name="connsiteY62" fmla="*/ 9502 h 95250"/>
                <a:gd name="connsiteX63" fmla="*/ 197647 w 200025"/>
                <a:gd name="connsiteY63" fmla="*/ 13192 h 95250"/>
                <a:gd name="connsiteX64" fmla="*/ 197647 w 200025"/>
                <a:gd name="connsiteY64" fmla="*/ 13192 h 95250"/>
                <a:gd name="connsiteX65" fmla="*/ 197647 w 200025"/>
                <a:gd name="connsiteY65" fmla="*/ 20574 h 95250"/>
                <a:gd name="connsiteX66" fmla="*/ 197647 w 200025"/>
                <a:gd name="connsiteY66" fmla="*/ 24264 h 95250"/>
                <a:gd name="connsiteX67" fmla="*/ 197647 w 200025"/>
                <a:gd name="connsiteY67" fmla="*/ 24264 h 95250"/>
                <a:gd name="connsiteX68" fmla="*/ 197647 w 200025"/>
                <a:gd name="connsiteY68" fmla="*/ 20574 h 95250"/>
                <a:gd name="connsiteX69" fmla="*/ 197647 w 200025"/>
                <a:gd name="connsiteY69" fmla="*/ 16883 h 95250"/>
                <a:gd name="connsiteX70" fmla="*/ 193961 w 200025"/>
                <a:gd name="connsiteY70" fmla="*/ 13192 h 95250"/>
                <a:gd name="connsiteX71" fmla="*/ 193961 w 200025"/>
                <a:gd name="connsiteY71" fmla="*/ 13192 h 95250"/>
                <a:gd name="connsiteX72" fmla="*/ 193961 w 200025"/>
                <a:gd name="connsiteY72" fmla="*/ 16883 h 95250"/>
                <a:gd name="connsiteX73" fmla="*/ 190275 w 200025"/>
                <a:gd name="connsiteY73" fmla="*/ 20574 h 95250"/>
                <a:gd name="connsiteX74" fmla="*/ 190275 w 200025"/>
                <a:gd name="connsiteY74" fmla="*/ 20574 h 95250"/>
                <a:gd name="connsiteX75" fmla="*/ 186579 w 200025"/>
                <a:gd name="connsiteY75" fmla="*/ 24264 h 95250"/>
                <a:gd name="connsiteX76" fmla="*/ 179207 w 200025"/>
                <a:gd name="connsiteY76" fmla="*/ 24264 h 95250"/>
                <a:gd name="connsiteX77" fmla="*/ 175511 w 200025"/>
                <a:gd name="connsiteY77" fmla="*/ 24264 h 95250"/>
                <a:gd name="connsiteX78" fmla="*/ 168139 w 200025"/>
                <a:gd name="connsiteY78" fmla="*/ 27955 h 95250"/>
                <a:gd name="connsiteX79" fmla="*/ 168139 w 200025"/>
                <a:gd name="connsiteY79" fmla="*/ 27955 h 95250"/>
                <a:gd name="connsiteX80" fmla="*/ 168139 w 200025"/>
                <a:gd name="connsiteY80" fmla="*/ 27955 h 95250"/>
                <a:gd name="connsiteX81" fmla="*/ 164443 w 200025"/>
                <a:gd name="connsiteY81" fmla="*/ 24264 h 95250"/>
                <a:gd name="connsiteX82" fmla="*/ 164443 w 200025"/>
                <a:gd name="connsiteY82" fmla="*/ 24264 h 95250"/>
                <a:gd name="connsiteX83" fmla="*/ 164443 w 200025"/>
                <a:gd name="connsiteY83" fmla="*/ 24264 h 95250"/>
                <a:gd name="connsiteX84" fmla="*/ 164443 w 200025"/>
                <a:gd name="connsiteY84" fmla="*/ 24264 h 95250"/>
                <a:gd name="connsiteX85" fmla="*/ 164443 w 200025"/>
                <a:gd name="connsiteY85" fmla="*/ 27955 h 95250"/>
                <a:gd name="connsiteX86" fmla="*/ 168139 w 200025"/>
                <a:gd name="connsiteY86" fmla="*/ 27955 h 95250"/>
                <a:gd name="connsiteX87" fmla="*/ 164443 w 200025"/>
                <a:gd name="connsiteY87" fmla="*/ 31645 h 95250"/>
                <a:gd name="connsiteX88" fmla="*/ 160757 w 200025"/>
                <a:gd name="connsiteY88" fmla="*/ 31645 h 95250"/>
                <a:gd name="connsiteX89" fmla="*/ 160757 w 200025"/>
                <a:gd name="connsiteY89" fmla="*/ 31645 h 95250"/>
                <a:gd name="connsiteX90" fmla="*/ 157070 w 200025"/>
                <a:gd name="connsiteY90" fmla="*/ 31645 h 95250"/>
                <a:gd name="connsiteX91" fmla="*/ 157070 w 200025"/>
                <a:gd name="connsiteY91" fmla="*/ 27955 h 95250"/>
                <a:gd name="connsiteX92" fmla="*/ 153375 w 200025"/>
                <a:gd name="connsiteY92" fmla="*/ 27955 h 95250"/>
                <a:gd name="connsiteX93" fmla="*/ 153375 w 200025"/>
                <a:gd name="connsiteY93" fmla="*/ 27955 h 95250"/>
                <a:gd name="connsiteX94" fmla="*/ 157070 w 200025"/>
                <a:gd name="connsiteY94" fmla="*/ 31645 h 95250"/>
                <a:gd name="connsiteX95" fmla="*/ 157070 w 200025"/>
                <a:gd name="connsiteY95" fmla="*/ 35336 h 95250"/>
                <a:gd name="connsiteX96" fmla="*/ 153375 w 200025"/>
                <a:gd name="connsiteY96" fmla="*/ 35336 h 95250"/>
                <a:gd name="connsiteX97" fmla="*/ 149689 w 200025"/>
                <a:gd name="connsiteY97" fmla="*/ 35336 h 95250"/>
                <a:gd name="connsiteX98" fmla="*/ 149689 w 200025"/>
                <a:gd name="connsiteY98" fmla="*/ 35336 h 95250"/>
                <a:gd name="connsiteX99" fmla="*/ 146002 w 200025"/>
                <a:gd name="connsiteY99" fmla="*/ 31645 h 95250"/>
                <a:gd name="connsiteX100" fmla="*/ 146002 w 200025"/>
                <a:gd name="connsiteY100" fmla="*/ 31645 h 95250"/>
                <a:gd name="connsiteX101" fmla="*/ 146002 w 200025"/>
                <a:gd name="connsiteY101" fmla="*/ 31645 h 95250"/>
                <a:gd name="connsiteX102" fmla="*/ 149689 w 200025"/>
                <a:gd name="connsiteY102" fmla="*/ 35336 h 95250"/>
                <a:gd name="connsiteX103" fmla="*/ 153375 w 200025"/>
                <a:gd name="connsiteY103" fmla="*/ 39027 h 95250"/>
                <a:gd name="connsiteX104" fmla="*/ 157070 w 200025"/>
                <a:gd name="connsiteY104" fmla="*/ 39027 h 95250"/>
                <a:gd name="connsiteX105" fmla="*/ 160757 w 200025"/>
                <a:gd name="connsiteY105" fmla="*/ 39027 h 95250"/>
                <a:gd name="connsiteX106" fmla="*/ 160757 w 200025"/>
                <a:gd name="connsiteY106" fmla="*/ 39027 h 95250"/>
                <a:gd name="connsiteX107" fmla="*/ 157070 w 200025"/>
                <a:gd name="connsiteY107" fmla="*/ 42717 h 95250"/>
                <a:gd name="connsiteX108" fmla="*/ 149689 w 200025"/>
                <a:gd name="connsiteY108" fmla="*/ 42717 h 95250"/>
                <a:gd name="connsiteX109" fmla="*/ 142316 w 200025"/>
                <a:gd name="connsiteY109" fmla="*/ 42717 h 95250"/>
                <a:gd name="connsiteX110" fmla="*/ 138621 w 200025"/>
                <a:gd name="connsiteY110" fmla="*/ 42717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00025" h="95250">
                  <a:moveTo>
                    <a:pt x="138621" y="42717"/>
                  </a:moveTo>
                  <a:lnTo>
                    <a:pt x="123866" y="42717"/>
                  </a:lnTo>
                  <a:lnTo>
                    <a:pt x="116484" y="46408"/>
                  </a:lnTo>
                  <a:lnTo>
                    <a:pt x="112798" y="46408"/>
                  </a:lnTo>
                  <a:lnTo>
                    <a:pt x="109112" y="50098"/>
                  </a:lnTo>
                  <a:lnTo>
                    <a:pt x="109112" y="50098"/>
                  </a:lnTo>
                  <a:lnTo>
                    <a:pt x="101730" y="57480"/>
                  </a:lnTo>
                  <a:lnTo>
                    <a:pt x="98044" y="61170"/>
                  </a:lnTo>
                  <a:lnTo>
                    <a:pt x="98044" y="61170"/>
                  </a:lnTo>
                  <a:lnTo>
                    <a:pt x="94348" y="61170"/>
                  </a:lnTo>
                  <a:lnTo>
                    <a:pt x="90662" y="61170"/>
                  </a:lnTo>
                  <a:lnTo>
                    <a:pt x="90662" y="64861"/>
                  </a:lnTo>
                  <a:lnTo>
                    <a:pt x="86976" y="64861"/>
                  </a:lnTo>
                  <a:lnTo>
                    <a:pt x="83280" y="61170"/>
                  </a:lnTo>
                  <a:lnTo>
                    <a:pt x="83280" y="64861"/>
                  </a:lnTo>
                  <a:lnTo>
                    <a:pt x="79594" y="64861"/>
                  </a:lnTo>
                  <a:lnTo>
                    <a:pt x="75908" y="68552"/>
                  </a:lnTo>
                  <a:lnTo>
                    <a:pt x="75908" y="68552"/>
                  </a:lnTo>
                  <a:lnTo>
                    <a:pt x="75908" y="68552"/>
                  </a:lnTo>
                  <a:lnTo>
                    <a:pt x="72222" y="68552"/>
                  </a:lnTo>
                  <a:lnTo>
                    <a:pt x="72222" y="72242"/>
                  </a:lnTo>
                  <a:lnTo>
                    <a:pt x="72222" y="72242"/>
                  </a:lnTo>
                  <a:lnTo>
                    <a:pt x="68526" y="68552"/>
                  </a:lnTo>
                  <a:lnTo>
                    <a:pt x="64840" y="68552"/>
                  </a:lnTo>
                  <a:lnTo>
                    <a:pt x="64840" y="68552"/>
                  </a:lnTo>
                  <a:lnTo>
                    <a:pt x="61154" y="68552"/>
                  </a:lnTo>
                  <a:lnTo>
                    <a:pt x="57458" y="68552"/>
                  </a:lnTo>
                  <a:lnTo>
                    <a:pt x="57458" y="68552"/>
                  </a:lnTo>
                  <a:lnTo>
                    <a:pt x="53772" y="72242"/>
                  </a:lnTo>
                  <a:lnTo>
                    <a:pt x="50082" y="75933"/>
                  </a:lnTo>
                  <a:lnTo>
                    <a:pt x="46393" y="72242"/>
                  </a:lnTo>
                  <a:lnTo>
                    <a:pt x="42704" y="75933"/>
                  </a:lnTo>
                  <a:lnTo>
                    <a:pt x="39015" y="75933"/>
                  </a:lnTo>
                  <a:lnTo>
                    <a:pt x="35326" y="79623"/>
                  </a:lnTo>
                  <a:lnTo>
                    <a:pt x="35326" y="83314"/>
                  </a:lnTo>
                  <a:lnTo>
                    <a:pt x="35326" y="83314"/>
                  </a:lnTo>
                  <a:lnTo>
                    <a:pt x="35326" y="83314"/>
                  </a:lnTo>
                  <a:lnTo>
                    <a:pt x="31637" y="83314"/>
                  </a:lnTo>
                  <a:lnTo>
                    <a:pt x="24258" y="87004"/>
                  </a:lnTo>
                  <a:lnTo>
                    <a:pt x="27947" y="87004"/>
                  </a:lnTo>
                  <a:lnTo>
                    <a:pt x="24258" y="90694"/>
                  </a:lnTo>
                  <a:lnTo>
                    <a:pt x="20569" y="90694"/>
                  </a:lnTo>
                  <a:lnTo>
                    <a:pt x="13191" y="90694"/>
                  </a:lnTo>
                  <a:lnTo>
                    <a:pt x="9502" y="83314"/>
                  </a:lnTo>
                  <a:lnTo>
                    <a:pt x="5812" y="83314"/>
                  </a:lnTo>
                  <a:lnTo>
                    <a:pt x="5812" y="83314"/>
                  </a:lnTo>
                  <a:lnTo>
                    <a:pt x="5812" y="79623"/>
                  </a:lnTo>
                  <a:lnTo>
                    <a:pt x="9502" y="75933"/>
                  </a:lnTo>
                  <a:lnTo>
                    <a:pt x="16880" y="64861"/>
                  </a:lnTo>
                  <a:lnTo>
                    <a:pt x="24258" y="53789"/>
                  </a:lnTo>
                  <a:lnTo>
                    <a:pt x="24258" y="53789"/>
                  </a:lnTo>
                  <a:lnTo>
                    <a:pt x="31637" y="50098"/>
                  </a:lnTo>
                  <a:lnTo>
                    <a:pt x="39015" y="46408"/>
                  </a:lnTo>
                  <a:lnTo>
                    <a:pt x="53772" y="42717"/>
                  </a:lnTo>
                  <a:lnTo>
                    <a:pt x="75908" y="39027"/>
                  </a:lnTo>
                  <a:lnTo>
                    <a:pt x="83280" y="39027"/>
                  </a:lnTo>
                  <a:lnTo>
                    <a:pt x="105416" y="31645"/>
                  </a:lnTo>
                  <a:lnTo>
                    <a:pt x="123866" y="24264"/>
                  </a:lnTo>
                  <a:lnTo>
                    <a:pt x="164443" y="9502"/>
                  </a:lnTo>
                  <a:lnTo>
                    <a:pt x="175511" y="9502"/>
                  </a:lnTo>
                  <a:lnTo>
                    <a:pt x="186579" y="5812"/>
                  </a:lnTo>
                  <a:lnTo>
                    <a:pt x="190275" y="9502"/>
                  </a:lnTo>
                  <a:lnTo>
                    <a:pt x="193961" y="9502"/>
                  </a:lnTo>
                  <a:lnTo>
                    <a:pt x="197647" y="13192"/>
                  </a:lnTo>
                  <a:lnTo>
                    <a:pt x="197647" y="13192"/>
                  </a:lnTo>
                  <a:lnTo>
                    <a:pt x="197647" y="20574"/>
                  </a:lnTo>
                  <a:lnTo>
                    <a:pt x="197647" y="24264"/>
                  </a:lnTo>
                  <a:lnTo>
                    <a:pt x="197647" y="24264"/>
                  </a:lnTo>
                  <a:lnTo>
                    <a:pt x="197647" y="20574"/>
                  </a:lnTo>
                  <a:lnTo>
                    <a:pt x="197647" y="16883"/>
                  </a:lnTo>
                  <a:lnTo>
                    <a:pt x="193961" y="13192"/>
                  </a:lnTo>
                  <a:lnTo>
                    <a:pt x="193961" y="13192"/>
                  </a:lnTo>
                  <a:lnTo>
                    <a:pt x="193961" y="16883"/>
                  </a:lnTo>
                  <a:lnTo>
                    <a:pt x="190275" y="20574"/>
                  </a:lnTo>
                  <a:lnTo>
                    <a:pt x="190275" y="20574"/>
                  </a:lnTo>
                  <a:lnTo>
                    <a:pt x="186579" y="24264"/>
                  </a:lnTo>
                  <a:lnTo>
                    <a:pt x="179207" y="24264"/>
                  </a:lnTo>
                  <a:lnTo>
                    <a:pt x="175511" y="24264"/>
                  </a:lnTo>
                  <a:lnTo>
                    <a:pt x="168139" y="27955"/>
                  </a:lnTo>
                  <a:lnTo>
                    <a:pt x="168139" y="27955"/>
                  </a:lnTo>
                  <a:lnTo>
                    <a:pt x="168139" y="27955"/>
                  </a:lnTo>
                  <a:lnTo>
                    <a:pt x="164443" y="24264"/>
                  </a:lnTo>
                  <a:lnTo>
                    <a:pt x="164443" y="24264"/>
                  </a:lnTo>
                  <a:lnTo>
                    <a:pt x="164443" y="24264"/>
                  </a:lnTo>
                  <a:lnTo>
                    <a:pt x="164443" y="24264"/>
                  </a:lnTo>
                  <a:lnTo>
                    <a:pt x="164443" y="27955"/>
                  </a:lnTo>
                  <a:lnTo>
                    <a:pt x="168139" y="27955"/>
                  </a:lnTo>
                  <a:lnTo>
                    <a:pt x="164443" y="31645"/>
                  </a:lnTo>
                  <a:lnTo>
                    <a:pt x="160757" y="31645"/>
                  </a:lnTo>
                  <a:lnTo>
                    <a:pt x="160757" y="31645"/>
                  </a:lnTo>
                  <a:lnTo>
                    <a:pt x="157070" y="31645"/>
                  </a:lnTo>
                  <a:lnTo>
                    <a:pt x="157070" y="27955"/>
                  </a:lnTo>
                  <a:lnTo>
                    <a:pt x="153375" y="27955"/>
                  </a:lnTo>
                  <a:lnTo>
                    <a:pt x="153375" y="27955"/>
                  </a:lnTo>
                  <a:lnTo>
                    <a:pt x="157070" y="31645"/>
                  </a:lnTo>
                  <a:lnTo>
                    <a:pt x="157070" y="35336"/>
                  </a:lnTo>
                  <a:lnTo>
                    <a:pt x="153375" y="35336"/>
                  </a:lnTo>
                  <a:lnTo>
                    <a:pt x="149689" y="35336"/>
                  </a:lnTo>
                  <a:lnTo>
                    <a:pt x="149689" y="35336"/>
                  </a:lnTo>
                  <a:lnTo>
                    <a:pt x="146002" y="31645"/>
                  </a:lnTo>
                  <a:lnTo>
                    <a:pt x="146002" y="31645"/>
                  </a:lnTo>
                  <a:lnTo>
                    <a:pt x="146002" y="31645"/>
                  </a:lnTo>
                  <a:lnTo>
                    <a:pt x="149689" y="35336"/>
                  </a:lnTo>
                  <a:lnTo>
                    <a:pt x="153375" y="39027"/>
                  </a:lnTo>
                  <a:lnTo>
                    <a:pt x="157070" y="39027"/>
                  </a:lnTo>
                  <a:lnTo>
                    <a:pt x="160757" y="39027"/>
                  </a:lnTo>
                  <a:lnTo>
                    <a:pt x="160757" y="39027"/>
                  </a:lnTo>
                  <a:lnTo>
                    <a:pt x="157070" y="42717"/>
                  </a:lnTo>
                  <a:lnTo>
                    <a:pt x="149689" y="42717"/>
                  </a:lnTo>
                  <a:lnTo>
                    <a:pt x="142316" y="42717"/>
                  </a:lnTo>
                  <a:lnTo>
                    <a:pt x="138621" y="42717"/>
                  </a:lnTo>
                  <a:close/>
                </a:path>
              </a:pathLst>
            </a:custGeom>
            <a:solidFill>
              <a:srgbClr val="FFBD42"/>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33" name="Freeform: Shape 332">
              <a:extLst>
                <a:ext uri="{FF2B5EF4-FFF2-40B4-BE49-F238E27FC236}">
                  <a16:creationId xmlns:a16="http://schemas.microsoft.com/office/drawing/2014/main" id="{8AD422D3-A81D-4938-B46B-E2E83377D109}"/>
                </a:ext>
              </a:extLst>
            </p:cNvPr>
            <p:cNvSpPr/>
            <p:nvPr/>
          </p:nvSpPr>
          <p:spPr>
            <a:xfrm>
              <a:off x="9124744" y="2746866"/>
              <a:ext cx="46118" cy="30745"/>
            </a:xfrm>
            <a:custGeom>
              <a:avLst/>
              <a:gdLst>
                <a:gd name="connsiteX0" fmla="*/ 27947 w 28575"/>
                <a:gd name="connsiteY0" fmla="*/ 5812 h 19050"/>
                <a:gd name="connsiteX1" fmla="*/ 27947 w 28575"/>
                <a:gd name="connsiteY1" fmla="*/ 5812 h 19050"/>
                <a:gd name="connsiteX2" fmla="*/ 24257 w 28575"/>
                <a:gd name="connsiteY2" fmla="*/ 9503 h 19050"/>
                <a:gd name="connsiteX3" fmla="*/ 20568 w 28575"/>
                <a:gd name="connsiteY3" fmla="*/ 13193 h 19050"/>
                <a:gd name="connsiteX4" fmla="*/ 16879 w 28575"/>
                <a:gd name="connsiteY4" fmla="*/ 13193 h 19050"/>
                <a:gd name="connsiteX5" fmla="*/ 13190 w 28575"/>
                <a:gd name="connsiteY5" fmla="*/ 13193 h 19050"/>
                <a:gd name="connsiteX6" fmla="*/ 9501 w 28575"/>
                <a:gd name="connsiteY6" fmla="*/ 13193 h 19050"/>
                <a:gd name="connsiteX7" fmla="*/ 9501 w 28575"/>
                <a:gd name="connsiteY7" fmla="*/ 13193 h 19050"/>
                <a:gd name="connsiteX8" fmla="*/ 9501 w 28575"/>
                <a:gd name="connsiteY8" fmla="*/ 16883 h 19050"/>
                <a:gd name="connsiteX9" fmla="*/ 9501 w 28575"/>
                <a:gd name="connsiteY9" fmla="*/ 16883 h 19050"/>
                <a:gd name="connsiteX10" fmla="*/ 5812 w 28575"/>
                <a:gd name="connsiteY10" fmla="*/ 16883 h 19050"/>
                <a:gd name="connsiteX11" fmla="*/ 5812 w 28575"/>
                <a:gd name="connsiteY11" fmla="*/ 16883 h 19050"/>
                <a:gd name="connsiteX12" fmla="*/ 5812 w 28575"/>
                <a:gd name="connsiteY12" fmla="*/ 13193 h 19050"/>
                <a:gd name="connsiteX13" fmla="*/ 5812 w 28575"/>
                <a:gd name="connsiteY13" fmla="*/ 13193 h 19050"/>
                <a:gd name="connsiteX14" fmla="*/ 9501 w 28575"/>
                <a:gd name="connsiteY14" fmla="*/ 13193 h 19050"/>
                <a:gd name="connsiteX15" fmla="*/ 5812 w 28575"/>
                <a:gd name="connsiteY15" fmla="*/ 13193 h 19050"/>
                <a:gd name="connsiteX16" fmla="*/ 9501 w 28575"/>
                <a:gd name="connsiteY16" fmla="*/ 9503 h 19050"/>
                <a:gd name="connsiteX17" fmla="*/ 13190 w 28575"/>
                <a:gd name="connsiteY17" fmla="*/ 5812 h 19050"/>
                <a:gd name="connsiteX18" fmla="*/ 20568 w 28575"/>
                <a:gd name="connsiteY18" fmla="*/ 5812 h 19050"/>
                <a:gd name="connsiteX19" fmla="*/ 27947 w 28575"/>
                <a:gd name="connsiteY19" fmla="*/ 5812 h 19050"/>
                <a:gd name="connsiteX20" fmla="*/ 27947 w 28575"/>
                <a:gd name="connsiteY20"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575" h="19050">
                  <a:moveTo>
                    <a:pt x="27947" y="5812"/>
                  </a:moveTo>
                  <a:lnTo>
                    <a:pt x="27947" y="5812"/>
                  </a:lnTo>
                  <a:lnTo>
                    <a:pt x="24257" y="9503"/>
                  </a:lnTo>
                  <a:lnTo>
                    <a:pt x="20568" y="13193"/>
                  </a:lnTo>
                  <a:lnTo>
                    <a:pt x="16879" y="13193"/>
                  </a:lnTo>
                  <a:lnTo>
                    <a:pt x="13190" y="13193"/>
                  </a:lnTo>
                  <a:lnTo>
                    <a:pt x="9501" y="13193"/>
                  </a:lnTo>
                  <a:lnTo>
                    <a:pt x="9501" y="13193"/>
                  </a:lnTo>
                  <a:lnTo>
                    <a:pt x="9501" y="16883"/>
                  </a:lnTo>
                  <a:lnTo>
                    <a:pt x="9501" y="16883"/>
                  </a:lnTo>
                  <a:lnTo>
                    <a:pt x="5812" y="16883"/>
                  </a:lnTo>
                  <a:lnTo>
                    <a:pt x="5812" y="16883"/>
                  </a:lnTo>
                  <a:lnTo>
                    <a:pt x="5812" y="13193"/>
                  </a:lnTo>
                  <a:lnTo>
                    <a:pt x="5812" y="13193"/>
                  </a:lnTo>
                  <a:lnTo>
                    <a:pt x="9501" y="13193"/>
                  </a:lnTo>
                  <a:lnTo>
                    <a:pt x="5812" y="13193"/>
                  </a:lnTo>
                  <a:lnTo>
                    <a:pt x="9501" y="9503"/>
                  </a:lnTo>
                  <a:lnTo>
                    <a:pt x="13190" y="5812"/>
                  </a:lnTo>
                  <a:lnTo>
                    <a:pt x="20568" y="5812"/>
                  </a:lnTo>
                  <a:lnTo>
                    <a:pt x="27947" y="5812"/>
                  </a:lnTo>
                  <a:lnTo>
                    <a:pt x="27947" y="5812"/>
                  </a:lnTo>
                  <a:close/>
                </a:path>
              </a:pathLst>
            </a:custGeom>
            <a:solidFill>
              <a:srgbClr val="FFBD42"/>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34" name="Freeform: Shape 333">
              <a:extLst>
                <a:ext uri="{FF2B5EF4-FFF2-40B4-BE49-F238E27FC236}">
                  <a16:creationId xmlns:a16="http://schemas.microsoft.com/office/drawing/2014/main" id="{ED9F6EAC-3760-4C11-94E1-58F4DCFCBCFA}"/>
                </a:ext>
              </a:extLst>
            </p:cNvPr>
            <p:cNvSpPr/>
            <p:nvPr/>
          </p:nvSpPr>
          <p:spPr>
            <a:xfrm>
              <a:off x="8922303" y="2734954"/>
              <a:ext cx="199845" cy="138354"/>
            </a:xfrm>
            <a:custGeom>
              <a:avLst/>
              <a:gdLst>
                <a:gd name="connsiteX0" fmla="*/ 105420 w 123825"/>
                <a:gd name="connsiteY0" fmla="*/ 16883 h 85725"/>
                <a:gd name="connsiteX1" fmla="*/ 105420 w 123825"/>
                <a:gd name="connsiteY1" fmla="*/ 20574 h 85725"/>
                <a:gd name="connsiteX2" fmla="*/ 101730 w 123825"/>
                <a:gd name="connsiteY2" fmla="*/ 24264 h 85725"/>
                <a:gd name="connsiteX3" fmla="*/ 94352 w 123825"/>
                <a:gd name="connsiteY3" fmla="*/ 27955 h 85725"/>
                <a:gd name="connsiteX4" fmla="*/ 72217 w 123825"/>
                <a:gd name="connsiteY4" fmla="*/ 35336 h 85725"/>
                <a:gd name="connsiteX5" fmla="*/ 64839 w 123825"/>
                <a:gd name="connsiteY5" fmla="*/ 39027 h 85725"/>
                <a:gd name="connsiteX6" fmla="*/ 64839 w 123825"/>
                <a:gd name="connsiteY6" fmla="*/ 42717 h 85725"/>
                <a:gd name="connsiteX7" fmla="*/ 64839 w 123825"/>
                <a:gd name="connsiteY7" fmla="*/ 50098 h 85725"/>
                <a:gd name="connsiteX8" fmla="*/ 68528 w 123825"/>
                <a:gd name="connsiteY8" fmla="*/ 50098 h 85725"/>
                <a:gd name="connsiteX9" fmla="*/ 68528 w 123825"/>
                <a:gd name="connsiteY9" fmla="*/ 46408 h 85725"/>
                <a:gd name="connsiteX10" fmla="*/ 68528 w 123825"/>
                <a:gd name="connsiteY10" fmla="*/ 46408 h 85725"/>
                <a:gd name="connsiteX11" fmla="*/ 68528 w 123825"/>
                <a:gd name="connsiteY11" fmla="*/ 46408 h 85725"/>
                <a:gd name="connsiteX12" fmla="*/ 68528 w 123825"/>
                <a:gd name="connsiteY12" fmla="*/ 46408 h 85725"/>
                <a:gd name="connsiteX13" fmla="*/ 72217 w 123825"/>
                <a:gd name="connsiteY13" fmla="*/ 46408 h 85725"/>
                <a:gd name="connsiteX14" fmla="*/ 68528 w 123825"/>
                <a:gd name="connsiteY14" fmla="*/ 50098 h 85725"/>
                <a:gd name="connsiteX15" fmla="*/ 64839 w 123825"/>
                <a:gd name="connsiteY15" fmla="*/ 57480 h 85725"/>
                <a:gd name="connsiteX16" fmla="*/ 64839 w 123825"/>
                <a:gd name="connsiteY16" fmla="*/ 57480 h 85725"/>
                <a:gd name="connsiteX17" fmla="*/ 64839 w 123825"/>
                <a:gd name="connsiteY17" fmla="*/ 57480 h 85725"/>
                <a:gd name="connsiteX18" fmla="*/ 53771 w 123825"/>
                <a:gd name="connsiteY18" fmla="*/ 64861 h 85725"/>
                <a:gd name="connsiteX19" fmla="*/ 50082 w 123825"/>
                <a:gd name="connsiteY19" fmla="*/ 68552 h 85725"/>
                <a:gd name="connsiteX20" fmla="*/ 46393 w 123825"/>
                <a:gd name="connsiteY20" fmla="*/ 68552 h 85725"/>
                <a:gd name="connsiteX21" fmla="*/ 46393 w 123825"/>
                <a:gd name="connsiteY21" fmla="*/ 72242 h 85725"/>
                <a:gd name="connsiteX22" fmla="*/ 42704 w 123825"/>
                <a:gd name="connsiteY22" fmla="*/ 75933 h 85725"/>
                <a:gd name="connsiteX23" fmla="*/ 35326 w 123825"/>
                <a:gd name="connsiteY23" fmla="*/ 79623 h 85725"/>
                <a:gd name="connsiteX24" fmla="*/ 35326 w 123825"/>
                <a:gd name="connsiteY24" fmla="*/ 79623 h 85725"/>
                <a:gd name="connsiteX25" fmla="*/ 35326 w 123825"/>
                <a:gd name="connsiteY25" fmla="*/ 79623 h 85725"/>
                <a:gd name="connsiteX26" fmla="*/ 31636 w 123825"/>
                <a:gd name="connsiteY26" fmla="*/ 79623 h 85725"/>
                <a:gd name="connsiteX27" fmla="*/ 24258 w 123825"/>
                <a:gd name="connsiteY27" fmla="*/ 79623 h 85725"/>
                <a:gd name="connsiteX28" fmla="*/ 13191 w 123825"/>
                <a:gd name="connsiteY28" fmla="*/ 79623 h 85725"/>
                <a:gd name="connsiteX29" fmla="*/ 9502 w 123825"/>
                <a:gd name="connsiteY29" fmla="*/ 83314 h 85725"/>
                <a:gd name="connsiteX30" fmla="*/ 9502 w 123825"/>
                <a:gd name="connsiteY30" fmla="*/ 83314 h 85725"/>
                <a:gd name="connsiteX31" fmla="*/ 9502 w 123825"/>
                <a:gd name="connsiteY31" fmla="*/ 87005 h 85725"/>
                <a:gd name="connsiteX32" fmla="*/ 13191 w 123825"/>
                <a:gd name="connsiteY32" fmla="*/ 87005 h 85725"/>
                <a:gd name="connsiteX33" fmla="*/ 9502 w 123825"/>
                <a:gd name="connsiteY33" fmla="*/ 87005 h 85725"/>
                <a:gd name="connsiteX34" fmla="*/ 5812 w 123825"/>
                <a:gd name="connsiteY34" fmla="*/ 87005 h 85725"/>
                <a:gd name="connsiteX35" fmla="*/ 5812 w 123825"/>
                <a:gd name="connsiteY35" fmla="*/ 87005 h 85725"/>
                <a:gd name="connsiteX36" fmla="*/ 5812 w 123825"/>
                <a:gd name="connsiteY36" fmla="*/ 79623 h 85725"/>
                <a:gd name="connsiteX37" fmla="*/ 5812 w 123825"/>
                <a:gd name="connsiteY37" fmla="*/ 75933 h 85725"/>
                <a:gd name="connsiteX38" fmla="*/ 5812 w 123825"/>
                <a:gd name="connsiteY38" fmla="*/ 72242 h 85725"/>
                <a:gd name="connsiteX39" fmla="*/ 27947 w 123825"/>
                <a:gd name="connsiteY39" fmla="*/ 61170 h 85725"/>
                <a:gd name="connsiteX40" fmla="*/ 39015 w 123825"/>
                <a:gd name="connsiteY40" fmla="*/ 50098 h 85725"/>
                <a:gd name="connsiteX41" fmla="*/ 46393 w 123825"/>
                <a:gd name="connsiteY41" fmla="*/ 46408 h 85725"/>
                <a:gd name="connsiteX42" fmla="*/ 53771 w 123825"/>
                <a:gd name="connsiteY42" fmla="*/ 39027 h 85725"/>
                <a:gd name="connsiteX43" fmla="*/ 57460 w 123825"/>
                <a:gd name="connsiteY43" fmla="*/ 35336 h 85725"/>
                <a:gd name="connsiteX44" fmla="*/ 72217 w 123825"/>
                <a:gd name="connsiteY44" fmla="*/ 24264 h 85725"/>
                <a:gd name="connsiteX45" fmla="*/ 79595 w 123825"/>
                <a:gd name="connsiteY45" fmla="*/ 20574 h 85725"/>
                <a:gd name="connsiteX46" fmla="*/ 83285 w 123825"/>
                <a:gd name="connsiteY46" fmla="*/ 16883 h 85725"/>
                <a:gd name="connsiteX47" fmla="*/ 83285 w 123825"/>
                <a:gd name="connsiteY47" fmla="*/ 16883 h 85725"/>
                <a:gd name="connsiteX48" fmla="*/ 94352 w 123825"/>
                <a:gd name="connsiteY48" fmla="*/ 13192 h 85725"/>
                <a:gd name="connsiteX49" fmla="*/ 101730 w 123825"/>
                <a:gd name="connsiteY49" fmla="*/ 9503 h 85725"/>
                <a:gd name="connsiteX50" fmla="*/ 109109 w 123825"/>
                <a:gd name="connsiteY50" fmla="*/ 5812 h 85725"/>
                <a:gd name="connsiteX51" fmla="*/ 112798 w 123825"/>
                <a:gd name="connsiteY51" fmla="*/ 5812 h 85725"/>
                <a:gd name="connsiteX52" fmla="*/ 123865 w 123825"/>
                <a:gd name="connsiteY52" fmla="*/ 9503 h 85725"/>
                <a:gd name="connsiteX53" fmla="*/ 123865 w 123825"/>
                <a:gd name="connsiteY53" fmla="*/ 13192 h 85725"/>
                <a:gd name="connsiteX54" fmla="*/ 120176 w 123825"/>
                <a:gd name="connsiteY54" fmla="*/ 16883 h 85725"/>
                <a:gd name="connsiteX55" fmla="*/ 120176 w 123825"/>
                <a:gd name="connsiteY55" fmla="*/ 16883 h 85725"/>
                <a:gd name="connsiteX56" fmla="*/ 120176 w 123825"/>
                <a:gd name="connsiteY56" fmla="*/ 16883 h 85725"/>
                <a:gd name="connsiteX57" fmla="*/ 116487 w 123825"/>
                <a:gd name="connsiteY57" fmla="*/ 16883 h 85725"/>
                <a:gd name="connsiteX58" fmla="*/ 112798 w 123825"/>
                <a:gd name="connsiteY58" fmla="*/ 16883 h 85725"/>
                <a:gd name="connsiteX59" fmla="*/ 105420 w 123825"/>
                <a:gd name="connsiteY59" fmla="*/ 16883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23825" h="85725">
                  <a:moveTo>
                    <a:pt x="105420" y="16883"/>
                  </a:moveTo>
                  <a:lnTo>
                    <a:pt x="105420" y="20574"/>
                  </a:lnTo>
                  <a:lnTo>
                    <a:pt x="101730" y="24264"/>
                  </a:lnTo>
                  <a:lnTo>
                    <a:pt x="94352" y="27955"/>
                  </a:lnTo>
                  <a:lnTo>
                    <a:pt x="72217" y="35336"/>
                  </a:lnTo>
                  <a:lnTo>
                    <a:pt x="64839" y="39027"/>
                  </a:lnTo>
                  <a:lnTo>
                    <a:pt x="64839" y="42717"/>
                  </a:lnTo>
                  <a:lnTo>
                    <a:pt x="64839" y="50098"/>
                  </a:lnTo>
                  <a:lnTo>
                    <a:pt x="68528" y="50098"/>
                  </a:lnTo>
                  <a:lnTo>
                    <a:pt x="68528" y="46408"/>
                  </a:lnTo>
                  <a:lnTo>
                    <a:pt x="68528" y="46408"/>
                  </a:lnTo>
                  <a:lnTo>
                    <a:pt x="68528" y="46408"/>
                  </a:lnTo>
                  <a:lnTo>
                    <a:pt x="68528" y="46408"/>
                  </a:lnTo>
                  <a:lnTo>
                    <a:pt x="72217" y="46408"/>
                  </a:lnTo>
                  <a:lnTo>
                    <a:pt x="68528" y="50098"/>
                  </a:lnTo>
                  <a:lnTo>
                    <a:pt x="64839" y="57480"/>
                  </a:lnTo>
                  <a:lnTo>
                    <a:pt x="64839" y="57480"/>
                  </a:lnTo>
                  <a:lnTo>
                    <a:pt x="64839" y="57480"/>
                  </a:lnTo>
                  <a:lnTo>
                    <a:pt x="53771" y="64861"/>
                  </a:lnTo>
                  <a:lnTo>
                    <a:pt x="50082" y="68552"/>
                  </a:lnTo>
                  <a:lnTo>
                    <a:pt x="46393" y="68552"/>
                  </a:lnTo>
                  <a:lnTo>
                    <a:pt x="46393" y="72242"/>
                  </a:lnTo>
                  <a:lnTo>
                    <a:pt x="42704" y="75933"/>
                  </a:lnTo>
                  <a:lnTo>
                    <a:pt x="35326" y="79623"/>
                  </a:lnTo>
                  <a:lnTo>
                    <a:pt x="35326" y="79623"/>
                  </a:lnTo>
                  <a:lnTo>
                    <a:pt x="35326" y="79623"/>
                  </a:lnTo>
                  <a:lnTo>
                    <a:pt x="31636" y="79623"/>
                  </a:lnTo>
                  <a:lnTo>
                    <a:pt x="24258" y="79623"/>
                  </a:lnTo>
                  <a:lnTo>
                    <a:pt x="13191" y="79623"/>
                  </a:lnTo>
                  <a:lnTo>
                    <a:pt x="9502" y="83314"/>
                  </a:lnTo>
                  <a:lnTo>
                    <a:pt x="9502" y="83314"/>
                  </a:lnTo>
                  <a:lnTo>
                    <a:pt x="9502" y="87005"/>
                  </a:lnTo>
                  <a:lnTo>
                    <a:pt x="13191" y="87005"/>
                  </a:lnTo>
                  <a:lnTo>
                    <a:pt x="9502" y="87005"/>
                  </a:lnTo>
                  <a:lnTo>
                    <a:pt x="5812" y="87005"/>
                  </a:lnTo>
                  <a:lnTo>
                    <a:pt x="5812" y="87005"/>
                  </a:lnTo>
                  <a:lnTo>
                    <a:pt x="5812" y="79623"/>
                  </a:lnTo>
                  <a:lnTo>
                    <a:pt x="5812" y="75933"/>
                  </a:lnTo>
                  <a:lnTo>
                    <a:pt x="5812" y="72242"/>
                  </a:lnTo>
                  <a:lnTo>
                    <a:pt x="27947" y="61170"/>
                  </a:lnTo>
                  <a:lnTo>
                    <a:pt x="39015" y="50098"/>
                  </a:lnTo>
                  <a:lnTo>
                    <a:pt x="46393" y="46408"/>
                  </a:lnTo>
                  <a:lnTo>
                    <a:pt x="53771" y="39027"/>
                  </a:lnTo>
                  <a:lnTo>
                    <a:pt x="57460" y="35336"/>
                  </a:lnTo>
                  <a:lnTo>
                    <a:pt x="72217" y="24264"/>
                  </a:lnTo>
                  <a:lnTo>
                    <a:pt x="79595" y="20574"/>
                  </a:lnTo>
                  <a:lnTo>
                    <a:pt x="83285" y="16883"/>
                  </a:lnTo>
                  <a:lnTo>
                    <a:pt x="83285" y="16883"/>
                  </a:lnTo>
                  <a:lnTo>
                    <a:pt x="94352" y="13192"/>
                  </a:lnTo>
                  <a:lnTo>
                    <a:pt x="101730" y="9503"/>
                  </a:lnTo>
                  <a:lnTo>
                    <a:pt x="109109" y="5812"/>
                  </a:lnTo>
                  <a:lnTo>
                    <a:pt x="112798" y="5812"/>
                  </a:lnTo>
                  <a:lnTo>
                    <a:pt x="123865" y="9503"/>
                  </a:lnTo>
                  <a:lnTo>
                    <a:pt x="123865" y="13192"/>
                  </a:lnTo>
                  <a:lnTo>
                    <a:pt x="120176" y="16883"/>
                  </a:lnTo>
                  <a:lnTo>
                    <a:pt x="120176" y="16883"/>
                  </a:lnTo>
                  <a:lnTo>
                    <a:pt x="120176" y="16883"/>
                  </a:lnTo>
                  <a:lnTo>
                    <a:pt x="116487" y="16883"/>
                  </a:lnTo>
                  <a:lnTo>
                    <a:pt x="112798" y="16883"/>
                  </a:lnTo>
                  <a:lnTo>
                    <a:pt x="105420" y="16883"/>
                  </a:lnTo>
                  <a:close/>
                </a:path>
              </a:pathLst>
            </a:custGeom>
            <a:solidFill>
              <a:srgbClr val="FFBD42"/>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35" name="Freeform: Shape 334">
              <a:extLst>
                <a:ext uri="{FF2B5EF4-FFF2-40B4-BE49-F238E27FC236}">
                  <a16:creationId xmlns:a16="http://schemas.microsoft.com/office/drawing/2014/main" id="{BFC7BE6E-C10A-4077-AC76-2CC274506DF4}"/>
                </a:ext>
              </a:extLst>
            </p:cNvPr>
            <p:cNvSpPr/>
            <p:nvPr/>
          </p:nvSpPr>
          <p:spPr>
            <a:xfrm>
              <a:off x="10071447" y="2472877"/>
              <a:ext cx="15373" cy="15373"/>
            </a:xfrm>
            <a:custGeom>
              <a:avLst/>
              <a:gdLst>
                <a:gd name="connsiteX0" fmla="*/ 5812 w 9525"/>
                <a:gd name="connsiteY0" fmla="*/ 5812 h 9525"/>
                <a:gd name="connsiteX1" fmla="*/ 13184 w 9525"/>
                <a:gd name="connsiteY1" fmla="*/ 5812 h 9525"/>
                <a:gd name="connsiteX2" fmla="*/ 13184 w 9525"/>
                <a:gd name="connsiteY2" fmla="*/ 5812 h 9525"/>
                <a:gd name="connsiteX3" fmla="*/ 13184 w 9525"/>
                <a:gd name="connsiteY3" fmla="*/ 9502 h 9525"/>
                <a:gd name="connsiteX4" fmla="*/ 13184 w 9525"/>
                <a:gd name="connsiteY4" fmla="*/ 9502 h 9525"/>
                <a:gd name="connsiteX5" fmla="*/ 5812 w 9525"/>
                <a:gd name="connsiteY5" fmla="*/ 13193 h 9525"/>
                <a:gd name="connsiteX6" fmla="*/ 5812 w 9525"/>
                <a:gd name="connsiteY6"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9525">
                  <a:moveTo>
                    <a:pt x="5812" y="5812"/>
                  </a:moveTo>
                  <a:lnTo>
                    <a:pt x="13184" y="5812"/>
                  </a:lnTo>
                  <a:lnTo>
                    <a:pt x="13184" y="5812"/>
                  </a:lnTo>
                  <a:lnTo>
                    <a:pt x="13184" y="9502"/>
                  </a:lnTo>
                  <a:lnTo>
                    <a:pt x="13184" y="9502"/>
                  </a:lnTo>
                  <a:lnTo>
                    <a:pt x="5812" y="13193"/>
                  </a:lnTo>
                  <a:lnTo>
                    <a:pt x="5812" y="5812"/>
                  </a:lnTo>
                  <a:close/>
                </a:path>
              </a:pathLst>
            </a:custGeom>
            <a:solidFill>
              <a:srgbClr val="FFBD42"/>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36" name="Freeform: Shape 335">
              <a:extLst>
                <a:ext uri="{FF2B5EF4-FFF2-40B4-BE49-F238E27FC236}">
                  <a16:creationId xmlns:a16="http://schemas.microsoft.com/office/drawing/2014/main" id="{8C35E483-EBE1-4113-A958-AF2C8C26E752}"/>
                </a:ext>
              </a:extLst>
            </p:cNvPr>
            <p:cNvSpPr/>
            <p:nvPr/>
          </p:nvSpPr>
          <p:spPr>
            <a:xfrm>
              <a:off x="10148851" y="2413315"/>
              <a:ext cx="61491" cy="61491"/>
            </a:xfrm>
            <a:custGeom>
              <a:avLst/>
              <a:gdLst>
                <a:gd name="connsiteX0" fmla="*/ 24252 w 38100"/>
                <a:gd name="connsiteY0" fmla="*/ 9502 h 38100"/>
                <a:gd name="connsiteX1" fmla="*/ 24252 w 38100"/>
                <a:gd name="connsiteY1" fmla="*/ 13193 h 38100"/>
                <a:gd name="connsiteX2" fmla="*/ 24252 w 38100"/>
                <a:gd name="connsiteY2" fmla="*/ 13193 h 38100"/>
                <a:gd name="connsiteX3" fmla="*/ 27948 w 38100"/>
                <a:gd name="connsiteY3" fmla="*/ 16883 h 38100"/>
                <a:gd name="connsiteX4" fmla="*/ 31634 w 38100"/>
                <a:gd name="connsiteY4" fmla="*/ 20574 h 38100"/>
                <a:gd name="connsiteX5" fmla="*/ 35320 w 38100"/>
                <a:gd name="connsiteY5" fmla="*/ 24264 h 38100"/>
                <a:gd name="connsiteX6" fmla="*/ 31634 w 38100"/>
                <a:gd name="connsiteY6" fmla="*/ 20574 h 38100"/>
                <a:gd name="connsiteX7" fmla="*/ 27948 w 38100"/>
                <a:gd name="connsiteY7" fmla="*/ 20574 h 38100"/>
                <a:gd name="connsiteX8" fmla="*/ 20566 w 38100"/>
                <a:gd name="connsiteY8" fmla="*/ 20574 h 38100"/>
                <a:gd name="connsiteX9" fmla="*/ 16880 w 38100"/>
                <a:gd name="connsiteY9" fmla="*/ 20574 h 38100"/>
                <a:gd name="connsiteX10" fmla="*/ 16880 w 38100"/>
                <a:gd name="connsiteY10" fmla="*/ 20574 h 38100"/>
                <a:gd name="connsiteX11" fmla="*/ 16880 w 38100"/>
                <a:gd name="connsiteY11" fmla="*/ 24264 h 38100"/>
                <a:gd name="connsiteX12" fmla="*/ 16880 w 38100"/>
                <a:gd name="connsiteY12" fmla="*/ 27955 h 38100"/>
                <a:gd name="connsiteX13" fmla="*/ 20566 w 38100"/>
                <a:gd name="connsiteY13" fmla="*/ 27955 h 38100"/>
                <a:gd name="connsiteX14" fmla="*/ 20566 w 38100"/>
                <a:gd name="connsiteY14" fmla="*/ 27955 h 38100"/>
                <a:gd name="connsiteX15" fmla="*/ 16880 w 38100"/>
                <a:gd name="connsiteY15" fmla="*/ 35336 h 38100"/>
                <a:gd name="connsiteX16" fmla="*/ 13184 w 38100"/>
                <a:gd name="connsiteY16" fmla="*/ 31646 h 38100"/>
                <a:gd name="connsiteX17" fmla="*/ 9498 w 38100"/>
                <a:gd name="connsiteY17" fmla="*/ 20574 h 38100"/>
                <a:gd name="connsiteX18" fmla="*/ 5812 w 38100"/>
                <a:gd name="connsiteY18" fmla="*/ 16883 h 38100"/>
                <a:gd name="connsiteX19" fmla="*/ 5812 w 38100"/>
                <a:gd name="connsiteY19" fmla="*/ 13193 h 38100"/>
                <a:gd name="connsiteX20" fmla="*/ 9498 w 38100"/>
                <a:gd name="connsiteY20" fmla="*/ 5812 h 38100"/>
                <a:gd name="connsiteX21" fmla="*/ 13184 w 38100"/>
                <a:gd name="connsiteY21" fmla="*/ 5812 h 38100"/>
                <a:gd name="connsiteX22" fmla="*/ 16880 w 38100"/>
                <a:gd name="connsiteY22" fmla="*/ 5812 h 38100"/>
                <a:gd name="connsiteX23" fmla="*/ 20566 w 38100"/>
                <a:gd name="connsiteY23" fmla="*/ 5812 h 38100"/>
                <a:gd name="connsiteX24" fmla="*/ 24252 w 38100"/>
                <a:gd name="connsiteY24" fmla="*/ 9502 h 38100"/>
                <a:gd name="connsiteX25" fmla="*/ 24252 w 38100"/>
                <a:gd name="connsiteY25" fmla="*/ 9502 h 38100"/>
                <a:gd name="connsiteX26" fmla="*/ 24252 w 38100"/>
                <a:gd name="connsiteY26" fmla="*/ 9502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8100" h="38100">
                  <a:moveTo>
                    <a:pt x="24252" y="9502"/>
                  </a:moveTo>
                  <a:lnTo>
                    <a:pt x="24252" y="13193"/>
                  </a:lnTo>
                  <a:lnTo>
                    <a:pt x="24252" y="13193"/>
                  </a:lnTo>
                  <a:lnTo>
                    <a:pt x="27948" y="16883"/>
                  </a:lnTo>
                  <a:lnTo>
                    <a:pt x="31634" y="20574"/>
                  </a:lnTo>
                  <a:lnTo>
                    <a:pt x="35320" y="24264"/>
                  </a:lnTo>
                  <a:lnTo>
                    <a:pt x="31634" y="20574"/>
                  </a:lnTo>
                  <a:lnTo>
                    <a:pt x="27948" y="20574"/>
                  </a:lnTo>
                  <a:lnTo>
                    <a:pt x="20566" y="20574"/>
                  </a:lnTo>
                  <a:lnTo>
                    <a:pt x="16880" y="20574"/>
                  </a:lnTo>
                  <a:lnTo>
                    <a:pt x="16880" y="20574"/>
                  </a:lnTo>
                  <a:lnTo>
                    <a:pt x="16880" y="24264"/>
                  </a:lnTo>
                  <a:lnTo>
                    <a:pt x="16880" y="27955"/>
                  </a:lnTo>
                  <a:lnTo>
                    <a:pt x="20566" y="27955"/>
                  </a:lnTo>
                  <a:lnTo>
                    <a:pt x="20566" y="27955"/>
                  </a:lnTo>
                  <a:lnTo>
                    <a:pt x="16880" y="35336"/>
                  </a:lnTo>
                  <a:lnTo>
                    <a:pt x="13184" y="31646"/>
                  </a:lnTo>
                  <a:lnTo>
                    <a:pt x="9498" y="20574"/>
                  </a:lnTo>
                  <a:lnTo>
                    <a:pt x="5812" y="16883"/>
                  </a:lnTo>
                  <a:lnTo>
                    <a:pt x="5812" y="13193"/>
                  </a:lnTo>
                  <a:lnTo>
                    <a:pt x="9498" y="5812"/>
                  </a:lnTo>
                  <a:lnTo>
                    <a:pt x="13184" y="5812"/>
                  </a:lnTo>
                  <a:lnTo>
                    <a:pt x="16880" y="5812"/>
                  </a:lnTo>
                  <a:lnTo>
                    <a:pt x="20566" y="5812"/>
                  </a:lnTo>
                  <a:lnTo>
                    <a:pt x="24252" y="9502"/>
                  </a:lnTo>
                  <a:lnTo>
                    <a:pt x="24252" y="9502"/>
                  </a:lnTo>
                  <a:lnTo>
                    <a:pt x="24252" y="9502"/>
                  </a:lnTo>
                  <a:close/>
                </a:path>
              </a:pathLst>
            </a:custGeom>
            <a:solidFill>
              <a:srgbClr val="FFBD42"/>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37" name="Freeform: Shape 336">
              <a:extLst>
                <a:ext uri="{FF2B5EF4-FFF2-40B4-BE49-F238E27FC236}">
                  <a16:creationId xmlns:a16="http://schemas.microsoft.com/office/drawing/2014/main" id="{ACBC4AC9-BB84-4149-8345-B366A0F15F90}"/>
                </a:ext>
              </a:extLst>
            </p:cNvPr>
            <p:cNvSpPr/>
            <p:nvPr/>
          </p:nvSpPr>
          <p:spPr>
            <a:xfrm>
              <a:off x="10232199" y="2425228"/>
              <a:ext cx="46118" cy="15373"/>
            </a:xfrm>
            <a:custGeom>
              <a:avLst/>
              <a:gdLst>
                <a:gd name="connsiteX0" fmla="*/ 9498 w 28575"/>
                <a:gd name="connsiteY0" fmla="*/ 5812 h 9525"/>
                <a:gd name="connsiteX1" fmla="*/ 16880 w 28575"/>
                <a:gd name="connsiteY1" fmla="*/ 5812 h 9525"/>
                <a:gd name="connsiteX2" fmla="*/ 24262 w 28575"/>
                <a:gd name="connsiteY2" fmla="*/ 5812 h 9525"/>
                <a:gd name="connsiteX3" fmla="*/ 31634 w 28575"/>
                <a:gd name="connsiteY3" fmla="*/ 9502 h 9525"/>
                <a:gd name="connsiteX4" fmla="*/ 31634 w 28575"/>
                <a:gd name="connsiteY4" fmla="*/ 13193 h 9525"/>
                <a:gd name="connsiteX5" fmla="*/ 31634 w 28575"/>
                <a:gd name="connsiteY5" fmla="*/ 9502 h 9525"/>
                <a:gd name="connsiteX6" fmla="*/ 24262 w 28575"/>
                <a:gd name="connsiteY6" fmla="*/ 9502 h 9525"/>
                <a:gd name="connsiteX7" fmla="*/ 16880 w 28575"/>
                <a:gd name="connsiteY7" fmla="*/ 9502 h 9525"/>
                <a:gd name="connsiteX8" fmla="*/ 13194 w 28575"/>
                <a:gd name="connsiteY8" fmla="*/ 9502 h 9525"/>
                <a:gd name="connsiteX9" fmla="*/ 13194 w 28575"/>
                <a:gd name="connsiteY9" fmla="*/ 9502 h 9525"/>
                <a:gd name="connsiteX10" fmla="*/ 9498 w 28575"/>
                <a:gd name="connsiteY10" fmla="*/ 9502 h 9525"/>
                <a:gd name="connsiteX11" fmla="*/ 5812 w 28575"/>
                <a:gd name="connsiteY11" fmla="*/ 13193 h 9525"/>
                <a:gd name="connsiteX12" fmla="*/ 5812 w 28575"/>
                <a:gd name="connsiteY12" fmla="*/ 13193 h 9525"/>
                <a:gd name="connsiteX13" fmla="*/ 5812 w 28575"/>
                <a:gd name="connsiteY13" fmla="*/ 9502 h 9525"/>
                <a:gd name="connsiteX14" fmla="*/ 9498 w 28575"/>
                <a:gd name="connsiteY14" fmla="*/ 5812 h 9525"/>
                <a:gd name="connsiteX15" fmla="*/ 9498 w 28575"/>
                <a:gd name="connsiteY15"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575" h="9525">
                  <a:moveTo>
                    <a:pt x="9498" y="5812"/>
                  </a:moveTo>
                  <a:lnTo>
                    <a:pt x="16880" y="5812"/>
                  </a:lnTo>
                  <a:lnTo>
                    <a:pt x="24262" y="5812"/>
                  </a:lnTo>
                  <a:lnTo>
                    <a:pt x="31634" y="9502"/>
                  </a:lnTo>
                  <a:lnTo>
                    <a:pt x="31634" y="13193"/>
                  </a:lnTo>
                  <a:lnTo>
                    <a:pt x="31634" y="9502"/>
                  </a:lnTo>
                  <a:lnTo>
                    <a:pt x="24262" y="9502"/>
                  </a:lnTo>
                  <a:lnTo>
                    <a:pt x="16880" y="9502"/>
                  </a:lnTo>
                  <a:lnTo>
                    <a:pt x="13194" y="9502"/>
                  </a:lnTo>
                  <a:lnTo>
                    <a:pt x="13194" y="9502"/>
                  </a:lnTo>
                  <a:lnTo>
                    <a:pt x="9498" y="9502"/>
                  </a:lnTo>
                  <a:lnTo>
                    <a:pt x="5812" y="13193"/>
                  </a:lnTo>
                  <a:lnTo>
                    <a:pt x="5812" y="13193"/>
                  </a:lnTo>
                  <a:lnTo>
                    <a:pt x="5812" y="9502"/>
                  </a:lnTo>
                  <a:lnTo>
                    <a:pt x="9498" y="5812"/>
                  </a:lnTo>
                  <a:lnTo>
                    <a:pt x="9498" y="5812"/>
                  </a:lnTo>
                  <a:close/>
                </a:path>
              </a:pathLst>
            </a:custGeom>
            <a:solidFill>
              <a:srgbClr val="FFBD42"/>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38" name="Freeform: Shape 337">
              <a:extLst>
                <a:ext uri="{FF2B5EF4-FFF2-40B4-BE49-F238E27FC236}">
                  <a16:creationId xmlns:a16="http://schemas.microsoft.com/office/drawing/2014/main" id="{519108F0-53BD-4594-A01E-7470079FC73E}"/>
                </a:ext>
              </a:extLst>
            </p:cNvPr>
            <p:cNvSpPr/>
            <p:nvPr/>
          </p:nvSpPr>
          <p:spPr>
            <a:xfrm>
              <a:off x="9946407" y="2645611"/>
              <a:ext cx="30745" cy="15373"/>
            </a:xfrm>
            <a:custGeom>
              <a:avLst/>
              <a:gdLst>
                <a:gd name="connsiteX0" fmla="*/ 5812 w 19050"/>
                <a:gd name="connsiteY0" fmla="*/ 5812 h 9525"/>
                <a:gd name="connsiteX1" fmla="*/ 9498 w 19050"/>
                <a:gd name="connsiteY1" fmla="*/ 9503 h 9525"/>
                <a:gd name="connsiteX2" fmla="*/ 9498 w 19050"/>
                <a:gd name="connsiteY2" fmla="*/ 5812 h 9525"/>
                <a:gd name="connsiteX3" fmla="*/ 9498 w 19050"/>
                <a:gd name="connsiteY3" fmla="*/ 5812 h 9525"/>
                <a:gd name="connsiteX4" fmla="*/ 16879 w 19050"/>
                <a:gd name="connsiteY4" fmla="*/ 9503 h 9525"/>
                <a:gd name="connsiteX5" fmla="*/ 16879 w 19050"/>
                <a:gd name="connsiteY5" fmla="*/ 9503 h 9525"/>
                <a:gd name="connsiteX6" fmla="*/ 16879 w 19050"/>
                <a:gd name="connsiteY6" fmla="*/ 13192 h 9525"/>
                <a:gd name="connsiteX7" fmla="*/ 16879 w 19050"/>
                <a:gd name="connsiteY7" fmla="*/ 13192 h 9525"/>
                <a:gd name="connsiteX8" fmla="*/ 13184 w 19050"/>
                <a:gd name="connsiteY8" fmla="*/ 13192 h 9525"/>
                <a:gd name="connsiteX9" fmla="*/ 9498 w 19050"/>
                <a:gd name="connsiteY9" fmla="*/ 13192 h 9525"/>
                <a:gd name="connsiteX10" fmla="*/ 5812 w 19050"/>
                <a:gd name="connsiteY10" fmla="*/ 9503 h 9525"/>
                <a:gd name="connsiteX11" fmla="*/ 5812 w 19050"/>
                <a:gd name="connsiteY11" fmla="*/ 5812 h 9525"/>
                <a:gd name="connsiteX12" fmla="*/ 5812 w 19050"/>
                <a:gd name="connsiteY12"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 h="9525">
                  <a:moveTo>
                    <a:pt x="5812" y="5812"/>
                  </a:moveTo>
                  <a:lnTo>
                    <a:pt x="9498" y="9503"/>
                  </a:lnTo>
                  <a:lnTo>
                    <a:pt x="9498" y="5812"/>
                  </a:lnTo>
                  <a:lnTo>
                    <a:pt x="9498" y="5812"/>
                  </a:lnTo>
                  <a:lnTo>
                    <a:pt x="16879" y="9503"/>
                  </a:lnTo>
                  <a:lnTo>
                    <a:pt x="16879" y="9503"/>
                  </a:lnTo>
                  <a:lnTo>
                    <a:pt x="16879" y="13192"/>
                  </a:lnTo>
                  <a:lnTo>
                    <a:pt x="16879" y="13192"/>
                  </a:lnTo>
                  <a:lnTo>
                    <a:pt x="13184" y="13192"/>
                  </a:lnTo>
                  <a:lnTo>
                    <a:pt x="9498" y="13192"/>
                  </a:lnTo>
                  <a:lnTo>
                    <a:pt x="5812" y="9503"/>
                  </a:lnTo>
                  <a:lnTo>
                    <a:pt x="5812" y="5812"/>
                  </a:lnTo>
                  <a:lnTo>
                    <a:pt x="5812" y="5812"/>
                  </a:lnTo>
                  <a:close/>
                </a:path>
              </a:pathLst>
            </a:custGeom>
            <a:solidFill>
              <a:srgbClr val="FFBD42"/>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88" name="Freeform: Shape 287">
              <a:extLst>
                <a:ext uri="{FF2B5EF4-FFF2-40B4-BE49-F238E27FC236}">
                  <a16:creationId xmlns:a16="http://schemas.microsoft.com/office/drawing/2014/main" id="{82C304B8-8A8A-4432-B2A1-BFF071E087CC}"/>
                </a:ext>
              </a:extLst>
            </p:cNvPr>
            <p:cNvSpPr/>
            <p:nvPr/>
          </p:nvSpPr>
          <p:spPr>
            <a:xfrm>
              <a:off x="9904732" y="2865994"/>
              <a:ext cx="768634" cy="768633"/>
            </a:xfrm>
            <a:custGeom>
              <a:avLst/>
              <a:gdLst>
                <a:gd name="connsiteX0" fmla="*/ 168137 w 476250"/>
                <a:gd name="connsiteY0" fmla="*/ 5812 h 476250"/>
                <a:gd name="connsiteX1" fmla="*/ 160755 w 476250"/>
                <a:gd name="connsiteY1" fmla="*/ 9502 h 476250"/>
                <a:gd name="connsiteX2" fmla="*/ 157068 w 476250"/>
                <a:gd name="connsiteY2" fmla="*/ 13192 h 476250"/>
                <a:gd name="connsiteX3" fmla="*/ 157068 w 476250"/>
                <a:gd name="connsiteY3" fmla="*/ 16882 h 476250"/>
                <a:gd name="connsiteX4" fmla="*/ 149687 w 476250"/>
                <a:gd name="connsiteY4" fmla="*/ 20573 h 476250"/>
                <a:gd name="connsiteX5" fmla="*/ 142305 w 476250"/>
                <a:gd name="connsiteY5" fmla="*/ 24264 h 476250"/>
                <a:gd name="connsiteX6" fmla="*/ 138619 w 476250"/>
                <a:gd name="connsiteY6" fmla="*/ 27954 h 476250"/>
                <a:gd name="connsiteX7" fmla="*/ 138619 w 476250"/>
                <a:gd name="connsiteY7" fmla="*/ 31645 h 476250"/>
                <a:gd name="connsiteX8" fmla="*/ 134932 w 476250"/>
                <a:gd name="connsiteY8" fmla="*/ 35335 h 476250"/>
                <a:gd name="connsiteX9" fmla="*/ 131237 w 476250"/>
                <a:gd name="connsiteY9" fmla="*/ 42717 h 476250"/>
                <a:gd name="connsiteX10" fmla="*/ 127550 w 476250"/>
                <a:gd name="connsiteY10" fmla="*/ 46407 h 476250"/>
                <a:gd name="connsiteX11" fmla="*/ 127550 w 476250"/>
                <a:gd name="connsiteY11" fmla="*/ 50098 h 476250"/>
                <a:gd name="connsiteX12" fmla="*/ 120169 w 476250"/>
                <a:gd name="connsiteY12" fmla="*/ 68551 h 476250"/>
                <a:gd name="connsiteX13" fmla="*/ 120169 w 476250"/>
                <a:gd name="connsiteY13" fmla="*/ 72242 h 476250"/>
                <a:gd name="connsiteX14" fmla="*/ 120169 w 476250"/>
                <a:gd name="connsiteY14" fmla="*/ 83313 h 476250"/>
                <a:gd name="connsiteX15" fmla="*/ 116482 w 476250"/>
                <a:gd name="connsiteY15" fmla="*/ 83313 h 476250"/>
                <a:gd name="connsiteX16" fmla="*/ 112796 w 476250"/>
                <a:gd name="connsiteY16" fmla="*/ 98075 h 476250"/>
                <a:gd name="connsiteX17" fmla="*/ 109110 w 476250"/>
                <a:gd name="connsiteY17" fmla="*/ 98075 h 476250"/>
                <a:gd name="connsiteX18" fmla="*/ 98042 w 476250"/>
                <a:gd name="connsiteY18" fmla="*/ 94385 h 476250"/>
                <a:gd name="connsiteX19" fmla="*/ 94346 w 476250"/>
                <a:gd name="connsiteY19" fmla="*/ 101765 h 476250"/>
                <a:gd name="connsiteX20" fmla="*/ 105414 w 476250"/>
                <a:gd name="connsiteY20" fmla="*/ 109147 h 476250"/>
                <a:gd name="connsiteX21" fmla="*/ 116482 w 476250"/>
                <a:gd name="connsiteY21" fmla="*/ 109147 h 476250"/>
                <a:gd name="connsiteX22" fmla="*/ 123864 w 476250"/>
                <a:gd name="connsiteY22" fmla="*/ 112837 h 476250"/>
                <a:gd name="connsiteX23" fmla="*/ 120169 w 476250"/>
                <a:gd name="connsiteY23" fmla="*/ 123909 h 476250"/>
                <a:gd name="connsiteX24" fmla="*/ 120169 w 476250"/>
                <a:gd name="connsiteY24" fmla="*/ 134981 h 476250"/>
                <a:gd name="connsiteX25" fmla="*/ 120169 w 476250"/>
                <a:gd name="connsiteY25" fmla="*/ 138672 h 476250"/>
                <a:gd name="connsiteX26" fmla="*/ 127550 w 476250"/>
                <a:gd name="connsiteY26" fmla="*/ 149743 h 476250"/>
                <a:gd name="connsiteX27" fmla="*/ 142305 w 476250"/>
                <a:gd name="connsiteY27" fmla="*/ 171887 h 476250"/>
                <a:gd name="connsiteX28" fmla="*/ 146000 w 476250"/>
                <a:gd name="connsiteY28" fmla="*/ 179268 h 476250"/>
                <a:gd name="connsiteX29" fmla="*/ 149687 w 476250"/>
                <a:gd name="connsiteY29" fmla="*/ 186649 h 476250"/>
                <a:gd name="connsiteX30" fmla="*/ 153373 w 476250"/>
                <a:gd name="connsiteY30" fmla="*/ 190339 h 476250"/>
                <a:gd name="connsiteX31" fmla="*/ 142305 w 476250"/>
                <a:gd name="connsiteY31" fmla="*/ 208792 h 476250"/>
                <a:gd name="connsiteX32" fmla="*/ 142305 w 476250"/>
                <a:gd name="connsiteY32" fmla="*/ 212483 h 476250"/>
                <a:gd name="connsiteX33" fmla="*/ 138619 w 476250"/>
                <a:gd name="connsiteY33" fmla="*/ 216173 h 476250"/>
                <a:gd name="connsiteX34" fmla="*/ 134932 w 476250"/>
                <a:gd name="connsiteY34" fmla="*/ 219864 h 476250"/>
                <a:gd name="connsiteX35" fmla="*/ 123864 w 476250"/>
                <a:gd name="connsiteY35" fmla="*/ 230936 h 476250"/>
                <a:gd name="connsiteX36" fmla="*/ 109110 w 476250"/>
                <a:gd name="connsiteY36" fmla="*/ 242008 h 476250"/>
                <a:gd name="connsiteX37" fmla="*/ 94346 w 476250"/>
                <a:gd name="connsiteY37" fmla="*/ 227245 h 476250"/>
                <a:gd name="connsiteX38" fmla="*/ 83278 w 476250"/>
                <a:gd name="connsiteY38" fmla="*/ 227245 h 476250"/>
                <a:gd name="connsiteX39" fmla="*/ 72210 w 476250"/>
                <a:gd name="connsiteY39" fmla="*/ 223555 h 476250"/>
                <a:gd name="connsiteX40" fmla="*/ 64838 w 476250"/>
                <a:gd name="connsiteY40" fmla="*/ 227245 h 476250"/>
                <a:gd name="connsiteX41" fmla="*/ 64838 w 476250"/>
                <a:gd name="connsiteY41" fmla="*/ 230936 h 476250"/>
                <a:gd name="connsiteX42" fmla="*/ 64838 w 476250"/>
                <a:gd name="connsiteY42" fmla="*/ 234627 h 476250"/>
                <a:gd name="connsiteX43" fmla="*/ 57456 w 476250"/>
                <a:gd name="connsiteY43" fmla="*/ 238317 h 476250"/>
                <a:gd name="connsiteX44" fmla="*/ 46388 w 476250"/>
                <a:gd name="connsiteY44" fmla="*/ 253080 h 476250"/>
                <a:gd name="connsiteX45" fmla="*/ 42702 w 476250"/>
                <a:gd name="connsiteY45" fmla="*/ 256770 h 476250"/>
                <a:gd name="connsiteX46" fmla="*/ 39006 w 476250"/>
                <a:gd name="connsiteY46" fmla="*/ 260461 h 476250"/>
                <a:gd name="connsiteX47" fmla="*/ 24252 w 476250"/>
                <a:gd name="connsiteY47" fmla="*/ 267841 h 476250"/>
                <a:gd name="connsiteX48" fmla="*/ 16879 w 476250"/>
                <a:gd name="connsiteY48" fmla="*/ 275222 h 476250"/>
                <a:gd name="connsiteX49" fmla="*/ 5812 w 476250"/>
                <a:gd name="connsiteY49" fmla="*/ 282603 h 476250"/>
                <a:gd name="connsiteX50" fmla="*/ 9498 w 476250"/>
                <a:gd name="connsiteY50" fmla="*/ 289985 h 476250"/>
                <a:gd name="connsiteX51" fmla="*/ 9498 w 476250"/>
                <a:gd name="connsiteY51" fmla="*/ 293675 h 476250"/>
                <a:gd name="connsiteX52" fmla="*/ 20566 w 476250"/>
                <a:gd name="connsiteY52" fmla="*/ 304747 h 476250"/>
                <a:gd name="connsiteX53" fmla="*/ 24252 w 476250"/>
                <a:gd name="connsiteY53" fmla="*/ 308438 h 476250"/>
                <a:gd name="connsiteX54" fmla="*/ 31634 w 476250"/>
                <a:gd name="connsiteY54" fmla="*/ 315819 h 476250"/>
                <a:gd name="connsiteX55" fmla="*/ 35320 w 476250"/>
                <a:gd name="connsiteY55" fmla="*/ 319510 h 476250"/>
                <a:gd name="connsiteX56" fmla="*/ 39006 w 476250"/>
                <a:gd name="connsiteY56" fmla="*/ 323200 h 476250"/>
                <a:gd name="connsiteX57" fmla="*/ 42702 w 476250"/>
                <a:gd name="connsiteY57" fmla="*/ 330581 h 476250"/>
                <a:gd name="connsiteX58" fmla="*/ 46388 w 476250"/>
                <a:gd name="connsiteY58" fmla="*/ 330581 h 476250"/>
                <a:gd name="connsiteX59" fmla="*/ 42702 w 476250"/>
                <a:gd name="connsiteY59" fmla="*/ 337963 h 476250"/>
                <a:gd name="connsiteX60" fmla="*/ 39006 w 476250"/>
                <a:gd name="connsiteY60" fmla="*/ 341653 h 476250"/>
                <a:gd name="connsiteX61" fmla="*/ 31634 w 476250"/>
                <a:gd name="connsiteY61" fmla="*/ 349034 h 476250"/>
                <a:gd name="connsiteX62" fmla="*/ 31634 w 476250"/>
                <a:gd name="connsiteY62" fmla="*/ 352724 h 476250"/>
                <a:gd name="connsiteX63" fmla="*/ 27948 w 476250"/>
                <a:gd name="connsiteY63" fmla="*/ 352724 h 476250"/>
                <a:gd name="connsiteX64" fmla="*/ 24252 w 476250"/>
                <a:gd name="connsiteY64" fmla="*/ 356415 h 476250"/>
                <a:gd name="connsiteX65" fmla="*/ 13184 w 476250"/>
                <a:gd name="connsiteY65" fmla="*/ 360105 h 476250"/>
                <a:gd name="connsiteX66" fmla="*/ 9498 w 476250"/>
                <a:gd name="connsiteY66" fmla="*/ 363796 h 476250"/>
                <a:gd name="connsiteX67" fmla="*/ 5812 w 476250"/>
                <a:gd name="connsiteY67" fmla="*/ 363796 h 476250"/>
                <a:gd name="connsiteX68" fmla="*/ 5812 w 476250"/>
                <a:gd name="connsiteY68" fmla="*/ 367486 h 476250"/>
                <a:gd name="connsiteX69" fmla="*/ 9498 w 476250"/>
                <a:gd name="connsiteY69" fmla="*/ 374868 h 476250"/>
                <a:gd name="connsiteX70" fmla="*/ 13184 w 476250"/>
                <a:gd name="connsiteY70" fmla="*/ 382249 h 476250"/>
                <a:gd name="connsiteX71" fmla="*/ 16879 w 476250"/>
                <a:gd name="connsiteY71" fmla="*/ 389630 h 476250"/>
                <a:gd name="connsiteX72" fmla="*/ 16879 w 476250"/>
                <a:gd name="connsiteY72" fmla="*/ 393321 h 476250"/>
                <a:gd name="connsiteX73" fmla="*/ 16879 w 476250"/>
                <a:gd name="connsiteY73" fmla="*/ 397011 h 476250"/>
                <a:gd name="connsiteX74" fmla="*/ 24252 w 476250"/>
                <a:gd name="connsiteY74" fmla="*/ 408083 h 476250"/>
                <a:gd name="connsiteX75" fmla="*/ 24252 w 476250"/>
                <a:gd name="connsiteY75" fmla="*/ 411774 h 476250"/>
                <a:gd name="connsiteX76" fmla="*/ 31634 w 476250"/>
                <a:gd name="connsiteY76" fmla="*/ 415464 h 476250"/>
                <a:gd name="connsiteX77" fmla="*/ 31634 w 476250"/>
                <a:gd name="connsiteY77" fmla="*/ 419155 h 476250"/>
                <a:gd name="connsiteX78" fmla="*/ 27948 w 476250"/>
                <a:gd name="connsiteY78" fmla="*/ 422846 h 476250"/>
                <a:gd name="connsiteX79" fmla="*/ 39006 w 476250"/>
                <a:gd name="connsiteY79" fmla="*/ 426536 h 476250"/>
                <a:gd name="connsiteX80" fmla="*/ 35320 w 476250"/>
                <a:gd name="connsiteY80" fmla="*/ 422846 h 476250"/>
                <a:gd name="connsiteX81" fmla="*/ 39006 w 476250"/>
                <a:gd name="connsiteY81" fmla="*/ 419155 h 476250"/>
                <a:gd name="connsiteX82" fmla="*/ 39006 w 476250"/>
                <a:gd name="connsiteY82" fmla="*/ 422846 h 476250"/>
                <a:gd name="connsiteX83" fmla="*/ 42702 w 476250"/>
                <a:gd name="connsiteY83" fmla="*/ 426536 h 476250"/>
                <a:gd name="connsiteX84" fmla="*/ 42702 w 476250"/>
                <a:gd name="connsiteY84" fmla="*/ 422846 h 476250"/>
                <a:gd name="connsiteX85" fmla="*/ 46388 w 476250"/>
                <a:gd name="connsiteY85" fmla="*/ 419155 h 476250"/>
                <a:gd name="connsiteX86" fmla="*/ 50074 w 476250"/>
                <a:gd name="connsiteY86" fmla="*/ 419155 h 476250"/>
                <a:gd name="connsiteX87" fmla="*/ 53770 w 476250"/>
                <a:gd name="connsiteY87" fmla="*/ 419155 h 476250"/>
                <a:gd name="connsiteX88" fmla="*/ 57456 w 476250"/>
                <a:gd name="connsiteY88" fmla="*/ 419155 h 476250"/>
                <a:gd name="connsiteX89" fmla="*/ 57456 w 476250"/>
                <a:gd name="connsiteY89" fmla="*/ 422846 h 476250"/>
                <a:gd name="connsiteX90" fmla="*/ 61142 w 476250"/>
                <a:gd name="connsiteY90" fmla="*/ 422846 h 476250"/>
                <a:gd name="connsiteX91" fmla="*/ 64838 w 476250"/>
                <a:gd name="connsiteY91" fmla="*/ 422846 h 476250"/>
                <a:gd name="connsiteX92" fmla="*/ 68524 w 476250"/>
                <a:gd name="connsiteY92" fmla="*/ 422846 h 476250"/>
                <a:gd name="connsiteX93" fmla="*/ 68524 w 476250"/>
                <a:gd name="connsiteY93" fmla="*/ 426536 h 476250"/>
                <a:gd name="connsiteX94" fmla="*/ 72210 w 476250"/>
                <a:gd name="connsiteY94" fmla="*/ 430227 h 476250"/>
                <a:gd name="connsiteX95" fmla="*/ 75906 w 476250"/>
                <a:gd name="connsiteY95" fmla="*/ 430227 h 476250"/>
                <a:gd name="connsiteX96" fmla="*/ 75906 w 476250"/>
                <a:gd name="connsiteY96" fmla="*/ 433917 h 476250"/>
                <a:gd name="connsiteX97" fmla="*/ 79592 w 476250"/>
                <a:gd name="connsiteY97" fmla="*/ 433917 h 476250"/>
                <a:gd name="connsiteX98" fmla="*/ 83278 w 476250"/>
                <a:gd name="connsiteY98" fmla="*/ 433917 h 476250"/>
                <a:gd name="connsiteX99" fmla="*/ 83278 w 476250"/>
                <a:gd name="connsiteY99" fmla="*/ 430227 h 476250"/>
                <a:gd name="connsiteX100" fmla="*/ 86974 w 476250"/>
                <a:gd name="connsiteY100" fmla="*/ 430227 h 476250"/>
                <a:gd name="connsiteX101" fmla="*/ 86974 w 476250"/>
                <a:gd name="connsiteY101" fmla="*/ 433917 h 476250"/>
                <a:gd name="connsiteX102" fmla="*/ 90660 w 476250"/>
                <a:gd name="connsiteY102" fmla="*/ 433917 h 476250"/>
                <a:gd name="connsiteX103" fmla="*/ 94346 w 476250"/>
                <a:gd name="connsiteY103" fmla="*/ 433917 h 476250"/>
                <a:gd name="connsiteX104" fmla="*/ 98042 w 476250"/>
                <a:gd name="connsiteY104" fmla="*/ 433917 h 476250"/>
                <a:gd name="connsiteX105" fmla="*/ 101728 w 476250"/>
                <a:gd name="connsiteY105" fmla="*/ 430227 h 476250"/>
                <a:gd name="connsiteX106" fmla="*/ 105414 w 476250"/>
                <a:gd name="connsiteY106" fmla="*/ 430227 h 476250"/>
                <a:gd name="connsiteX107" fmla="*/ 109110 w 476250"/>
                <a:gd name="connsiteY107" fmla="*/ 430227 h 476250"/>
                <a:gd name="connsiteX108" fmla="*/ 109110 w 476250"/>
                <a:gd name="connsiteY108" fmla="*/ 433917 h 476250"/>
                <a:gd name="connsiteX109" fmla="*/ 105414 w 476250"/>
                <a:gd name="connsiteY109" fmla="*/ 433917 h 476250"/>
                <a:gd name="connsiteX110" fmla="*/ 105414 w 476250"/>
                <a:gd name="connsiteY110" fmla="*/ 437607 h 476250"/>
                <a:gd name="connsiteX111" fmla="*/ 109110 w 476250"/>
                <a:gd name="connsiteY111" fmla="*/ 437607 h 476250"/>
                <a:gd name="connsiteX112" fmla="*/ 109110 w 476250"/>
                <a:gd name="connsiteY112" fmla="*/ 441298 h 476250"/>
                <a:gd name="connsiteX113" fmla="*/ 112796 w 476250"/>
                <a:gd name="connsiteY113" fmla="*/ 444988 h 476250"/>
                <a:gd name="connsiteX114" fmla="*/ 116482 w 476250"/>
                <a:gd name="connsiteY114" fmla="*/ 444988 h 476250"/>
                <a:gd name="connsiteX115" fmla="*/ 120169 w 476250"/>
                <a:gd name="connsiteY115" fmla="*/ 448679 h 476250"/>
                <a:gd name="connsiteX116" fmla="*/ 123864 w 476250"/>
                <a:gd name="connsiteY116" fmla="*/ 448679 h 476250"/>
                <a:gd name="connsiteX117" fmla="*/ 123864 w 476250"/>
                <a:gd name="connsiteY117" fmla="*/ 452370 h 476250"/>
                <a:gd name="connsiteX118" fmla="*/ 123864 w 476250"/>
                <a:gd name="connsiteY118" fmla="*/ 456060 h 476250"/>
                <a:gd name="connsiteX119" fmla="*/ 127550 w 476250"/>
                <a:gd name="connsiteY119" fmla="*/ 456060 h 476250"/>
                <a:gd name="connsiteX120" fmla="*/ 127550 w 476250"/>
                <a:gd name="connsiteY120" fmla="*/ 459751 h 476250"/>
                <a:gd name="connsiteX121" fmla="*/ 131237 w 476250"/>
                <a:gd name="connsiteY121" fmla="*/ 463441 h 476250"/>
                <a:gd name="connsiteX122" fmla="*/ 131237 w 476250"/>
                <a:gd name="connsiteY122" fmla="*/ 470823 h 476250"/>
                <a:gd name="connsiteX123" fmla="*/ 134932 w 476250"/>
                <a:gd name="connsiteY123" fmla="*/ 474513 h 476250"/>
                <a:gd name="connsiteX124" fmla="*/ 138619 w 476250"/>
                <a:gd name="connsiteY124" fmla="*/ 474513 h 476250"/>
                <a:gd name="connsiteX125" fmla="*/ 138619 w 476250"/>
                <a:gd name="connsiteY125" fmla="*/ 470823 h 476250"/>
                <a:gd name="connsiteX126" fmla="*/ 142305 w 476250"/>
                <a:gd name="connsiteY126" fmla="*/ 470823 h 476250"/>
                <a:gd name="connsiteX127" fmla="*/ 146000 w 476250"/>
                <a:gd name="connsiteY127" fmla="*/ 470823 h 476250"/>
                <a:gd name="connsiteX128" fmla="*/ 146000 w 476250"/>
                <a:gd name="connsiteY128" fmla="*/ 467132 h 476250"/>
                <a:gd name="connsiteX129" fmla="*/ 149687 w 476250"/>
                <a:gd name="connsiteY129" fmla="*/ 467132 h 476250"/>
                <a:gd name="connsiteX130" fmla="*/ 149687 w 476250"/>
                <a:gd name="connsiteY130" fmla="*/ 470823 h 476250"/>
                <a:gd name="connsiteX131" fmla="*/ 153373 w 476250"/>
                <a:gd name="connsiteY131" fmla="*/ 470823 h 476250"/>
                <a:gd name="connsiteX132" fmla="*/ 153373 w 476250"/>
                <a:gd name="connsiteY132" fmla="*/ 467132 h 476250"/>
                <a:gd name="connsiteX133" fmla="*/ 157068 w 476250"/>
                <a:gd name="connsiteY133" fmla="*/ 463441 h 476250"/>
                <a:gd name="connsiteX134" fmla="*/ 160755 w 476250"/>
                <a:gd name="connsiteY134" fmla="*/ 463441 h 476250"/>
                <a:gd name="connsiteX135" fmla="*/ 160755 w 476250"/>
                <a:gd name="connsiteY135" fmla="*/ 467132 h 476250"/>
                <a:gd name="connsiteX136" fmla="*/ 160755 w 476250"/>
                <a:gd name="connsiteY136" fmla="*/ 470823 h 476250"/>
                <a:gd name="connsiteX137" fmla="*/ 164441 w 476250"/>
                <a:gd name="connsiteY137" fmla="*/ 470823 h 476250"/>
                <a:gd name="connsiteX138" fmla="*/ 168137 w 476250"/>
                <a:gd name="connsiteY138" fmla="*/ 474513 h 476250"/>
                <a:gd name="connsiteX139" fmla="*/ 171823 w 476250"/>
                <a:gd name="connsiteY139" fmla="*/ 470823 h 476250"/>
                <a:gd name="connsiteX140" fmla="*/ 175509 w 476250"/>
                <a:gd name="connsiteY140" fmla="*/ 467132 h 476250"/>
                <a:gd name="connsiteX141" fmla="*/ 175509 w 476250"/>
                <a:gd name="connsiteY141" fmla="*/ 463441 h 476250"/>
                <a:gd name="connsiteX142" fmla="*/ 179205 w 476250"/>
                <a:gd name="connsiteY142" fmla="*/ 467132 h 476250"/>
                <a:gd name="connsiteX143" fmla="*/ 182891 w 476250"/>
                <a:gd name="connsiteY143" fmla="*/ 470823 h 476250"/>
                <a:gd name="connsiteX144" fmla="*/ 190263 w 476250"/>
                <a:gd name="connsiteY144" fmla="*/ 470823 h 476250"/>
                <a:gd name="connsiteX145" fmla="*/ 193959 w 476250"/>
                <a:gd name="connsiteY145" fmla="*/ 470823 h 476250"/>
                <a:gd name="connsiteX146" fmla="*/ 197645 w 476250"/>
                <a:gd name="connsiteY146" fmla="*/ 474513 h 476250"/>
                <a:gd name="connsiteX147" fmla="*/ 201331 w 476250"/>
                <a:gd name="connsiteY147" fmla="*/ 474513 h 476250"/>
                <a:gd name="connsiteX148" fmla="*/ 201331 w 476250"/>
                <a:gd name="connsiteY148" fmla="*/ 470823 h 476250"/>
                <a:gd name="connsiteX149" fmla="*/ 197645 w 476250"/>
                <a:gd name="connsiteY149" fmla="*/ 448679 h 476250"/>
                <a:gd name="connsiteX150" fmla="*/ 205027 w 476250"/>
                <a:gd name="connsiteY150" fmla="*/ 441298 h 476250"/>
                <a:gd name="connsiteX151" fmla="*/ 212399 w 476250"/>
                <a:gd name="connsiteY151" fmla="*/ 433917 h 476250"/>
                <a:gd name="connsiteX152" fmla="*/ 216095 w 476250"/>
                <a:gd name="connsiteY152" fmla="*/ 430227 h 476250"/>
                <a:gd name="connsiteX153" fmla="*/ 230849 w 476250"/>
                <a:gd name="connsiteY153" fmla="*/ 430227 h 476250"/>
                <a:gd name="connsiteX154" fmla="*/ 241917 w 476250"/>
                <a:gd name="connsiteY154" fmla="*/ 426536 h 476250"/>
                <a:gd name="connsiteX155" fmla="*/ 245603 w 476250"/>
                <a:gd name="connsiteY155" fmla="*/ 426536 h 476250"/>
                <a:gd name="connsiteX156" fmla="*/ 245603 w 476250"/>
                <a:gd name="connsiteY156" fmla="*/ 422846 h 476250"/>
                <a:gd name="connsiteX157" fmla="*/ 252985 w 476250"/>
                <a:gd name="connsiteY157" fmla="*/ 426536 h 476250"/>
                <a:gd name="connsiteX158" fmla="*/ 260358 w 476250"/>
                <a:gd name="connsiteY158" fmla="*/ 430227 h 476250"/>
                <a:gd name="connsiteX159" fmla="*/ 267739 w 476250"/>
                <a:gd name="connsiteY159" fmla="*/ 433917 h 476250"/>
                <a:gd name="connsiteX160" fmla="*/ 282494 w 476250"/>
                <a:gd name="connsiteY160" fmla="*/ 441298 h 476250"/>
                <a:gd name="connsiteX161" fmla="*/ 289876 w 476250"/>
                <a:gd name="connsiteY161" fmla="*/ 441298 h 476250"/>
                <a:gd name="connsiteX162" fmla="*/ 293562 w 476250"/>
                <a:gd name="connsiteY162" fmla="*/ 444988 h 476250"/>
                <a:gd name="connsiteX163" fmla="*/ 289876 w 476250"/>
                <a:gd name="connsiteY163" fmla="*/ 448679 h 476250"/>
                <a:gd name="connsiteX164" fmla="*/ 289876 w 476250"/>
                <a:gd name="connsiteY164" fmla="*/ 452370 h 476250"/>
                <a:gd name="connsiteX165" fmla="*/ 289876 w 476250"/>
                <a:gd name="connsiteY165" fmla="*/ 456060 h 476250"/>
                <a:gd name="connsiteX166" fmla="*/ 289876 w 476250"/>
                <a:gd name="connsiteY166" fmla="*/ 459751 h 476250"/>
                <a:gd name="connsiteX167" fmla="*/ 293562 w 476250"/>
                <a:gd name="connsiteY167" fmla="*/ 459751 h 476250"/>
                <a:gd name="connsiteX168" fmla="*/ 297257 w 476250"/>
                <a:gd name="connsiteY168" fmla="*/ 456060 h 476250"/>
                <a:gd name="connsiteX169" fmla="*/ 300944 w 476250"/>
                <a:gd name="connsiteY169" fmla="*/ 456060 h 476250"/>
                <a:gd name="connsiteX170" fmla="*/ 304630 w 476250"/>
                <a:gd name="connsiteY170" fmla="*/ 452370 h 476250"/>
                <a:gd name="connsiteX171" fmla="*/ 308326 w 476250"/>
                <a:gd name="connsiteY171" fmla="*/ 444988 h 476250"/>
                <a:gd name="connsiteX172" fmla="*/ 315698 w 476250"/>
                <a:gd name="connsiteY172" fmla="*/ 444988 h 476250"/>
                <a:gd name="connsiteX173" fmla="*/ 319394 w 476250"/>
                <a:gd name="connsiteY173" fmla="*/ 444988 h 476250"/>
                <a:gd name="connsiteX174" fmla="*/ 323080 w 476250"/>
                <a:gd name="connsiteY174" fmla="*/ 441298 h 476250"/>
                <a:gd name="connsiteX175" fmla="*/ 326766 w 476250"/>
                <a:gd name="connsiteY175" fmla="*/ 441298 h 476250"/>
                <a:gd name="connsiteX176" fmla="*/ 330452 w 476250"/>
                <a:gd name="connsiteY176" fmla="*/ 441298 h 476250"/>
                <a:gd name="connsiteX177" fmla="*/ 334148 w 476250"/>
                <a:gd name="connsiteY177" fmla="*/ 441298 h 476250"/>
                <a:gd name="connsiteX178" fmla="*/ 337834 w 476250"/>
                <a:gd name="connsiteY178" fmla="*/ 441298 h 476250"/>
                <a:gd name="connsiteX179" fmla="*/ 341520 w 476250"/>
                <a:gd name="connsiteY179" fmla="*/ 441298 h 476250"/>
                <a:gd name="connsiteX180" fmla="*/ 345216 w 476250"/>
                <a:gd name="connsiteY180" fmla="*/ 444988 h 476250"/>
                <a:gd name="connsiteX181" fmla="*/ 348902 w 476250"/>
                <a:gd name="connsiteY181" fmla="*/ 441298 h 476250"/>
                <a:gd name="connsiteX182" fmla="*/ 352588 w 476250"/>
                <a:gd name="connsiteY182" fmla="*/ 441298 h 476250"/>
                <a:gd name="connsiteX183" fmla="*/ 359970 w 476250"/>
                <a:gd name="connsiteY183" fmla="*/ 441298 h 476250"/>
                <a:gd name="connsiteX184" fmla="*/ 367352 w 476250"/>
                <a:gd name="connsiteY184" fmla="*/ 441298 h 476250"/>
                <a:gd name="connsiteX185" fmla="*/ 371038 w 476250"/>
                <a:gd name="connsiteY185" fmla="*/ 437607 h 476250"/>
                <a:gd name="connsiteX186" fmla="*/ 374724 w 476250"/>
                <a:gd name="connsiteY186" fmla="*/ 441298 h 476250"/>
                <a:gd name="connsiteX187" fmla="*/ 382106 w 476250"/>
                <a:gd name="connsiteY187" fmla="*/ 441298 h 476250"/>
                <a:gd name="connsiteX188" fmla="*/ 385792 w 476250"/>
                <a:gd name="connsiteY188" fmla="*/ 441298 h 476250"/>
                <a:gd name="connsiteX189" fmla="*/ 393174 w 476250"/>
                <a:gd name="connsiteY189" fmla="*/ 444988 h 476250"/>
                <a:gd name="connsiteX190" fmla="*/ 393174 w 476250"/>
                <a:gd name="connsiteY190" fmla="*/ 448679 h 476250"/>
                <a:gd name="connsiteX191" fmla="*/ 396860 w 476250"/>
                <a:gd name="connsiteY191" fmla="*/ 448679 h 476250"/>
                <a:gd name="connsiteX192" fmla="*/ 404242 w 476250"/>
                <a:gd name="connsiteY192" fmla="*/ 448679 h 476250"/>
                <a:gd name="connsiteX193" fmla="*/ 407928 w 476250"/>
                <a:gd name="connsiteY193" fmla="*/ 448679 h 476250"/>
                <a:gd name="connsiteX194" fmla="*/ 411615 w 476250"/>
                <a:gd name="connsiteY194" fmla="*/ 448679 h 476250"/>
                <a:gd name="connsiteX195" fmla="*/ 418997 w 476250"/>
                <a:gd name="connsiteY195" fmla="*/ 448679 h 476250"/>
                <a:gd name="connsiteX196" fmla="*/ 422683 w 476250"/>
                <a:gd name="connsiteY196" fmla="*/ 444988 h 476250"/>
                <a:gd name="connsiteX197" fmla="*/ 426378 w 476250"/>
                <a:gd name="connsiteY197" fmla="*/ 444988 h 476250"/>
                <a:gd name="connsiteX198" fmla="*/ 430064 w 476250"/>
                <a:gd name="connsiteY198" fmla="*/ 448679 h 476250"/>
                <a:gd name="connsiteX199" fmla="*/ 433751 w 476250"/>
                <a:gd name="connsiteY199" fmla="*/ 444988 h 476250"/>
                <a:gd name="connsiteX200" fmla="*/ 433751 w 476250"/>
                <a:gd name="connsiteY200" fmla="*/ 448679 h 476250"/>
                <a:gd name="connsiteX201" fmla="*/ 437446 w 476250"/>
                <a:gd name="connsiteY201" fmla="*/ 448679 h 476250"/>
                <a:gd name="connsiteX202" fmla="*/ 448514 w 476250"/>
                <a:gd name="connsiteY202" fmla="*/ 452370 h 476250"/>
                <a:gd name="connsiteX203" fmla="*/ 452201 w 476250"/>
                <a:gd name="connsiteY203" fmla="*/ 452370 h 476250"/>
                <a:gd name="connsiteX204" fmla="*/ 459583 w 476250"/>
                <a:gd name="connsiteY204" fmla="*/ 444988 h 476250"/>
                <a:gd name="connsiteX205" fmla="*/ 459583 w 476250"/>
                <a:gd name="connsiteY205" fmla="*/ 441298 h 476250"/>
                <a:gd name="connsiteX206" fmla="*/ 459583 w 476250"/>
                <a:gd name="connsiteY206" fmla="*/ 433917 h 476250"/>
                <a:gd name="connsiteX207" fmla="*/ 459583 w 476250"/>
                <a:gd name="connsiteY207" fmla="*/ 419155 h 476250"/>
                <a:gd name="connsiteX208" fmla="*/ 463269 w 476250"/>
                <a:gd name="connsiteY208" fmla="*/ 382249 h 476250"/>
                <a:gd name="connsiteX209" fmla="*/ 463269 w 476250"/>
                <a:gd name="connsiteY209" fmla="*/ 334272 h 476250"/>
                <a:gd name="connsiteX210" fmla="*/ 463269 w 476250"/>
                <a:gd name="connsiteY210" fmla="*/ 312128 h 476250"/>
                <a:gd name="connsiteX211" fmla="*/ 474337 w 476250"/>
                <a:gd name="connsiteY211" fmla="*/ 289985 h 476250"/>
                <a:gd name="connsiteX212" fmla="*/ 463269 w 476250"/>
                <a:gd name="connsiteY212" fmla="*/ 289985 h 476250"/>
                <a:gd name="connsiteX213" fmla="*/ 463269 w 476250"/>
                <a:gd name="connsiteY213" fmla="*/ 282603 h 476250"/>
                <a:gd name="connsiteX214" fmla="*/ 459583 w 476250"/>
                <a:gd name="connsiteY214" fmla="*/ 278913 h 476250"/>
                <a:gd name="connsiteX215" fmla="*/ 452201 w 476250"/>
                <a:gd name="connsiteY215" fmla="*/ 267841 h 476250"/>
                <a:gd name="connsiteX216" fmla="*/ 448514 w 476250"/>
                <a:gd name="connsiteY216" fmla="*/ 267841 h 476250"/>
                <a:gd name="connsiteX217" fmla="*/ 448514 w 476250"/>
                <a:gd name="connsiteY217" fmla="*/ 264151 h 476250"/>
                <a:gd name="connsiteX218" fmla="*/ 437446 w 476250"/>
                <a:gd name="connsiteY218" fmla="*/ 264151 h 476250"/>
                <a:gd name="connsiteX219" fmla="*/ 437446 w 476250"/>
                <a:gd name="connsiteY219" fmla="*/ 260461 h 476250"/>
                <a:gd name="connsiteX220" fmla="*/ 444819 w 476250"/>
                <a:gd name="connsiteY220" fmla="*/ 238317 h 476250"/>
                <a:gd name="connsiteX221" fmla="*/ 448514 w 476250"/>
                <a:gd name="connsiteY221" fmla="*/ 234627 h 476250"/>
                <a:gd name="connsiteX222" fmla="*/ 448514 w 476250"/>
                <a:gd name="connsiteY222" fmla="*/ 227245 h 476250"/>
                <a:gd name="connsiteX223" fmla="*/ 441133 w 476250"/>
                <a:gd name="connsiteY223" fmla="*/ 227245 h 476250"/>
                <a:gd name="connsiteX224" fmla="*/ 437446 w 476250"/>
                <a:gd name="connsiteY224" fmla="*/ 223555 h 476250"/>
                <a:gd name="connsiteX225" fmla="*/ 433751 w 476250"/>
                <a:gd name="connsiteY225" fmla="*/ 219864 h 476250"/>
                <a:gd name="connsiteX226" fmla="*/ 430064 w 476250"/>
                <a:gd name="connsiteY226" fmla="*/ 212483 h 476250"/>
                <a:gd name="connsiteX227" fmla="*/ 422683 w 476250"/>
                <a:gd name="connsiteY227" fmla="*/ 201411 h 476250"/>
                <a:gd name="connsiteX228" fmla="*/ 418997 w 476250"/>
                <a:gd name="connsiteY228" fmla="*/ 201411 h 476250"/>
                <a:gd name="connsiteX229" fmla="*/ 418997 w 476250"/>
                <a:gd name="connsiteY229" fmla="*/ 197720 h 476250"/>
                <a:gd name="connsiteX230" fmla="*/ 415310 w 476250"/>
                <a:gd name="connsiteY230" fmla="*/ 197720 h 476250"/>
                <a:gd name="connsiteX231" fmla="*/ 411615 w 476250"/>
                <a:gd name="connsiteY231" fmla="*/ 190339 h 476250"/>
                <a:gd name="connsiteX232" fmla="*/ 407928 w 476250"/>
                <a:gd name="connsiteY232" fmla="*/ 182958 h 476250"/>
                <a:gd name="connsiteX233" fmla="*/ 404242 w 476250"/>
                <a:gd name="connsiteY233" fmla="*/ 179268 h 476250"/>
                <a:gd name="connsiteX234" fmla="*/ 400546 w 476250"/>
                <a:gd name="connsiteY234" fmla="*/ 175578 h 476250"/>
                <a:gd name="connsiteX235" fmla="*/ 400546 w 476250"/>
                <a:gd name="connsiteY235" fmla="*/ 171887 h 476250"/>
                <a:gd name="connsiteX236" fmla="*/ 396860 w 476250"/>
                <a:gd name="connsiteY236" fmla="*/ 168196 h 476250"/>
                <a:gd name="connsiteX237" fmla="*/ 389488 w 476250"/>
                <a:gd name="connsiteY237" fmla="*/ 160815 h 476250"/>
                <a:gd name="connsiteX238" fmla="*/ 382106 w 476250"/>
                <a:gd name="connsiteY238" fmla="*/ 153434 h 476250"/>
                <a:gd name="connsiteX239" fmla="*/ 378420 w 476250"/>
                <a:gd name="connsiteY239" fmla="*/ 149743 h 476250"/>
                <a:gd name="connsiteX240" fmla="*/ 359970 w 476250"/>
                <a:gd name="connsiteY240" fmla="*/ 131290 h 476250"/>
                <a:gd name="connsiteX241" fmla="*/ 348902 w 476250"/>
                <a:gd name="connsiteY241" fmla="*/ 120219 h 476250"/>
                <a:gd name="connsiteX242" fmla="*/ 337834 w 476250"/>
                <a:gd name="connsiteY242" fmla="*/ 109147 h 476250"/>
                <a:gd name="connsiteX243" fmla="*/ 337834 w 476250"/>
                <a:gd name="connsiteY243" fmla="*/ 105456 h 476250"/>
                <a:gd name="connsiteX244" fmla="*/ 323080 w 476250"/>
                <a:gd name="connsiteY244" fmla="*/ 94385 h 476250"/>
                <a:gd name="connsiteX245" fmla="*/ 319394 w 476250"/>
                <a:gd name="connsiteY245" fmla="*/ 87004 h 476250"/>
                <a:gd name="connsiteX246" fmla="*/ 304630 w 476250"/>
                <a:gd name="connsiteY246" fmla="*/ 75932 h 476250"/>
                <a:gd name="connsiteX247" fmla="*/ 304630 w 476250"/>
                <a:gd name="connsiteY247" fmla="*/ 72242 h 476250"/>
                <a:gd name="connsiteX248" fmla="*/ 300944 w 476250"/>
                <a:gd name="connsiteY248" fmla="*/ 72242 h 476250"/>
                <a:gd name="connsiteX249" fmla="*/ 297257 w 476250"/>
                <a:gd name="connsiteY249" fmla="*/ 68551 h 476250"/>
                <a:gd name="connsiteX250" fmla="*/ 293562 w 476250"/>
                <a:gd name="connsiteY250" fmla="*/ 68551 h 476250"/>
                <a:gd name="connsiteX251" fmla="*/ 289876 w 476250"/>
                <a:gd name="connsiteY251" fmla="*/ 68551 h 476250"/>
                <a:gd name="connsiteX252" fmla="*/ 278808 w 476250"/>
                <a:gd name="connsiteY252" fmla="*/ 68551 h 476250"/>
                <a:gd name="connsiteX253" fmla="*/ 271426 w 476250"/>
                <a:gd name="connsiteY253" fmla="*/ 72242 h 476250"/>
                <a:gd name="connsiteX254" fmla="*/ 267739 w 476250"/>
                <a:gd name="connsiteY254" fmla="*/ 72242 h 476250"/>
                <a:gd name="connsiteX255" fmla="*/ 249299 w 476250"/>
                <a:gd name="connsiteY255" fmla="*/ 79623 h 476250"/>
                <a:gd name="connsiteX256" fmla="*/ 249299 w 476250"/>
                <a:gd name="connsiteY256" fmla="*/ 75932 h 476250"/>
                <a:gd name="connsiteX257" fmla="*/ 245603 w 476250"/>
                <a:gd name="connsiteY257" fmla="*/ 72242 h 476250"/>
                <a:gd name="connsiteX258" fmla="*/ 249299 w 476250"/>
                <a:gd name="connsiteY258" fmla="*/ 68551 h 476250"/>
                <a:gd name="connsiteX259" fmla="*/ 245603 w 476250"/>
                <a:gd name="connsiteY259" fmla="*/ 68551 h 476250"/>
                <a:gd name="connsiteX260" fmla="*/ 245603 w 476250"/>
                <a:gd name="connsiteY260" fmla="*/ 64860 h 476250"/>
                <a:gd name="connsiteX261" fmla="*/ 241917 w 476250"/>
                <a:gd name="connsiteY261" fmla="*/ 61170 h 476250"/>
                <a:gd name="connsiteX262" fmla="*/ 238231 w 476250"/>
                <a:gd name="connsiteY262" fmla="*/ 57479 h 476250"/>
                <a:gd name="connsiteX263" fmla="*/ 234535 w 476250"/>
                <a:gd name="connsiteY263" fmla="*/ 53789 h 476250"/>
                <a:gd name="connsiteX264" fmla="*/ 234535 w 476250"/>
                <a:gd name="connsiteY264" fmla="*/ 50098 h 476250"/>
                <a:gd name="connsiteX265" fmla="*/ 227163 w 476250"/>
                <a:gd name="connsiteY265" fmla="*/ 50098 h 476250"/>
                <a:gd name="connsiteX266" fmla="*/ 227163 w 476250"/>
                <a:gd name="connsiteY266" fmla="*/ 46407 h 476250"/>
                <a:gd name="connsiteX267" fmla="*/ 223467 w 476250"/>
                <a:gd name="connsiteY267" fmla="*/ 42717 h 476250"/>
                <a:gd name="connsiteX268" fmla="*/ 223467 w 476250"/>
                <a:gd name="connsiteY268" fmla="*/ 39026 h 476250"/>
                <a:gd name="connsiteX269" fmla="*/ 223467 w 476250"/>
                <a:gd name="connsiteY269" fmla="*/ 35335 h 476250"/>
                <a:gd name="connsiteX270" fmla="*/ 216095 w 476250"/>
                <a:gd name="connsiteY270" fmla="*/ 39026 h 476250"/>
                <a:gd name="connsiteX271" fmla="*/ 212399 w 476250"/>
                <a:gd name="connsiteY271" fmla="*/ 35335 h 476250"/>
                <a:gd name="connsiteX272" fmla="*/ 212399 w 476250"/>
                <a:gd name="connsiteY272" fmla="*/ 31645 h 476250"/>
                <a:gd name="connsiteX273" fmla="*/ 208713 w 476250"/>
                <a:gd name="connsiteY273" fmla="*/ 20573 h 476250"/>
                <a:gd name="connsiteX274" fmla="*/ 205027 w 476250"/>
                <a:gd name="connsiteY274" fmla="*/ 24264 h 476250"/>
                <a:gd name="connsiteX275" fmla="*/ 201331 w 476250"/>
                <a:gd name="connsiteY275" fmla="*/ 20573 h 476250"/>
                <a:gd name="connsiteX276" fmla="*/ 197645 w 476250"/>
                <a:gd name="connsiteY276" fmla="*/ 9502 h 476250"/>
                <a:gd name="connsiteX277" fmla="*/ 190263 w 476250"/>
                <a:gd name="connsiteY277" fmla="*/ 9502 h 476250"/>
                <a:gd name="connsiteX278" fmla="*/ 186577 w 476250"/>
                <a:gd name="connsiteY278" fmla="*/ 5812 h 476250"/>
                <a:gd name="connsiteX279" fmla="*/ 182891 w 476250"/>
                <a:gd name="connsiteY279" fmla="*/ 9502 h 476250"/>
                <a:gd name="connsiteX280" fmla="*/ 179205 w 476250"/>
                <a:gd name="connsiteY280" fmla="*/ 5812 h 476250"/>
                <a:gd name="connsiteX281" fmla="*/ 175509 w 476250"/>
                <a:gd name="connsiteY281" fmla="*/ 5812 h 476250"/>
                <a:gd name="connsiteX282" fmla="*/ 168137 w 476250"/>
                <a:gd name="connsiteY282" fmla="*/ 5812 h 476250"/>
                <a:gd name="connsiteX283" fmla="*/ 463269 w 476250"/>
                <a:gd name="connsiteY283" fmla="*/ 282603 h 476250"/>
                <a:gd name="connsiteX284" fmla="*/ 466955 w 476250"/>
                <a:gd name="connsiteY284" fmla="*/ 282603 h 476250"/>
                <a:gd name="connsiteX285" fmla="*/ 466955 w 476250"/>
                <a:gd name="connsiteY285" fmla="*/ 278913 h 476250"/>
                <a:gd name="connsiteX286" fmla="*/ 463269 w 476250"/>
                <a:gd name="connsiteY286" fmla="*/ 282603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Lst>
              <a:rect l="l" t="t" r="r" b="b"/>
              <a:pathLst>
                <a:path w="476250" h="476250">
                  <a:moveTo>
                    <a:pt x="168137" y="5812"/>
                  </a:moveTo>
                  <a:lnTo>
                    <a:pt x="160755" y="9502"/>
                  </a:lnTo>
                  <a:lnTo>
                    <a:pt x="157068" y="13192"/>
                  </a:lnTo>
                  <a:lnTo>
                    <a:pt x="157068" y="16882"/>
                  </a:lnTo>
                  <a:lnTo>
                    <a:pt x="149687" y="20573"/>
                  </a:lnTo>
                  <a:lnTo>
                    <a:pt x="142305" y="24264"/>
                  </a:lnTo>
                  <a:lnTo>
                    <a:pt x="138619" y="27954"/>
                  </a:lnTo>
                  <a:lnTo>
                    <a:pt x="138619" y="31645"/>
                  </a:lnTo>
                  <a:lnTo>
                    <a:pt x="134932" y="35335"/>
                  </a:lnTo>
                  <a:lnTo>
                    <a:pt x="131237" y="42717"/>
                  </a:lnTo>
                  <a:lnTo>
                    <a:pt x="127550" y="46407"/>
                  </a:lnTo>
                  <a:lnTo>
                    <a:pt x="127550" y="50098"/>
                  </a:lnTo>
                  <a:lnTo>
                    <a:pt x="120169" y="68551"/>
                  </a:lnTo>
                  <a:lnTo>
                    <a:pt x="120169" y="72242"/>
                  </a:lnTo>
                  <a:lnTo>
                    <a:pt x="120169" y="83313"/>
                  </a:lnTo>
                  <a:lnTo>
                    <a:pt x="116482" y="83313"/>
                  </a:lnTo>
                  <a:lnTo>
                    <a:pt x="112796" y="98075"/>
                  </a:lnTo>
                  <a:lnTo>
                    <a:pt x="109110" y="98075"/>
                  </a:lnTo>
                  <a:lnTo>
                    <a:pt x="98042" y="94385"/>
                  </a:lnTo>
                  <a:lnTo>
                    <a:pt x="94346" y="101765"/>
                  </a:lnTo>
                  <a:lnTo>
                    <a:pt x="105414" y="109147"/>
                  </a:lnTo>
                  <a:lnTo>
                    <a:pt x="116482" y="109147"/>
                  </a:lnTo>
                  <a:lnTo>
                    <a:pt x="123864" y="112837"/>
                  </a:lnTo>
                  <a:lnTo>
                    <a:pt x="120169" y="123909"/>
                  </a:lnTo>
                  <a:lnTo>
                    <a:pt x="120169" y="134981"/>
                  </a:lnTo>
                  <a:lnTo>
                    <a:pt x="120169" y="138672"/>
                  </a:lnTo>
                  <a:lnTo>
                    <a:pt x="127550" y="149743"/>
                  </a:lnTo>
                  <a:lnTo>
                    <a:pt x="142305" y="171887"/>
                  </a:lnTo>
                  <a:lnTo>
                    <a:pt x="146000" y="179268"/>
                  </a:lnTo>
                  <a:lnTo>
                    <a:pt x="149687" y="186649"/>
                  </a:lnTo>
                  <a:lnTo>
                    <a:pt x="153373" y="190339"/>
                  </a:lnTo>
                  <a:lnTo>
                    <a:pt x="142305" y="208792"/>
                  </a:lnTo>
                  <a:lnTo>
                    <a:pt x="142305" y="212483"/>
                  </a:lnTo>
                  <a:lnTo>
                    <a:pt x="138619" y="216173"/>
                  </a:lnTo>
                  <a:lnTo>
                    <a:pt x="134932" y="219864"/>
                  </a:lnTo>
                  <a:lnTo>
                    <a:pt x="123864" y="230936"/>
                  </a:lnTo>
                  <a:lnTo>
                    <a:pt x="109110" y="242008"/>
                  </a:lnTo>
                  <a:lnTo>
                    <a:pt x="94346" y="227245"/>
                  </a:lnTo>
                  <a:lnTo>
                    <a:pt x="83278" y="227245"/>
                  </a:lnTo>
                  <a:lnTo>
                    <a:pt x="72210" y="223555"/>
                  </a:lnTo>
                  <a:lnTo>
                    <a:pt x="64838" y="227245"/>
                  </a:lnTo>
                  <a:lnTo>
                    <a:pt x="64838" y="230936"/>
                  </a:lnTo>
                  <a:lnTo>
                    <a:pt x="64838" y="234627"/>
                  </a:lnTo>
                  <a:lnTo>
                    <a:pt x="57456" y="238317"/>
                  </a:lnTo>
                  <a:lnTo>
                    <a:pt x="46388" y="253080"/>
                  </a:lnTo>
                  <a:lnTo>
                    <a:pt x="42702" y="256770"/>
                  </a:lnTo>
                  <a:lnTo>
                    <a:pt x="39006" y="260461"/>
                  </a:lnTo>
                  <a:lnTo>
                    <a:pt x="24252" y="267841"/>
                  </a:lnTo>
                  <a:lnTo>
                    <a:pt x="16879" y="275222"/>
                  </a:lnTo>
                  <a:lnTo>
                    <a:pt x="5812" y="282603"/>
                  </a:lnTo>
                  <a:lnTo>
                    <a:pt x="9498" y="289985"/>
                  </a:lnTo>
                  <a:lnTo>
                    <a:pt x="9498" y="293675"/>
                  </a:lnTo>
                  <a:lnTo>
                    <a:pt x="20566" y="304747"/>
                  </a:lnTo>
                  <a:lnTo>
                    <a:pt x="24252" y="308438"/>
                  </a:lnTo>
                  <a:lnTo>
                    <a:pt x="31634" y="315819"/>
                  </a:lnTo>
                  <a:lnTo>
                    <a:pt x="35320" y="319510"/>
                  </a:lnTo>
                  <a:lnTo>
                    <a:pt x="39006" y="323200"/>
                  </a:lnTo>
                  <a:lnTo>
                    <a:pt x="42702" y="330581"/>
                  </a:lnTo>
                  <a:lnTo>
                    <a:pt x="46388" y="330581"/>
                  </a:lnTo>
                  <a:lnTo>
                    <a:pt x="42702" y="337963"/>
                  </a:lnTo>
                  <a:lnTo>
                    <a:pt x="39006" y="341653"/>
                  </a:lnTo>
                  <a:lnTo>
                    <a:pt x="31634" y="349034"/>
                  </a:lnTo>
                  <a:lnTo>
                    <a:pt x="31634" y="352724"/>
                  </a:lnTo>
                  <a:lnTo>
                    <a:pt x="27948" y="352724"/>
                  </a:lnTo>
                  <a:lnTo>
                    <a:pt x="24252" y="356415"/>
                  </a:lnTo>
                  <a:lnTo>
                    <a:pt x="13184" y="360105"/>
                  </a:lnTo>
                  <a:lnTo>
                    <a:pt x="9498" y="363796"/>
                  </a:lnTo>
                  <a:lnTo>
                    <a:pt x="5812" y="363796"/>
                  </a:lnTo>
                  <a:lnTo>
                    <a:pt x="5812" y="367486"/>
                  </a:lnTo>
                  <a:lnTo>
                    <a:pt x="9498" y="374868"/>
                  </a:lnTo>
                  <a:lnTo>
                    <a:pt x="13184" y="382249"/>
                  </a:lnTo>
                  <a:lnTo>
                    <a:pt x="16879" y="389630"/>
                  </a:lnTo>
                  <a:lnTo>
                    <a:pt x="16879" y="393321"/>
                  </a:lnTo>
                  <a:lnTo>
                    <a:pt x="16879" y="397011"/>
                  </a:lnTo>
                  <a:lnTo>
                    <a:pt x="24252" y="408083"/>
                  </a:lnTo>
                  <a:lnTo>
                    <a:pt x="24252" y="411774"/>
                  </a:lnTo>
                  <a:lnTo>
                    <a:pt x="31634" y="415464"/>
                  </a:lnTo>
                  <a:lnTo>
                    <a:pt x="31634" y="419155"/>
                  </a:lnTo>
                  <a:lnTo>
                    <a:pt x="27948" y="422846"/>
                  </a:lnTo>
                  <a:lnTo>
                    <a:pt x="39006" y="426536"/>
                  </a:lnTo>
                  <a:lnTo>
                    <a:pt x="35320" y="422846"/>
                  </a:lnTo>
                  <a:lnTo>
                    <a:pt x="39006" y="419155"/>
                  </a:lnTo>
                  <a:lnTo>
                    <a:pt x="39006" y="422846"/>
                  </a:lnTo>
                  <a:lnTo>
                    <a:pt x="42702" y="426536"/>
                  </a:lnTo>
                  <a:lnTo>
                    <a:pt x="42702" y="422846"/>
                  </a:lnTo>
                  <a:lnTo>
                    <a:pt x="46388" y="419155"/>
                  </a:lnTo>
                  <a:lnTo>
                    <a:pt x="50074" y="419155"/>
                  </a:lnTo>
                  <a:lnTo>
                    <a:pt x="53770" y="419155"/>
                  </a:lnTo>
                  <a:lnTo>
                    <a:pt x="57456" y="419155"/>
                  </a:lnTo>
                  <a:lnTo>
                    <a:pt x="57456" y="422846"/>
                  </a:lnTo>
                  <a:lnTo>
                    <a:pt x="61142" y="422846"/>
                  </a:lnTo>
                  <a:lnTo>
                    <a:pt x="64838" y="422846"/>
                  </a:lnTo>
                  <a:lnTo>
                    <a:pt x="68524" y="422846"/>
                  </a:lnTo>
                  <a:lnTo>
                    <a:pt x="68524" y="426536"/>
                  </a:lnTo>
                  <a:lnTo>
                    <a:pt x="72210" y="430227"/>
                  </a:lnTo>
                  <a:lnTo>
                    <a:pt x="75906" y="430227"/>
                  </a:lnTo>
                  <a:lnTo>
                    <a:pt x="75906" y="433917"/>
                  </a:lnTo>
                  <a:lnTo>
                    <a:pt x="79592" y="433917"/>
                  </a:lnTo>
                  <a:lnTo>
                    <a:pt x="83278" y="433917"/>
                  </a:lnTo>
                  <a:lnTo>
                    <a:pt x="83278" y="430227"/>
                  </a:lnTo>
                  <a:lnTo>
                    <a:pt x="86974" y="430227"/>
                  </a:lnTo>
                  <a:lnTo>
                    <a:pt x="86974" y="433917"/>
                  </a:lnTo>
                  <a:lnTo>
                    <a:pt x="90660" y="433917"/>
                  </a:lnTo>
                  <a:lnTo>
                    <a:pt x="94346" y="433917"/>
                  </a:lnTo>
                  <a:lnTo>
                    <a:pt x="98042" y="433917"/>
                  </a:lnTo>
                  <a:lnTo>
                    <a:pt x="101728" y="430227"/>
                  </a:lnTo>
                  <a:lnTo>
                    <a:pt x="105414" y="430227"/>
                  </a:lnTo>
                  <a:lnTo>
                    <a:pt x="109110" y="430227"/>
                  </a:lnTo>
                  <a:lnTo>
                    <a:pt x="109110" y="433917"/>
                  </a:lnTo>
                  <a:lnTo>
                    <a:pt x="105414" y="433917"/>
                  </a:lnTo>
                  <a:lnTo>
                    <a:pt x="105414" y="437607"/>
                  </a:lnTo>
                  <a:lnTo>
                    <a:pt x="109110" y="437607"/>
                  </a:lnTo>
                  <a:lnTo>
                    <a:pt x="109110" y="441298"/>
                  </a:lnTo>
                  <a:lnTo>
                    <a:pt x="112796" y="444988"/>
                  </a:lnTo>
                  <a:lnTo>
                    <a:pt x="116482" y="444988"/>
                  </a:lnTo>
                  <a:lnTo>
                    <a:pt x="120169" y="448679"/>
                  </a:lnTo>
                  <a:lnTo>
                    <a:pt x="123864" y="448679"/>
                  </a:lnTo>
                  <a:lnTo>
                    <a:pt x="123864" y="452370"/>
                  </a:lnTo>
                  <a:lnTo>
                    <a:pt x="123864" y="456060"/>
                  </a:lnTo>
                  <a:lnTo>
                    <a:pt x="127550" y="456060"/>
                  </a:lnTo>
                  <a:lnTo>
                    <a:pt x="127550" y="459751"/>
                  </a:lnTo>
                  <a:lnTo>
                    <a:pt x="131237" y="463441"/>
                  </a:lnTo>
                  <a:lnTo>
                    <a:pt x="131237" y="470823"/>
                  </a:lnTo>
                  <a:lnTo>
                    <a:pt x="134932" y="474513"/>
                  </a:lnTo>
                  <a:lnTo>
                    <a:pt x="138619" y="474513"/>
                  </a:lnTo>
                  <a:lnTo>
                    <a:pt x="138619" y="470823"/>
                  </a:lnTo>
                  <a:lnTo>
                    <a:pt x="142305" y="470823"/>
                  </a:lnTo>
                  <a:lnTo>
                    <a:pt x="146000" y="470823"/>
                  </a:lnTo>
                  <a:lnTo>
                    <a:pt x="146000" y="467132"/>
                  </a:lnTo>
                  <a:lnTo>
                    <a:pt x="149687" y="467132"/>
                  </a:lnTo>
                  <a:lnTo>
                    <a:pt x="149687" y="470823"/>
                  </a:lnTo>
                  <a:lnTo>
                    <a:pt x="153373" y="470823"/>
                  </a:lnTo>
                  <a:lnTo>
                    <a:pt x="153373" y="467132"/>
                  </a:lnTo>
                  <a:lnTo>
                    <a:pt x="157068" y="463441"/>
                  </a:lnTo>
                  <a:lnTo>
                    <a:pt x="160755" y="463441"/>
                  </a:lnTo>
                  <a:lnTo>
                    <a:pt x="160755" y="467132"/>
                  </a:lnTo>
                  <a:lnTo>
                    <a:pt x="160755" y="470823"/>
                  </a:lnTo>
                  <a:lnTo>
                    <a:pt x="164441" y="470823"/>
                  </a:lnTo>
                  <a:lnTo>
                    <a:pt x="168137" y="474513"/>
                  </a:lnTo>
                  <a:lnTo>
                    <a:pt x="171823" y="470823"/>
                  </a:lnTo>
                  <a:lnTo>
                    <a:pt x="175509" y="467132"/>
                  </a:lnTo>
                  <a:lnTo>
                    <a:pt x="175509" y="463441"/>
                  </a:lnTo>
                  <a:lnTo>
                    <a:pt x="179205" y="467132"/>
                  </a:lnTo>
                  <a:lnTo>
                    <a:pt x="182891" y="470823"/>
                  </a:lnTo>
                  <a:lnTo>
                    <a:pt x="190263" y="470823"/>
                  </a:lnTo>
                  <a:lnTo>
                    <a:pt x="193959" y="470823"/>
                  </a:lnTo>
                  <a:lnTo>
                    <a:pt x="197645" y="474513"/>
                  </a:lnTo>
                  <a:lnTo>
                    <a:pt x="201331" y="474513"/>
                  </a:lnTo>
                  <a:lnTo>
                    <a:pt x="201331" y="470823"/>
                  </a:lnTo>
                  <a:lnTo>
                    <a:pt x="197645" y="448679"/>
                  </a:lnTo>
                  <a:lnTo>
                    <a:pt x="205027" y="441298"/>
                  </a:lnTo>
                  <a:lnTo>
                    <a:pt x="212399" y="433917"/>
                  </a:lnTo>
                  <a:lnTo>
                    <a:pt x="216095" y="430227"/>
                  </a:lnTo>
                  <a:lnTo>
                    <a:pt x="230849" y="430227"/>
                  </a:lnTo>
                  <a:lnTo>
                    <a:pt x="241917" y="426536"/>
                  </a:lnTo>
                  <a:lnTo>
                    <a:pt x="245603" y="426536"/>
                  </a:lnTo>
                  <a:lnTo>
                    <a:pt x="245603" y="422846"/>
                  </a:lnTo>
                  <a:lnTo>
                    <a:pt x="252985" y="426536"/>
                  </a:lnTo>
                  <a:lnTo>
                    <a:pt x="260358" y="430227"/>
                  </a:lnTo>
                  <a:lnTo>
                    <a:pt x="267739" y="433917"/>
                  </a:lnTo>
                  <a:lnTo>
                    <a:pt x="282494" y="441298"/>
                  </a:lnTo>
                  <a:lnTo>
                    <a:pt x="289876" y="441298"/>
                  </a:lnTo>
                  <a:lnTo>
                    <a:pt x="293562" y="444988"/>
                  </a:lnTo>
                  <a:lnTo>
                    <a:pt x="289876" y="448679"/>
                  </a:lnTo>
                  <a:lnTo>
                    <a:pt x="289876" y="452370"/>
                  </a:lnTo>
                  <a:lnTo>
                    <a:pt x="289876" y="456060"/>
                  </a:lnTo>
                  <a:lnTo>
                    <a:pt x="289876" y="459751"/>
                  </a:lnTo>
                  <a:lnTo>
                    <a:pt x="293562" y="459751"/>
                  </a:lnTo>
                  <a:lnTo>
                    <a:pt x="297257" y="456060"/>
                  </a:lnTo>
                  <a:lnTo>
                    <a:pt x="300944" y="456060"/>
                  </a:lnTo>
                  <a:lnTo>
                    <a:pt x="304630" y="452370"/>
                  </a:lnTo>
                  <a:lnTo>
                    <a:pt x="308326" y="444988"/>
                  </a:lnTo>
                  <a:lnTo>
                    <a:pt x="315698" y="444988"/>
                  </a:lnTo>
                  <a:lnTo>
                    <a:pt x="319394" y="444988"/>
                  </a:lnTo>
                  <a:lnTo>
                    <a:pt x="323080" y="441298"/>
                  </a:lnTo>
                  <a:lnTo>
                    <a:pt x="326766" y="441298"/>
                  </a:lnTo>
                  <a:lnTo>
                    <a:pt x="330452" y="441298"/>
                  </a:lnTo>
                  <a:lnTo>
                    <a:pt x="334148" y="441298"/>
                  </a:lnTo>
                  <a:lnTo>
                    <a:pt x="337834" y="441298"/>
                  </a:lnTo>
                  <a:lnTo>
                    <a:pt x="341520" y="441298"/>
                  </a:lnTo>
                  <a:lnTo>
                    <a:pt x="345216" y="444988"/>
                  </a:lnTo>
                  <a:lnTo>
                    <a:pt x="348902" y="441298"/>
                  </a:lnTo>
                  <a:lnTo>
                    <a:pt x="352588" y="441298"/>
                  </a:lnTo>
                  <a:lnTo>
                    <a:pt x="359970" y="441298"/>
                  </a:lnTo>
                  <a:lnTo>
                    <a:pt x="367352" y="441298"/>
                  </a:lnTo>
                  <a:lnTo>
                    <a:pt x="371038" y="437607"/>
                  </a:lnTo>
                  <a:lnTo>
                    <a:pt x="374724" y="441298"/>
                  </a:lnTo>
                  <a:lnTo>
                    <a:pt x="382106" y="441298"/>
                  </a:lnTo>
                  <a:lnTo>
                    <a:pt x="385792" y="441298"/>
                  </a:lnTo>
                  <a:lnTo>
                    <a:pt x="393174" y="444988"/>
                  </a:lnTo>
                  <a:lnTo>
                    <a:pt x="393174" y="448679"/>
                  </a:lnTo>
                  <a:lnTo>
                    <a:pt x="396860" y="448679"/>
                  </a:lnTo>
                  <a:lnTo>
                    <a:pt x="404242" y="448679"/>
                  </a:lnTo>
                  <a:lnTo>
                    <a:pt x="407928" y="448679"/>
                  </a:lnTo>
                  <a:lnTo>
                    <a:pt x="411615" y="448679"/>
                  </a:lnTo>
                  <a:lnTo>
                    <a:pt x="418997" y="448679"/>
                  </a:lnTo>
                  <a:lnTo>
                    <a:pt x="422683" y="444988"/>
                  </a:lnTo>
                  <a:lnTo>
                    <a:pt x="426378" y="444988"/>
                  </a:lnTo>
                  <a:lnTo>
                    <a:pt x="430064" y="448679"/>
                  </a:lnTo>
                  <a:lnTo>
                    <a:pt x="433751" y="444988"/>
                  </a:lnTo>
                  <a:lnTo>
                    <a:pt x="433751" y="448679"/>
                  </a:lnTo>
                  <a:lnTo>
                    <a:pt x="437446" y="448679"/>
                  </a:lnTo>
                  <a:lnTo>
                    <a:pt x="448514" y="452370"/>
                  </a:lnTo>
                  <a:lnTo>
                    <a:pt x="452201" y="452370"/>
                  </a:lnTo>
                  <a:lnTo>
                    <a:pt x="459583" y="444988"/>
                  </a:lnTo>
                  <a:lnTo>
                    <a:pt x="459583" y="441298"/>
                  </a:lnTo>
                  <a:lnTo>
                    <a:pt x="459583" y="433917"/>
                  </a:lnTo>
                  <a:lnTo>
                    <a:pt x="459583" y="419155"/>
                  </a:lnTo>
                  <a:lnTo>
                    <a:pt x="463269" y="382249"/>
                  </a:lnTo>
                  <a:lnTo>
                    <a:pt x="463269" y="334272"/>
                  </a:lnTo>
                  <a:lnTo>
                    <a:pt x="463269" y="312128"/>
                  </a:lnTo>
                  <a:lnTo>
                    <a:pt x="474337" y="289985"/>
                  </a:lnTo>
                  <a:lnTo>
                    <a:pt x="463269" y="289985"/>
                  </a:lnTo>
                  <a:lnTo>
                    <a:pt x="463269" y="282603"/>
                  </a:lnTo>
                  <a:lnTo>
                    <a:pt x="459583" y="278913"/>
                  </a:lnTo>
                  <a:lnTo>
                    <a:pt x="452201" y="267841"/>
                  </a:lnTo>
                  <a:lnTo>
                    <a:pt x="448514" y="267841"/>
                  </a:lnTo>
                  <a:lnTo>
                    <a:pt x="448514" y="264151"/>
                  </a:lnTo>
                  <a:lnTo>
                    <a:pt x="437446" y="264151"/>
                  </a:lnTo>
                  <a:lnTo>
                    <a:pt x="437446" y="260461"/>
                  </a:lnTo>
                  <a:lnTo>
                    <a:pt x="444819" y="238317"/>
                  </a:lnTo>
                  <a:lnTo>
                    <a:pt x="448514" y="234627"/>
                  </a:lnTo>
                  <a:lnTo>
                    <a:pt x="448514" y="227245"/>
                  </a:lnTo>
                  <a:lnTo>
                    <a:pt x="441133" y="227245"/>
                  </a:lnTo>
                  <a:lnTo>
                    <a:pt x="437446" y="223555"/>
                  </a:lnTo>
                  <a:lnTo>
                    <a:pt x="433751" y="219864"/>
                  </a:lnTo>
                  <a:lnTo>
                    <a:pt x="430064" y="212483"/>
                  </a:lnTo>
                  <a:lnTo>
                    <a:pt x="422683" y="201411"/>
                  </a:lnTo>
                  <a:lnTo>
                    <a:pt x="418997" y="201411"/>
                  </a:lnTo>
                  <a:lnTo>
                    <a:pt x="418997" y="197720"/>
                  </a:lnTo>
                  <a:lnTo>
                    <a:pt x="415310" y="197720"/>
                  </a:lnTo>
                  <a:lnTo>
                    <a:pt x="411615" y="190339"/>
                  </a:lnTo>
                  <a:lnTo>
                    <a:pt x="407928" y="182958"/>
                  </a:lnTo>
                  <a:lnTo>
                    <a:pt x="404242" y="179268"/>
                  </a:lnTo>
                  <a:lnTo>
                    <a:pt x="400546" y="175578"/>
                  </a:lnTo>
                  <a:lnTo>
                    <a:pt x="400546" y="171887"/>
                  </a:lnTo>
                  <a:lnTo>
                    <a:pt x="396860" y="168196"/>
                  </a:lnTo>
                  <a:lnTo>
                    <a:pt x="389488" y="160815"/>
                  </a:lnTo>
                  <a:lnTo>
                    <a:pt x="382106" y="153434"/>
                  </a:lnTo>
                  <a:lnTo>
                    <a:pt x="378420" y="149743"/>
                  </a:lnTo>
                  <a:lnTo>
                    <a:pt x="359970" y="131290"/>
                  </a:lnTo>
                  <a:lnTo>
                    <a:pt x="348902" y="120219"/>
                  </a:lnTo>
                  <a:lnTo>
                    <a:pt x="337834" y="109147"/>
                  </a:lnTo>
                  <a:lnTo>
                    <a:pt x="337834" y="105456"/>
                  </a:lnTo>
                  <a:lnTo>
                    <a:pt x="323080" y="94385"/>
                  </a:lnTo>
                  <a:lnTo>
                    <a:pt x="319394" y="87004"/>
                  </a:lnTo>
                  <a:lnTo>
                    <a:pt x="304630" y="75932"/>
                  </a:lnTo>
                  <a:lnTo>
                    <a:pt x="304630" y="72242"/>
                  </a:lnTo>
                  <a:lnTo>
                    <a:pt x="300944" y="72242"/>
                  </a:lnTo>
                  <a:lnTo>
                    <a:pt x="297257" y="68551"/>
                  </a:lnTo>
                  <a:lnTo>
                    <a:pt x="293562" y="68551"/>
                  </a:lnTo>
                  <a:lnTo>
                    <a:pt x="289876" y="68551"/>
                  </a:lnTo>
                  <a:lnTo>
                    <a:pt x="278808" y="68551"/>
                  </a:lnTo>
                  <a:lnTo>
                    <a:pt x="271426" y="72242"/>
                  </a:lnTo>
                  <a:lnTo>
                    <a:pt x="267739" y="72242"/>
                  </a:lnTo>
                  <a:lnTo>
                    <a:pt x="249299" y="79623"/>
                  </a:lnTo>
                  <a:lnTo>
                    <a:pt x="249299" y="75932"/>
                  </a:lnTo>
                  <a:lnTo>
                    <a:pt x="245603" y="72242"/>
                  </a:lnTo>
                  <a:lnTo>
                    <a:pt x="249299" y="68551"/>
                  </a:lnTo>
                  <a:lnTo>
                    <a:pt x="245603" y="68551"/>
                  </a:lnTo>
                  <a:lnTo>
                    <a:pt x="245603" y="64860"/>
                  </a:lnTo>
                  <a:lnTo>
                    <a:pt x="241917" y="61170"/>
                  </a:lnTo>
                  <a:lnTo>
                    <a:pt x="238231" y="57479"/>
                  </a:lnTo>
                  <a:lnTo>
                    <a:pt x="234535" y="53789"/>
                  </a:lnTo>
                  <a:lnTo>
                    <a:pt x="234535" y="50098"/>
                  </a:lnTo>
                  <a:lnTo>
                    <a:pt x="227163" y="50098"/>
                  </a:lnTo>
                  <a:lnTo>
                    <a:pt x="227163" y="46407"/>
                  </a:lnTo>
                  <a:lnTo>
                    <a:pt x="223467" y="42717"/>
                  </a:lnTo>
                  <a:lnTo>
                    <a:pt x="223467" y="39026"/>
                  </a:lnTo>
                  <a:lnTo>
                    <a:pt x="223467" y="35335"/>
                  </a:lnTo>
                  <a:lnTo>
                    <a:pt x="216095" y="39026"/>
                  </a:lnTo>
                  <a:lnTo>
                    <a:pt x="212399" y="35335"/>
                  </a:lnTo>
                  <a:lnTo>
                    <a:pt x="212399" y="31645"/>
                  </a:lnTo>
                  <a:lnTo>
                    <a:pt x="208713" y="20573"/>
                  </a:lnTo>
                  <a:lnTo>
                    <a:pt x="205027" y="24264"/>
                  </a:lnTo>
                  <a:lnTo>
                    <a:pt x="201331" y="20573"/>
                  </a:lnTo>
                  <a:lnTo>
                    <a:pt x="197645" y="9502"/>
                  </a:lnTo>
                  <a:lnTo>
                    <a:pt x="190263" y="9502"/>
                  </a:lnTo>
                  <a:lnTo>
                    <a:pt x="186577" y="5812"/>
                  </a:lnTo>
                  <a:lnTo>
                    <a:pt x="182891" y="9502"/>
                  </a:lnTo>
                  <a:lnTo>
                    <a:pt x="179205" y="5812"/>
                  </a:lnTo>
                  <a:lnTo>
                    <a:pt x="175509" y="5812"/>
                  </a:lnTo>
                  <a:lnTo>
                    <a:pt x="168137" y="5812"/>
                  </a:lnTo>
                  <a:close/>
                  <a:moveTo>
                    <a:pt x="463269" y="282603"/>
                  </a:moveTo>
                  <a:lnTo>
                    <a:pt x="466955" y="282603"/>
                  </a:lnTo>
                  <a:lnTo>
                    <a:pt x="466955" y="278913"/>
                  </a:lnTo>
                  <a:lnTo>
                    <a:pt x="463269" y="282603"/>
                  </a:lnTo>
                  <a:close/>
                </a:path>
              </a:pathLst>
            </a:custGeom>
            <a:solidFill>
              <a:srgbClr val="DBDBDB"/>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59</a:t>
              </a:r>
            </a:p>
          </p:txBody>
        </p:sp>
        <p:sp>
          <p:nvSpPr>
            <p:cNvPr id="289" name="Freeform: Shape 288">
              <a:extLst>
                <a:ext uri="{FF2B5EF4-FFF2-40B4-BE49-F238E27FC236}">
                  <a16:creationId xmlns:a16="http://schemas.microsoft.com/office/drawing/2014/main" id="{B6DA36CE-FB99-4303-A2CB-E36A219BA28B}"/>
                </a:ext>
              </a:extLst>
            </p:cNvPr>
            <p:cNvSpPr/>
            <p:nvPr/>
          </p:nvSpPr>
          <p:spPr>
            <a:xfrm>
              <a:off x="9654644" y="3312712"/>
              <a:ext cx="1014597" cy="953106"/>
            </a:xfrm>
            <a:custGeom>
              <a:avLst/>
              <a:gdLst>
                <a:gd name="connsiteX0" fmla="*/ 160768 w 628650"/>
                <a:gd name="connsiteY0" fmla="*/ 5815 h 590550"/>
                <a:gd name="connsiteX1" fmla="*/ 149700 w 628650"/>
                <a:gd name="connsiteY1" fmla="*/ 13197 h 590550"/>
                <a:gd name="connsiteX2" fmla="*/ 146004 w 628650"/>
                <a:gd name="connsiteY2" fmla="*/ 16887 h 590550"/>
                <a:gd name="connsiteX3" fmla="*/ 142318 w 628650"/>
                <a:gd name="connsiteY3" fmla="*/ 20578 h 590550"/>
                <a:gd name="connsiteX4" fmla="*/ 131250 w 628650"/>
                <a:gd name="connsiteY4" fmla="*/ 20578 h 590550"/>
                <a:gd name="connsiteX5" fmla="*/ 127564 w 628650"/>
                <a:gd name="connsiteY5" fmla="*/ 20578 h 590550"/>
                <a:gd name="connsiteX6" fmla="*/ 131250 w 628650"/>
                <a:gd name="connsiteY6" fmla="*/ 27959 h 590550"/>
                <a:gd name="connsiteX7" fmla="*/ 131250 w 628650"/>
                <a:gd name="connsiteY7" fmla="*/ 31650 h 590550"/>
                <a:gd name="connsiteX8" fmla="*/ 127564 w 628650"/>
                <a:gd name="connsiteY8" fmla="*/ 31650 h 590550"/>
                <a:gd name="connsiteX9" fmla="*/ 123877 w 628650"/>
                <a:gd name="connsiteY9" fmla="*/ 35340 h 590550"/>
                <a:gd name="connsiteX10" fmla="*/ 116495 w 628650"/>
                <a:gd name="connsiteY10" fmla="*/ 39031 h 590550"/>
                <a:gd name="connsiteX11" fmla="*/ 116495 w 628650"/>
                <a:gd name="connsiteY11" fmla="*/ 31650 h 590550"/>
                <a:gd name="connsiteX12" fmla="*/ 105427 w 628650"/>
                <a:gd name="connsiteY12" fmla="*/ 35340 h 590550"/>
                <a:gd name="connsiteX13" fmla="*/ 101741 w 628650"/>
                <a:gd name="connsiteY13" fmla="*/ 39031 h 590550"/>
                <a:gd name="connsiteX14" fmla="*/ 101741 w 628650"/>
                <a:gd name="connsiteY14" fmla="*/ 35340 h 590550"/>
                <a:gd name="connsiteX15" fmla="*/ 98046 w 628650"/>
                <a:gd name="connsiteY15" fmla="*/ 35340 h 590550"/>
                <a:gd name="connsiteX16" fmla="*/ 94359 w 628650"/>
                <a:gd name="connsiteY16" fmla="*/ 31650 h 590550"/>
                <a:gd name="connsiteX17" fmla="*/ 90673 w 628650"/>
                <a:gd name="connsiteY17" fmla="*/ 24269 h 590550"/>
                <a:gd name="connsiteX18" fmla="*/ 90673 w 628650"/>
                <a:gd name="connsiteY18" fmla="*/ 16887 h 590550"/>
                <a:gd name="connsiteX19" fmla="*/ 83291 w 628650"/>
                <a:gd name="connsiteY19" fmla="*/ 20578 h 590550"/>
                <a:gd name="connsiteX20" fmla="*/ 83291 w 628650"/>
                <a:gd name="connsiteY20" fmla="*/ 24269 h 590550"/>
                <a:gd name="connsiteX21" fmla="*/ 75909 w 628650"/>
                <a:gd name="connsiteY21" fmla="*/ 20578 h 590550"/>
                <a:gd name="connsiteX22" fmla="*/ 75909 w 628650"/>
                <a:gd name="connsiteY22" fmla="*/ 24269 h 590550"/>
                <a:gd name="connsiteX23" fmla="*/ 68537 w 628650"/>
                <a:gd name="connsiteY23" fmla="*/ 24269 h 590550"/>
                <a:gd name="connsiteX24" fmla="*/ 64841 w 628650"/>
                <a:gd name="connsiteY24" fmla="*/ 27959 h 590550"/>
                <a:gd name="connsiteX25" fmla="*/ 64841 w 628650"/>
                <a:gd name="connsiteY25" fmla="*/ 31650 h 590550"/>
                <a:gd name="connsiteX26" fmla="*/ 61155 w 628650"/>
                <a:gd name="connsiteY26" fmla="*/ 35340 h 590550"/>
                <a:gd name="connsiteX27" fmla="*/ 61155 w 628650"/>
                <a:gd name="connsiteY27" fmla="*/ 39031 h 590550"/>
                <a:gd name="connsiteX28" fmla="*/ 57469 w 628650"/>
                <a:gd name="connsiteY28" fmla="*/ 42722 h 590550"/>
                <a:gd name="connsiteX29" fmla="*/ 53773 w 628650"/>
                <a:gd name="connsiteY29" fmla="*/ 42722 h 590550"/>
                <a:gd name="connsiteX30" fmla="*/ 53773 w 628650"/>
                <a:gd name="connsiteY30" fmla="*/ 46412 h 590550"/>
                <a:gd name="connsiteX31" fmla="*/ 50087 w 628650"/>
                <a:gd name="connsiteY31" fmla="*/ 46412 h 590550"/>
                <a:gd name="connsiteX32" fmla="*/ 46401 w 628650"/>
                <a:gd name="connsiteY32" fmla="*/ 50102 h 590550"/>
                <a:gd name="connsiteX33" fmla="*/ 42715 w 628650"/>
                <a:gd name="connsiteY33" fmla="*/ 50102 h 590550"/>
                <a:gd name="connsiteX34" fmla="*/ 39019 w 628650"/>
                <a:gd name="connsiteY34" fmla="*/ 50102 h 590550"/>
                <a:gd name="connsiteX35" fmla="*/ 35333 w 628650"/>
                <a:gd name="connsiteY35" fmla="*/ 50102 h 590550"/>
                <a:gd name="connsiteX36" fmla="*/ 31647 w 628650"/>
                <a:gd name="connsiteY36" fmla="*/ 46412 h 590550"/>
                <a:gd name="connsiteX37" fmla="*/ 27951 w 628650"/>
                <a:gd name="connsiteY37" fmla="*/ 46412 h 590550"/>
                <a:gd name="connsiteX38" fmla="*/ 24265 w 628650"/>
                <a:gd name="connsiteY38" fmla="*/ 46412 h 590550"/>
                <a:gd name="connsiteX39" fmla="*/ 24265 w 628650"/>
                <a:gd name="connsiteY39" fmla="*/ 42722 h 590550"/>
                <a:gd name="connsiteX40" fmla="*/ 20579 w 628650"/>
                <a:gd name="connsiteY40" fmla="*/ 42722 h 590550"/>
                <a:gd name="connsiteX41" fmla="*/ 16883 w 628650"/>
                <a:gd name="connsiteY41" fmla="*/ 42722 h 590550"/>
                <a:gd name="connsiteX42" fmla="*/ 16883 w 628650"/>
                <a:gd name="connsiteY42" fmla="*/ 39031 h 590550"/>
                <a:gd name="connsiteX43" fmla="*/ 13197 w 628650"/>
                <a:gd name="connsiteY43" fmla="*/ 39031 h 590550"/>
                <a:gd name="connsiteX44" fmla="*/ 5815 w 628650"/>
                <a:gd name="connsiteY44" fmla="*/ 46412 h 590550"/>
                <a:gd name="connsiteX45" fmla="*/ 9511 w 628650"/>
                <a:gd name="connsiteY45" fmla="*/ 53792 h 590550"/>
                <a:gd name="connsiteX46" fmla="*/ 13197 w 628650"/>
                <a:gd name="connsiteY46" fmla="*/ 57483 h 590550"/>
                <a:gd name="connsiteX47" fmla="*/ 16883 w 628650"/>
                <a:gd name="connsiteY47" fmla="*/ 61174 h 590550"/>
                <a:gd name="connsiteX48" fmla="*/ 16883 w 628650"/>
                <a:gd name="connsiteY48" fmla="*/ 64864 h 590550"/>
                <a:gd name="connsiteX49" fmla="*/ 24265 w 628650"/>
                <a:gd name="connsiteY49" fmla="*/ 64864 h 590550"/>
                <a:gd name="connsiteX50" fmla="*/ 31647 w 628650"/>
                <a:gd name="connsiteY50" fmla="*/ 64864 h 590550"/>
                <a:gd name="connsiteX51" fmla="*/ 35333 w 628650"/>
                <a:gd name="connsiteY51" fmla="*/ 68555 h 590550"/>
                <a:gd name="connsiteX52" fmla="*/ 46401 w 628650"/>
                <a:gd name="connsiteY52" fmla="*/ 72246 h 590550"/>
                <a:gd name="connsiteX53" fmla="*/ 50087 w 628650"/>
                <a:gd name="connsiteY53" fmla="*/ 79627 h 590550"/>
                <a:gd name="connsiteX54" fmla="*/ 53773 w 628650"/>
                <a:gd name="connsiteY54" fmla="*/ 83317 h 590550"/>
                <a:gd name="connsiteX55" fmla="*/ 57469 w 628650"/>
                <a:gd name="connsiteY55" fmla="*/ 83317 h 590550"/>
                <a:gd name="connsiteX56" fmla="*/ 64841 w 628650"/>
                <a:gd name="connsiteY56" fmla="*/ 90698 h 590550"/>
                <a:gd name="connsiteX57" fmla="*/ 68537 w 628650"/>
                <a:gd name="connsiteY57" fmla="*/ 101770 h 590550"/>
                <a:gd name="connsiteX58" fmla="*/ 75909 w 628650"/>
                <a:gd name="connsiteY58" fmla="*/ 116533 h 590550"/>
                <a:gd name="connsiteX59" fmla="*/ 75909 w 628650"/>
                <a:gd name="connsiteY59" fmla="*/ 120223 h 590550"/>
                <a:gd name="connsiteX60" fmla="*/ 79605 w 628650"/>
                <a:gd name="connsiteY60" fmla="*/ 120223 h 590550"/>
                <a:gd name="connsiteX61" fmla="*/ 83291 w 628650"/>
                <a:gd name="connsiteY61" fmla="*/ 123914 h 590550"/>
                <a:gd name="connsiteX62" fmla="*/ 83291 w 628650"/>
                <a:gd name="connsiteY62" fmla="*/ 127604 h 590550"/>
                <a:gd name="connsiteX63" fmla="*/ 86978 w 628650"/>
                <a:gd name="connsiteY63" fmla="*/ 131295 h 590550"/>
                <a:gd name="connsiteX64" fmla="*/ 86978 w 628650"/>
                <a:gd name="connsiteY64" fmla="*/ 134985 h 590550"/>
                <a:gd name="connsiteX65" fmla="*/ 86978 w 628650"/>
                <a:gd name="connsiteY65" fmla="*/ 138675 h 590550"/>
                <a:gd name="connsiteX66" fmla="*/ 79605 w 628650"/>
                <a:gd name="connsiteY66" fmla="*/ 142366 h 590550"/>
                <a:gd name="connsiteX67" fmla="*/ 75909 w 628650"/>
                <a:gd name="connsiteY67" fmla="*/ 146057 h 590550"/>
                <a:gd name="connsiteX68" fmla="*/ 72223 w 628650"/>
                <a:gd name="connsiteY68" fmla="*/ 149747 h 590550"/>
                <a:gd name="connsiteX69" fmla="*/ 72223 w 628650"/>
                <a:gd name="connsiteY69" fmla="*/ 153438 h 590550"/>
                <a:gd name="connsiteX70" fmla="*/ 72223 w 628650"/>
                <a:gd name="connsiteY70" fmla="*/ 157129 h 590550"/>
                <a:gd name="connsiteX71" fmla="*/ 75909 w 628650"/>
                <a:gd name="connsiteY71" fmla="*/ 157129 h 590550"/>
                <a:gd name="connsiteX72" fmla="*/ 75909 w 628650"/>
                <a:gd name="connsiteY72" fmla="*/ 153438 h 590550"/>
                <a:gd name="connsiteX73" fmla="*/ 83291 w 628650"/>
                <a:gd name="connsiteY73" fmla="*/ 157129 h 590550"/>
                <a:gd name="connsiteX74" fmla="*/ 86978 w 628650"/>
                <a:gd name="connsiteY74" fmla="*/ 157129 h 590550"/>
                <a:gd name="connsiteX75" fmla="*/ 94359 w 628650"/>
                <a:gd name="connsiteY75" fmla="*/ 160819 h 590550"/>
                <a:gd name="connsiteX76" fmla="*/ 98046 w 628650"/>
                <a:gd name="connsiteY76" fmla="*/ 164510 h 590550"/>
                <a:gd name="connsiteX77" fmla="*/ 101741 w 628650"/>
                <a:gd name="connsiteY77" fmla="*/ 168200 h 590550"/>
                <a:gd name="connsiteX78" fmla="*/ 109114 w 628650"/>
                <a:gd name="connsiteY78" fmla="*/ 168200 h 590550"/>
                <a:gd name="connsiteX79" fmla="*/ 112809 w 628650"/>
                <a:gd name="connsiteY79" fmla="*/ 175582 h 590550"/>
                <a:gd name="connsiteX80" fmla="*/ 109114 w 628650"/>
                <a:gd name="connsiteY80" fmla="*/ 179272 h 590550"/>
                <a:gd name="connsiteX81" fmla="*/ 98046 w 628650"/>
                <a:gd name="connsiteY81" fmla="*/ 186653 h 590550"/>
                <a:gd name="connsiteX82" fmla="*/ 94359 w 628650"/>
                <a:gd name="connsiteY82" fmla="*/ 186653 h 590550"/>
                <a:gd name="connsiteX83" fmla="*/ 83291 w 628650"/>
                <a:gd name="connsiteY83" fmla="*/ 190344 h 590550"/>
                <a:gd name="connsiteX84" fmla="*/ 83291 w 628650"/>
                <a:gd name="connsiteY84" fmla="*/ 194035 h 590550"/>
                <a:gd name="connsiteX85" fmla="*/ 75909 w 628650"/>
                <a:gd name="connsiteY85" fmla="*/ 197725 h 590550"/>
                <a:gd name="connsiteX86" fmla="*/ 72223 w 628650"/>
                <a:gd name="connsiteY86" fmla="*/ 197725 h 590550"/>
                <a:gd name="connsiteX87" fmla="*/ 64841 w 628650"/>
                <a:gd name="connsiteY87" fmla="*/ 201416 h 590550"/>
                <a:gd name="connsiteX88" fmla="*/ 61155 w 628650"/>
                <a:gd name="connsiteY88" fmla="*/ 197725 h 590550"/>
                <a:gd name="connsiteX89" fmla="*/ 57469 w 628650"/>
                <a:gd name="connsiteY89" fmla="*/ 194035 h 590550"/>
                <a:gd name="connsiteX90" fmla="*/ 27951 w 628650"/>
                <a:gd name="connsiteY90" fmla="*/ 201416 h 590550"/>
                <a:gd name="connsiteX91" fmla="*/ 24265 w 628650"/>
                <a:gd name="connsiteY91" fmla="*/ 205107 h 590550"/>
                <a:gd name="connsiteX92" fmla="*/ 24265 w 628650"/>
                <a:gd name="connsiteY92" fmla="*/ 212488 h 590550"/>
                <a:gd name="connsiteX93" fmla="*/ 24265 w 628650"/>
                <a:gd name="connsiteY93" fmla="*/ 216178 h 590550"/>
                <a:gd name="connsiteX94" fmla="*/ 24265 w 628650"/>
                <a:gd name="connsiteY94" fmla="*/ 219868 h 590550"/>
                <a:gd name="connsiteX95" fmla="*/ 27951 w 628650"/>
                <a:gd name="connsiteY95" fmla="*/ 223559 h 590550"/>
                <a:gd name="connsiteX96" fmla="*/ 27951 w 628650"/>
                <a:gd name="connsiteY96" fmla="*/ 227249 h 590550"/>
                <a:gd name="connsiteX97" fmla="*/ 13197 w 628650"/>
                <a:gd name="connsiteY97" fmla="*/ 223559 h 590550"/>
                <a:gd name="connsiteX98" fmla="*/ 16883 w 628650"/>
                <a:gd name="connsiteY98" fmla="*/ 227249 h 590550"/>
                <a:gd name="connsiteX99" fmla="*/ 20579 w 628650"/>
                <a:gd name="connsiteY99" fmla="*/ 227249 h 590550"/>
                <a:gd name="connsiteX100" fmla="*/ 24265 w 628650"/>
                <a:gd name="connsiteY100" fmla="*/ 227249 h 590550"/>
                <a:gd name="connsiteX101" fmla="*/ 24265 w 628650"/>
                <a:gd name="connsiteY101" fmla="*/ 230940 h 590550"/>
                <a:gd name="connsiteX102" fmla="*/ 27951 w 628650"/>
                <a:gd name="connsiteY102" fmla="*/ 234630 h 590550"/>
                <a:gd name="connsiteX103" fmla="*/ 27951 w 628650"/>
                <a:gd name="connsiteY103" fmla="*/ 238321 h 590550"/>
                <a:gd name="connsiteX104" fmla="*/ 27951 w 628650"/>
                <a:gd name="connsiteY104" fmla="*/ 242012 h 590550"/>
                <a:gd name="connsiteX105" fmla="*/ 31647 w 628650"/>
                <a:gd name="connsiteY105" fmla="*/ 245702 h 590550"/>
                <a:gd name="connsiteX106" fmla="*/ 35333 w 628650"/>
                <a:gd name="connsiteY106" fmla="*/ 249393 h 590550"/>
                <a:gd name="connsiteX107" fmla="*/ 35333 w 628650"/>
                <a:gd name="connsiteY107" fmla="*/ 253083 h 590550"/>
                <a:gd name="connsiteX108" fmla="*/ 35333 w 628650"/>
                <a:gd name="connsiteY108" fmla="*/ 256774 h 590550"/>
                <a:gd name="connsiteX109" fmla="*/ 39019 w 628650"/>
                <a:gd name="connsiteY109" fmla="*/ 260465 h 590550"/>
                <a:gd name="connsiteX110" fmla="*/ 39019 w 628650"/>
                <a:gd name="connsiteY110" fmla="*/ 267846 h 590550"/>
                <a:gd name="connsiteX111" fmla="*/ 39019 w 628650"/>
                <a:gd name="connsiteY111" fmla="*/ 275227 h 590550"/>
                <a:gd name="connsiteX112" fmla="*/ 46401 w 628650"/>
                <a:gd name="connsiteY112" fmla="*/ 271537 h 590550"/>
                <a:gd name="connsiteX113" fmla="*/ 50087 w 628650"/>
                <a:gd name="connsiteY113" fmla="*/ 275227 h 590550"/>
                <a:gd name="connsiteX114" fmla="*/ 57469 w 628650"/>
                <a:gd name="connsiteY114" fmla="*/ 286299 h 590550"/>
                <a:gd name="connsiteX115" fmla="*/ 61155 w 628650"/>
                <a:gd name="connsiteY115" fmla="*/ 293680 h 590550"/>
                <a:gd name="connsiteX116" fmla="*/ 68537 w 628650"/>
                <a:gd name="connsiteY116" fmla="*/ 304751 h 590550"/>
                <a:gd name="connsiteX117" fmla="*/ 68537 w 628650"/>
                <a:gd name="connsiteY117" fmla="*/ 312132 h 590550"/>
                <a:gd name="connsiteX118" fmla="*/ 75909 w 628650"/>
                <a:gd name="connsiteY118" fmla="*/ 308442 h 590550"/>
                <a:gd name="connsiteX119" fmla="*/ 79605 w 628650"/>
                <a:gd name="connsiteY119" fmla="*/ 304751 h 590550"/>
                <a:gd name="connsiteX120" fmla="*/ 83291 w 628650"/>
                <a:gd name="connsiteY120" fmla="*/ 301060 h 590550"/>
                <a:gd name="connsiteX121" fmla="*/ 83291 w 628650"/>
                <a:gd name="connsiteY121" fmla="*/ 304751 h 590550"/>
                <a:gd name="connsiteX122" fmla="*/ 86978 w 628650"/>
                <a:gd name="connsiteY122" fmla="*/ 308442 h 590550"/>
                <a:gd name="connsiteX123" fmla="*/ 90673 w 628650"/>
                <a:gd name="connsiteY123" fmla="*/ 304751 h 590550"/>
                <a:gd name="connsiteX124" fmla="*/ 98046 w 628650"/>
                <a:gd name="connsiteY124" fmla="*/ 297371 h 590550"/>
                <a:gd name="connsiteX125" fmla="*/ 105427 w 628650"/>
                <a:gd name="connsiteY125" fmla="*/ 289990 h 590550"/>
                <a:gd name="connsiteX126" fmla="*/ 109114 w 628650"/>
                <a:gd name="connsiteY126" fmla="*/ 286299 h 590550"/>
                <a:gd name="connsiteX127" fmla="*/ 112809 w 628650"/>
                <a:gd name="connsiteY127" fmla="*/ 286299 h 590550"/>
                <a:gd name="connsiteX128" fmla="*/ 116495 w 628650"/>
                <a:gd name="connsiteY128" fmla="*/ 286299 h 590550"/>
                <a:gd name="connsiteX129" fmla="*/ 120182 w 628650"/>
                <a:gd name="connsiteY129" fmla="*/ 282608 h 590550"/>
                <a:gd name="connsiteX130" fmla="*/ 123877 w 628650"/>
                <a:gd name="connsiteY130" fmla="*/ 286299 h 590550"/>
                <a:gd name="connsiteX131" fmla="*/ 127564 w 628650"/>
                <a:gd name="connsiteY131" fmla="*/ 286299 h 590550"/>
                <a:gd name="connsiteX132" fmla="*/ 131250 w 628650"/>
                <a:gd name="connsiteY132" fmla="*/ 289990 h 590550"/>
                <a:gd name="connsiteX133" fmla="*/ 134936 w 628650"/>
                <a:gd name="connsiteY133" fmla="*/ 293680 h 590550"/>
                <a:gd name="connsiteX134" fmla="*/ 134936 w 628650"/>
                <a:gd name="connsiteY134" fmla="*/ 297371 h 590550"/>
                <a:gd name="connsiteX135" fmla="*/ 134936 w 628650"/>
                <a:gd name="connsiteY135" fmla="*/ 301060 h 590550"/>
                <a:gd name="connsiteX136" fmla="*/ 138632 w 628650"/>
                <a:gd name="connsiteY136" fmla="*/ 304751 h 590550"/>
                <a:gd name="connsiteX137" fmla="*/ 149700 w 628650"/>
                <a:gd name="connsiteY137" fmla="*/ 308442 h 590550"/>
                <a:gd name="connsiteX138" fmla="*/ 153386 w 628650"/>
                <a:gd name="connsiteY138" fmla="*/ 312132 h 590550"/>
                <a:gd name="connsiteX139" fmla="*/ 153386 w 628650"/>
                <a:gd name="connsiteY139" fmla="*/ 315823 h 590550"/>
                <a:gd name="connsiteX140" fmla="*/ 157072 w 628650"/>
                <a:gd name="connsiteY140" fmla="*/ 326895 h 590550"/>
                <a:gd name="connsiteX141" fmla="*/ 157072 w 628650"/>
                <a:gd name="connsiteY141" fmla="*/ 334276 h 590550"/>
                <a:gd name="connsiteX142" fmla="*/ 160768 w 628650"/>
                <a:gd name="connsiteY142" fmla="*/ 337967 h 590550"/>
                <a:gd name="connsiteX143" fmla="*/ 164454 w 628650"/>
                <a:gd name="connsiteY143" fmla="*/ 341657 h 590550"/>
                <a:gd name="connsiteX144" fmla="*/ 164454 w 628650"/>
                <a:gd name="connsiteY144" fmla="*/ 349038 h 590550"/>
                <a:gd name="connsiteX145" fmla="*/ 160768 w 628650"/>
                <a:gd name="connsiteY145" fmla="*/ 352729 h 590550"/>
                <a:gd name="connsiteX146" fmla="*/ 160768 w 628650"/>
                <a:gd name="connsiteY146" fmla="*/ 356420 h 590550"/>
                <a:gd name="connsiteX147" fmla="*/ 160768 w 628650"/>
                <a:gd name="connsiteY147" fmla="*/ 363801 h 590550"/>
                <a:gd name="connsiteX148" fmla="*/ 164454 w 628650"/>
                <a:gd name="connsiteY148" fmla="*/ 367491 h 590550"/>
                <a:gd name="connsiteX149" fmla="*/ 168140 w 628650"/>
                <a:gd name="connsiteY149" fmla="*/ 367491 h 590550"/>
                <a:gd name="connsiteX150" fmla="*/ 168140 w 628650"/>
                <a:gd name="connsiteY150" fmla="*/ 371182 h 590550"/>
                <a:gd name="connsiteX151" fmla="*/ 168140 w 628650"/>
                <a:gd name="connsiteY151" fmla="*/ 374873 h 590550"/>
                <a:gd name="connsiteX152" fmla="*/ 168140 w 628650"/>
                <a:gd name="connsiteY152" fmla="*/ 382253 h 590550"/>
                <a:gd name="connsiteX153" fmla="*/ 164454 w 628650"/>
                <a:gd name="connsiteY153" fmla="*/ 382253 h 590550"/>
                <a:gd name="connsiteX154" fmla="*/ 164454 w 628650"/>
                <a:gd name="connsiteY154" fmla="*/ 385943 h 590550"/>
                <a:gd name="connsiteX155" fmla="*/ 160768 w 628650"/>
                <a:gd name="connsiteY155" fmla="*/ 385943 h 590550"/>
                <a:gd name="connsiteX156" fmla="*/ 153386 w 628650"/>
                <a:gd name="connsiteY156" fmla="*/ 389634 h 590550"/>
                <a:gd name="connsiteX157" fmla="*/ 146004 w 628650"/>
                <a:gd name="connsiteY157" fmla="*/ 389634 h 590550"/>
                <a:gd name="connsiteX158" fmla="*/ 146004 w 628650"/>
                <a:gd name="connsiteY158" fmla="*/ 393323 h 590550"/>
                <a:gd name="connsiteX159" fmla="*/ 142318 w 628650"/>
                <a:gd name="connsiteY159" fmla="*/ 393323 h 590550"/>
                <a:gd name="connsiteX160" fmla="*/ 142318 w 628650"/>
                <a:gd name="connsiteY160" fmla="*/ 397018 h 590550"/>
                <a:gd name="connsiteX161" fmla="*/ 146004 w 628650"/>
                <a:gd name="connsiteY161" fmla="*/ 400704 h 590550"/>
                <a:gd name="connsiteX162" fmla="*/ 149700 w 628650"/>
                <a:gd name="connsiteY162" fmla="*/ 400704 h 590550"/>
                <a:gd name="connsiteX163" fmla="*/ 153386 w 628650"/>
                <a:gd name="connsiteY163" fmla="*/ 404400 h 590550"/>
                <a:gd name="connsiteX164" fmla="*/ 149700 w 628650"/>
                <a:gd name="connsiteY164" fmla="*/ 404400 h 590550"/>
                <a:gd name="connsiteX165" fmla="*/ 146004 w 628650"/>
                <a:gd name="connsiteY165" fmla="*/ 408086 h 590550"/>
                <a:gd name="connsiteX166" fmla="*/ 142318 w 628650"/>
                <a:gd name="connsiteY166" fmla="*/ 408086 h 590550"/>
                <a:gd name="connsiteX167" fmla="*/ 142318 w 628650"/>
                <a:gd name="connsiteY167" fmla="*/ 415468 h 590550"/>
                <a:gd name="connsiteX168" fmla="*/ 142318 w 628650"/>
                <a:gd name="connsiteY168" fmla="*/ 422850 h 590550"/>
                <a:gd name="connsiteX169" fmla="*/ 142318 w 628650"/>
                <a:gd name="connsiteY169" fmla="*/ 430232 h 590550"/>
                <a:gd name="connsiteX170" fmla="*/ 138632 w 628650"/>
                <a:gd name="connsiteY170" fmla="*/ 430232 h 590550"/>
                <a:gd name="connsiteX171" fmla="*/ 138632 w 628650"/>
                <a:gd name="connsiteY171" fmla="*/ 433918 h 590550"/>
                <a:gd name="connsiteX172" fmla="*/ 142318 w 628650"/>
                <a:gd name="connsiteY172" fmla="*/ 433918 h 590550"/>
                <a:gd name="connsiteX173" fmla="*/ 146004 w 628650"/>
                <a:gd name="connsiteY173" fmla="*/ 433918 h 590550"/>
                <a:gd name="connsiteX174" fmla="*/ 146004 w 628650"/>
                <a:gd name="connsiteY174" fmla="*/ 437614 h 590550"/>
                <a:gd name="connsiteX175" fmla="*/ 146004 w 628650"/>
                <a:gd name="connsiteY175" fmla="*/ 448682 h 590550"/>
                <a:gd name="connsiteX176" fmla="*/ 149700 w 628650"/>
                <a:gd name="connsiteY176" fmla="*/ 448682 h 590550"/>
                <a:gd name="connsiteX177" fmla="*/ 153386 w 628650"/>
                <a:gd name="connsiteY177" fmla="*/ 448682 h 590550"/>
                <a:gd name="connsiteX178" fmla="*/ 157072 w 628650"/>
                <a:gd name="connsiteY178" fmla="*/ 448682 h 590550"/>
                <a:gd name="connsiteX179" fmla="*/ 157072 w 628650"/>
                <a:gd name="connsiteY179" fmla="*/ 452377 h 590550"/>
                <a:gd name="connsiteX180" fmla="*/ 157072 w 628650"/>
                <a:gd name="connsiteY180" fmla="*/ 456064 h 590550"/>
                <a:gd name="connsiteX181" fmla="*/ 160768 w 628650"/>
                <a:gd name="connsiteY181" fmla="*/ 456064 h 590550"/>
                <a:gd name="connsiteX182" fmla="*/ 160768 w 628650"/>
                <a:gd name="connsiteY182" fmla="*/ 467132 h 590550"/>
                <a:gd name="connsiteX183" fmla="*/ 164454 w 628650"/>
                <a:gd name="connsiteY183" fmla="*/ 470827 h 590550"/>
                <a:gd name="connsiteX184" fmla="*/ 168140 w 628650"/>
                <a:gd name="connsiteY184" fmla="*/ 474514 h 590550"/>
                <a:gd name="connsiteX185" fmla="*/ 168140 w 628650"/>
                <a:gd name="connsiteY185" fmla="*/ 478209 h 590550"/>
                <a:gd name="connsiteX186" fmla="*/ 168140 w 628650"/>
                <a:gd name="connsiteY186" fmla="*/ 481895 h 590550"/>
                <a:gd name="connsiteX187" fmla="*/ 168140 w 628650"/>
                <a:gd name="connsiteY187" fmla="*/ 485591 h 590550"/>
                <a:gd name="connsiteX188" fmla="*/ 171836 w 628650"/>
                <a:gd name="connsiteY188" fmla="*/ 489277 h 590550"/>
                <a:gd name="connsiteX189" fmla="*/ 175522 w 628650"/>
                <a:gd name="connsiteY189" fmla="*/ 489277 h 590550"/>
                <a:gd name="connsiteX190" fmla="*/ 179208 w 628650"/>
                <a:gd name="connsiteY190" fmla="*/ 489277 h 590550"/>
                <a:gd name="connsiteX191" fmla="*/ 182904 w 628650"/>
                <a:gd name="connsiteY191" fmla="*/ 489277 h 590550"/>
                <a:gd name="connsiteX192" fmla="*/ 182904 w 628650"/>
                <a:gd name="connsiteY192" fmla="*/ 492973 h 590550"/>
                <a:gd name="connsiteX193" fmla="*/ 179208 w 628650"/>
                <a:gd name="connsiteY193" fmla="*/ 492973 h 590550"/>
                <a:gd name="connsiteX194" fmla="*/ 175522 w 628650"/>
                <a:gd name="connsiteY194" fmla="*/ 496659 h 590550"/>
                <a:gd name="connsiteX195" fmla="*/ 175522 w 628650"/>
                <a:gd name="connsiteY195" fmla="*/ 500355 h 590550"/>
                <a:gd name="connsiteX196" fmla="*/ 179208 w 628650"/>
                <a:gd name="connsiteY196" fmla="*/ 507737 h 590550"/>
                <a:gd name="connsiteX197" fmla="*/ 182904 w 628650"/>
                <a:gd name="connsiteY197" fmla="*/ 507737 h 590550"/>
                <a:gd name="connsiteX198" fmla="*/ 186590 w 628650"/>
                <a:gd name="connsiteY198" fmla="*/ 507737 h 590550"/>
                <a:gd name="connsiteX199" fmla="*/ 186590 w 628650"/>
                <a:gd name="connsiteY199" fmla="*/ 504041 h 590550"/>
                <a:gd name="connsiteX200" fmla="*/ 193962 w 628650"/>
                <a:gd name="connsiteY200" fmla="*/ 500355 h 590550"/>
                <a:gd name="connsiteX201" fmla="*/ 197658 w 628650"/>
                <a:gd name="connsiteY201" fmla="*/ 500355 h 590550"/>
                <a:gd name="connsiteX202" fmla="*/ 197658 w 628650"/>
                <a:gd name="connsiteY202" fmla="*/ 504041 h 590550"/>
                <a:gd name="connsiteX203" fmla="*/ 205030 w 628650"/>
                <a:gd name="connsiteY203" fmla="*/ 504041 h 590550"/>
                <a:gd name="connsiteX204" fmla="*/ 208726 w 628650"/>
                <a:gd name="connsiteY204" fmla="*/ 504041 h 590550"/>
                <a:gd name="connsiteX205" fmla="*/ 212412 w 628650"/>
                <a:gd name="connsiteY205" fmla="*/ 507737 h 590550"/>
                <a:gd name="connsiteX206" fmla="*/ 212412 w 628650"/>
                <a:gd name="connsiteY206" fmla="*/ 504041 h 590550"/>
                <a:gd name="connsiteX207" fmla="*/ 216098 w 628650"/>
                <a:gd name="connsiteY207" fmla="*/ 504041 h 590550"/>
                <a:gd name="connsiteX208" fmla="*/ 219794 w 628650"/>
                <a:gd name="connsiteY208" fmla="*/ 504041 h 590550"/>
                <a:gd name="connsiteX209" fmla="*/ 223480 w 628650"/>
                <a:gd name="connsiteY209" fmla="*/ 504041 h 590550"/>
                <a:gd name="connsiteX210" fmla="*/ 230862 w 628650"/>
                <a:gd name="connsiteY210" fmla="*/ 504041 h 590550"/>
                <a:gd name="connsiteX211" fmla="*/ 234548 w 628650"/>
                <a:gd name="connsiteY211" fmla="*/ 504041 h 590550"/>
                <a:gd name="connsiteX212" fmla="*/ 238235 w 628650"/>
                <a:gd name="connsiteY212" fmla="*/ 507737 h 590550"/>
                <a:gd name="connsiteX213" fmla="*/ 241930 w 628650"/>
                <a:gd name="connsiteY213" fmla="*/ 504041 h 590550"/>
                <a:gd name="connsiteX214" fmla="*/ 245616 w 628650"/>
                <a:gd name="connsiteY214" fmla="*/ 504041 h 590550"/>
                <a:gd name="connsiteX215" fmla="*/ 249303 w 628650"/>
                <a:gd name="connsiteY215" fmla="*/ 504041 h 590550"/>
                <a:gd name="connsiteX216" fmla="*/ 252998 w 628650"/>
                <a:gd name="connsiteY216" fmla="*/ 504041 h 590550"/>
                <a:gd name="connsiteX217" fmla="*/ 252998 w 628650"/>
                <a:gd name="connsiteY217" fmla="*/ 507737 h 590550"/>
                <a:gd name="connsiteX218" fmla="*/ 264066 w 628650"/>
                <a:gd name="connsiteY218" fmla="*/ 507737 h 590550"/>
                <a:gd name="connsiteX219" fmla="*/ 264066 w 628650"/>
                <a:gd name="connsiteY219" fmla="*/ 504041 h 590550"/>
                <a:gd name="connsiteX220" fmla="*/ 271439 w 628650"/>
                <a:gd name="connsiteY220" fmla="*/ 504041 h 590550"/>
                <a:gd name="connsiteX221" fmla="*/ 271439 w 628650"/>
                <a:gd name="connsiteY221" fmla="*/ 496659 h 590550"/>
                <a:gd name="connsiteX222" fmla="*/ 275125 w 628650"/>
                <a:gd name="connsiteY222" fmla="*/ 496659 h 590550"/>
                <a:gd name="connsiteX223" fmla="*/ 278821 w 628650"/>
                <a:gd name="connsiteY223" fmla="*/ 492973 h 590550"/>
                <a:gd name="connsiteX224" fmla="*/ 286193 w 628650"/>
                <a:gd name="connsiteY224" fmla="*/ 492973 h 590550"/>
                <a:gd name="connsiteX225" fmla="*/ 289889 w 628650"/>
                <a:gd name="connsiteY225" fmla="*/ 492973 h 590550"/>
                <a:gd name="connsiteX226" fmla="*/ 293575 w 628650"/>
                <a:gd name="connsiteY226" fmla="*/ 489277 h 590550"/>
                <a:gd name="connsiteX227" fmla="*/ 293575 w 628650"/>
                <a:gd name="connsiteY227" fmla="*/ 492973 h 590550"/>
                <a:gd name="connsiteX228" fmla="*/ 297261 w 628650"/>
                <a:gd name="connsiteY228" fmla="*/ 492973 h 590550"/>
                <a:gd name="connsiteX229" fmla="*/ 300957 w 628650"/>
                <a:gd name="connsiteY229" fmla="*/ 492973 h 590550"/>
                <a:gd name="connsiteX230" fmla="*/ 308329 w 628650"/>
                <a:gd name="connsiteY230" fmla="*/ 492973 h 590550"/>
                <a:gd name="connsiteX231" fmla="*/ 312025 w 628650"/>
                <a:gd name="connsiteY231" fmla="*/ 492973 h 590550"/>
                <a:gd name="connsiteX232" fmla="*/ 312025 w 628650"/>
                <a:gd name="connsiteY232" fmla="*/ 496659 h 590550"/>
                <a:gd name="connsiteX233" fmla="*/ 312025 w 628650"/>
                <a:gd name="connsiteY233" fmla="*/ 500355 h 590550"/>
                <a:gd name="connsiteX234" fmla="*/ 315711 w 628650"/>
                <a:gd name="connsiteY234" fmla="*/ 507737 h 590550"/>
                <a:gd name="connsiteX235" fmla="*/ 326779 w 628650"/>
                <a:gd name="connsiteY235" fmla="*/ 515109 h 590550"/>
                <a:gd name="connsiteX236" fmla="*/ 326779 w 628650"/>
                <a:gd name="connsiteY236" fmla="*/ 522491 h 590550"/>
                <a:gd name="connsiteX237" fmla="*/ 330465 w 628650"/>
                <a:gd name="connsiteY237" fmla="*/ 522491 h 590550"/>
                <a:gd name="connsiteX238" fmla="*/ 330465 w 628650"/>
                <a:gd name="connsiteY238" fmla="*/ 526187 h 590550"/>
                <a:gd name="connsiteX239" fmla="*/ 337847 w 628650"/>
                <a:gd name="connsiteY239" fmla="*/ 526187 h 590550"/>
                <a:gd name="connsiteX240" fmla="*/ 337847 w 628650"/>
                <a:gd name="connsiteY240" fmla="*/ 533569 h 590550"/>
                <a:gd name="connsiteX241" fmla="*/ 341533 w 628650"/>
                <a:gd name="connsiteY241" fmla="*/ 537255 h 590550"/>
                <a:gd name="connsiteX242" fmla="*/ 341533 w 628650"/>
                <a:gd name="connsiteY242" fmla="*/ 540951 h 590550"/>
                <a:gd name="connsiteX243" fmla="*/ 345219 w 628650"/>
                <a:gd name="connsiteY243" fmla="*/ 540951 h 590550"/>
                <a:gd name="connsiteX244" fmla="*/ 348915 w 628650"/>
                <a:gd name="connsiteY244" fmla="*/ 544637 h 590550"/>
                <a:gd name="connsiteX245" fmla="*/ 356287 w 628650"/>
                <a:gd name="connsiteY245" fmla="*/ 540951 h 590550"/>
                <a:gd name="connsiteX246" fmla="*/ 359983 w 628650"/>
                <a:gd name="connsiteY246" fmla="*/ 540951 h 590550"/>
                <a:gd name="connsiteX247" fmla="*/ 378424 w 628650"/>
                <a:gd name="connsiteY247" fmla="*/ 544637 h 590550"/>
                <a:gd name="connsiteX248" fmla="*/ 393187 w 628650"/>
                <a:gd name="connsiteY248" fmla="*/ 540951 h 590550"/>
                <a:gd name="connsiteX249" fmla="*/ 396873 w 628650"/>
                <a:gd name="connsiteY249" fmla="*/ 540951 h 590550"/>
                <a:gd name="connsiteX250" fmla="*/ 404255 w 628650"/>
                <a:gd name="connsiteY250" fmla="*/ 544637 h 590550"/>
                <a:gd name="connsiteX251" fmla="*/ 400560 w 628650"/>
                <a:gd name="connsiteY251" fmla="*/ 548332 h 590550"/>
                <a:gd name="connsiteX252" fmla="*/ 404255 w 628650"/>
                <a:gd name="connsiteY252" fmla="*/ 552019 h 590550"/>
                <a:gd name="connsiteX253" fmla="*/ 407942 w 628650"/>
                <a:gd name="connsiteY253" fmla="*/ 555714 h 590550"/>
                <a:gd name="connsiteX254" fmla="*/ 407942 w 628650"/>
                <a:gd name="connsiteY254" fmla="*/ 552019 h 590550"/>
                <a:gd name="connsiteX255" fmla="*/ 411628 w 628650"/>
                <a:gd name="connsiteY255" fmla="*/ 548332 h 590550"/>
                <a:gd name="connsiteX256" fmla="*/ 415314 w 628650"/>
                <a:gd name="connsiteY256" fmla="*/ 544637 h 590550"/>
                <a:gd name="connsiteX257" fmla="*/ 419010 w 628650"/>
                <a:gd name="connsiteY257" fmla="*/ 548332 h 590550"/>
                <a:gd name="connsiteX258" fmla="*/ 419010 w 628650"/>
                <a:gd name="connsiteY258" fmla="*/ 552019 h 590550"/>
                <a:gd name="connsiteX259" fmla="*/ 422696 w 628650"/>
                <a:gd name="connsiteY259" fmla="*/ 544637 h 590550"/>
                <a:gd name="connsiteX260" fmla="*/ 426382 w 628650"/>
                <a:gd name="connsiteY260" fmla="*/ 544637 h 590550"/>
                <a:gd name="connsiteX261" fmla="*/ 437450 w 628650"/>
                <a:gd name="connsiteY261" fmla="*/ 552019 h 590550"/>
                <a:gd name="connsiteX262" fmla="*/ 437450 w 628650"/>
                <a:gd name="connsiteY262" fmla="*/ 555714 h 590550"/>
                <a:gd name="connsiteX263" fmla="*/ 437450 w 628650"/>
                <a:gd name="connsiteY263" fmla="*/ 559400 h 590550"/>
                <a:gd name="connsiteX264" fmla="*/ 437450 w 628650"/>
                <a:gd name="connsiteY264" fmla="*/ 570468 h 590550"/>
                <a:gd name="connsiteX265" fmla="*/ 430078 w 628650"/>
                <a:gd name="connsiteY265" fmla="*/ 581546 h 590550"/>
                <a:gd name="connsiteX266" fmla="*/ 437450 w 628650"/>
                <a:gd name="connsiteY266" fmla="*/ 581546 h 590550"/>
                <a:gd name="connsiteX267" fmla="*/ 441146 w 628650"/>
                <a:gd name="connsiteY267" fmla="*/ 581546 h 590550"/>
                <a:gd name="connsiteX268" fmla="*/ 448518 w 628650"/>
                <a:gd name="connsiteY268" fmla="*/ 585232 h 590550"/>
                <a:gd name="connsiteX269" fmla="*/ 455900 w 628650"/>
                <a:gd name="connsiteY269" fmla="*/ 588928 h 590550"/>
                <a:gd name="connsiteX270" fmla="*/ 459586 w 628650"/>
                <a:gd name="connsiteY270" fmla="*/ 588928 h 590550"/>
                <a:gd name="connsiteX271" fmla="*/ 481722 w 628650"/>
                <a:gd name="connsiteY271" fmla="*/ 588928 h 590550"/>
                <a:gd name="connsiteX272" fmla="*/ 511240 w 628650"/>
                <a:gd name="connsiteY272" fmla="*/ 588928 h 590550"/>
                <a:gd name="connsiteX273" fmla="*/ 522308 w 628650"/>
                <a:gd name="connsiteY273" fmla="*/ 588928 h 590550"/>
                <a:gd name="connsiteX274" fmla="*/ 525994 w 628650"/>
                <a:gd name="connsiteY274" fmla="*/ 585232 h 590550"/>
                <a:gd name="connsiteX275" fmla="*/ 529680 w 628650"/>
                <a:gd name="connsiteY275" fmla="*/ 581546 h 590550"/>
                <a:gd name="connsiteX276" fmla="*/ 533376 w 628650"/>
                <a:gd name="connsiteY276" fmla="*/ 577850 h 590550"/>
                <a:gd name="connsiteX277" fmla="*/ 533376 w 628650"/>
                <a:gd name="connsiteY277" fmla="*/ 574164 h 590550"/>
                <a:gd name="connsiteX278" fmla="*/ 537062 w 628650"/>
                <a:gd name="connsiteY278" fmla="*/ 555714 h 590550"/>
                <a:gd name="connsiteX279" fmla="*/ 540749 w 628650"/>
                <a:gd name="connsiteY279" fmla="*/ 555714 h 590550"/>
                <a:gd name="connsiteX280" fmla="*/ 540749 w 628650"/>
                <a:gd name="connsiteY280" fmla="*/ 552019 h 590550"/>
                <a:gd name="connsiteX281" fmla="*/ 551817 w 628650"/>
                <a:gd name="connsiteY281" fmla="*/ 544637 h 590550"/>
                <a:gd name="connsiteX282" fmla="*/ 551817 w 628650"/>
                <a:gd name="connsiteY282" fmla="*/ 540951 h 590550"/>
                <a:gd name="connsiteX283" fmla="*/ 562885 w 628650"/>
                <a:gd name="connsiteY283" fmla="*/ 537255 h 590550"/>
                <a:gd name="connsiteX284" fmla="*/ 573953 w 628650"/>
                <a:gd name="connsiteY284" fmla="*/ 537255 h 590550"/>
                <a:gd name="connsiteX285" fmla="*/ 577639 w 628650"/>
                <a:gd name="connsiteY285" fmla="*/ 529873 h 590550"/>
                <a:gd name="connsiteX286" fmla="*/ 577639 w 628650"/>
                <a:gd name="connsiteY286" fmla="*/ 526187 h 590550"/>
                <a:gd name="connsiteX287" fmla="*/ 581335 w 628650"/>
                <a:gd name="connsiteY287" fmla="*/ 522491 h 590550"/>
                <a:gd name="connsiteX288" fmla="*/ 581335 w 628650"/>
                <a:gd name="connsiteY288" fmla="*/ 518805 h 590550"/>
                <a:gd name="connsiteX289" fmla="*/ 585021 w 628650"/>
                <a:gd name="connsiteY289" fmla="*/ 515109 h 590550"/>
                <a:gd name="connsiteX290" fmla="*/ 585021 w 628650"/>
                <a:gd name="connsiteY290" fmla="*/ 511423 h 590550"/>
                <a:gd name="connsiteX291" fmla="*/ 585021 w 628650"/>
                <a:gd name="connsiteY291" fmla="*/ 507737 h 590550"/>
                <a:gd name="connsiteX292" fmla="*/ 585021 w 628650"/>
                <a:gd name="connsiteY292" fmla="*/ 504041 h 590550"/>
                <a:gd name="connsiteX293" fmla="*/ 588707 w 628650"/>
                <a:gd name="connsiteY293" fmla="*/ 500355 h 590550"/>
                <a:gd name="connsiteX294" fmla="*/ 596089 w 628650"/>
                <a:gd name="connsiteY294" fmla="*/ 496659 h 590550"/>
                <a:gd name="connsiteX295" fmla="*/ 599775 w 628650"/>
                <a:gd name="connsiteY295" fmla="*/ 500355 h 590550"/>
                <a:gd name="connsiteX296" fmla="*/ 603471 w 628650"/>
                <a:gd name="connsiteY296" fmla="*/ 500355 h 590550"/>
                <a:gd name="connsiteX297" fmla="*/ 607157 w 628650"/>
                <a:gd name="connsiteY297" fmla="*/ 500355 h 590550"/>
                <a:gd name="connsiteX298" fmla="*/ 614539 w 628650"/>
                <a:gd name="connsiteY298" fmla="*/ 500355 h 590550"/>
                <a:gd name="connsiteX299" fmla="*/ 625597 w 628650"/>
                <a:gd name="connsiteY299" fmla="*/ 492973 h 590550"/>
                <a:gd name="connsiteX300" fmla="*/ 625597 w 628650"/>
                <a:gd name="connsiteY300" fmla="*/ 489277 h 590550"/>
                <a:gd name="connsiteX301" fmla="*/ 614539 w 628650"/>
                <a:gd name="connsiteY301" fmla="*/ 474514 h 590550"/>
                <a:gd name="connsiteX302" fmla="*/ 610843 w 628650"/>
                <a:gd name="connsiteY302" fmla="*/ 470827 h 590550"/>
                <a:gd name="connsiteX303" fmla="*/ 610843 w 628650"/>
                <a:gd name="connsiteY303" fmla="*/ 463446 h 590550"/>
                <a:gd name="connsiteX304" fmla="*/ 607157 w 628650"/>
                <a:gd name="connsiteY304" fmla="*/ 463446 h 590550"/>
                <a:gd name="connsiteX305" fmla="*/ 607157 w 628650"/>
                <a:gd name="connsiteY305" fmla="*/ 459759 h 590550"/>
                <a:gd name="connsiteX306" fmla="*/ 607157 w 628650"/>
                <a:gd name="connsiteY306" fmla="*/ 456064 h 590550"/>
                <a:gd name="connsiteX307" fmla="*/ 607157 w 628650"/>
                <a:gd name="connsiteY307" fmla="*/ 452377 h 590550"/>
                <a:gd name="connsiteX308" fmla="*/ 607157 w 628650"/>
                <a:gd name="connsiteY308" fmla="*/ 448682 h 590550"/>
                <a:gd name="connsiteX309" fmla="*/ 610843 w 628650"/>
                <a:gd name="connsiteY309" fmla="*/ 437614 h 590550"/>
                <a:gd name="connsiteX310" fmla="*/ 610843 w 628650"/>
                <a:gd name="connsiteY310" fmla="*/ 433918 h 590550"/>
                <a:gd name="connsiteX311" fmla="*/ 614539 w 628650"/>
                <a:gd name="connsiteY311" fmla="*/ 433918 h 590550"/>
                <a:gd name="connsiteX312" fmla="*/ 614539 w 628650"/>
                <a:gd name="connsiteY312" fmla="*/ 430232 h 590550"/>
                <a:gd name="connsiteX313" fmla="*/ 618225 w 628650"/>
                <a:gd name="connsiteY313" fmla="*/ 430232 h 590550"/>
                <a:gd name="connsiteX314" fmla="*/ 618225 w 628650"/>
                <a:gd name="connsiteY314" fmla="*/ 426536 h 590550"/>
                <a:gd name="connsiteX315" fmla="*/ 618225 w 628650"/>
                <a:gd name="connsiteY315" fmla="*/ 422850 h 590550"/>
                <a:gd name="connsiteX316" fmla="*/ 621911 w 628650"/>
                <a:gd name="connsiteY316" fmla="*/ 415468 h 590550"/>
                <a:gd name="connsiteX317" fmla="*/ 621911 w 628650"/>
                <a:gd name="connsiteY317" fmla="*/ 411782 h 590550"/>
                <a:gd name="connsiteX318" fmla="*/ 629293 w 628650"/>
                <a:gd name="connsiteY318" fmla="*/ 400704 h 590550"/>
                <a:gd name="connsiteX319" fmla="*/ 629293 w 628650"/>
                <a:gd name="connsiteY319" fmla="*/ 382253 h 590550"/>
                <a:gd name="connsiteX320" fmla="*/ 621911 w 628650"/>
                <a:gd name="connsiteY320" fmla="*/ 367491 h 590550"/>
                <a:gd name="connsiteX321" fmla="*/ 621911 w 628650"/>
                <a:gd name="connsiteY321" fmla="*/ 363801 h 590550"/>
                <a:gd name="connsiteX322" fmla="*/ 621911 w 628650"/>
                <a:gd name="connsiteY322" fmla="*/ 360110 h 590550"/>
                <a:gd name="connsiteX323" fmla="*/ 618225 w 628650"/>
                <a:gd name="connsiteY323" fmla="*/ 360110 h 590550"/>
                <a:gd name="connsiteX324" fmla="*/ 614539 w 628650"/>
                <a:gd name="connsiteY324" fmla="*/ 360110 h 590550"/>
                <a:gd name="connsiteX325" fmla="*/ 610843 w 628650"/>
                <a:gd name="connsiteY325" fmla="*/ 360110 h 590550"/>
                <a:gd name="connsiteX326" fmla="*/ 607157 w 628650"/>
                <a:gd name="connsiteY326" fmla="*/ 352729 h 590550"/>
                <a:gd name="connsiteX327" fmla="*/ 603471 w 628650"/>
                <a:gd name="connsiteY327" fmla="*/ 345348 h 590550"/>
                <a:gd name="connsiteX328" fmla="*/ 596089 w 628650"/>
                <a:gd name="connsiteY328" fmla="*/ 337967 h 590550"/>
                <a:gd name="connsiteX329" fmla="*/ 596089 w 628650"/>
                <a:gd name="connsiteY329" fmla="*/ 334276 h 590550"/>
                <a:gd name="connsiteX330" fmla="*/ 592403 w 628650"/>
                <a:gd name="connsiteY330" fmla="*/ 326895 h 590550"/>
                <a:gd name="connsiteX331" fmla="*/ 592403 w 628650"/>
                <a:gd name="connsiteY331" fmla="*/ 319514 h 590550"/>
                <a:gd name="connsiteX332" fmla="*/ 588707 w 628650"/>
                <a:gd name="connsiteY332" fmla="*/ 312132 h 590550"/>
                <a:gd name="connsiteX333" fmla="*/ 588707 w 628650"/>
                <a:gd name="connsiteY333" fmla="*/ 308442 h 590550"/>
                <a:gd name="connsiteX334" fmla="*/ 585021 w 628650"/>
                <a:gd name="connsiteY334" fmla="*/ 308442 h 590550"/>
                <a:gd name="connsiteX335" fmla="*/ 581335 w 628650"/>
                <a:gd name="connsiteY335" fmla="*/ 308442 h 590550"/>
                <a:gd name="connsiteX336" fmla="*/ 577639 w 628650"/>
                <a:gd name="connsiteY336" fmla="*/ 315823 h 590550"/>
                <a:gd name="connsiteX337" fmla="*/ 573953 w 628650"/>
                <a:gd name="connsiteY337" fmla="*/ 326895 h 590550"/>
                <a:gd name="connsiteX338" fmla="*/ 566571 w 628650"/>
                <a:gd name="connsiteY338" fmla="*/ 330585 h 590550"/>
                <a:gd name="connsiteX339" fmla="*/ 566571 w 628650"/>
                <a:gd name="connsiteY339" fmla="*/ 334276 h 590550"/>
                <a:gd name="connsiteX340" fmla="*/ 562885 w 628650"/>
                <a:gd name="connsiteY340" fmla="*/ 334276 h 590550"/>
                <a:gd name="connsiteX341" fmla="*/ 544444 w 628650"/>
                <a:gd name="connsiteY341" fmla="*/ 330585 h 590550"/>
                <a:gd name="connsiteX342" fmla="*/ 537062 w 628650"/>
                <a:gd name="connsiteY342" fmla="*/ 326895 h 590550"/>
                <a:gd name="connsiteX343" fmla="*/ 525994 w 628650"/>
                <a:gd name="connsiteY343" fmla="*/ 323204 h 590550"/>
                <a:gd name="connsiteX344" fmla="*/ 518612 w 628650"/>
                <a:gd name="connsiteY344" fmla="*/ 323204 h 590550"/>
                <a:gd name="connsiteX345" fmla="*/ 522308 w 628650"/>
                <a:gd name="connsiteY345" fmla="*/ 315823 h 590550"/>
                <a:gd name="connsiteX346" fmla="*/ 514926 w 628650"/>
                <a:gd name="connsiteY346" fmla="*/ 315823 h 590550"/>
                <a:gd name="connsiteX347" fmla="*/ 503858 w 628650"/>
                <a:gd name="connsiteY347" fmla="*/ 315823 h 590550"/>
                <a:gd name="connsiteX348" fmla="*/ 481722 w 628650"/>
                <a:gd name="connsiteY348" fmla="*/ 315823 h 590550"/>
                <a:gd name="connsiteX349" fmla="*/ 474350 w 628650"/>
                <a:gd name="connsiteY349" fmla="*/ 315823 h 590550"/>
                <a:gd name="connsiteX350" fmla="*/ 470654 w 628650"/>
                <a:gd name="connsiteY350" fmla="*/ 312132 h 590550"/>
                <a:gd name="connsiteX351" fmla="*/ 455900 w 628650"/>
                <a:gd name="connsiteY351" fmla="*/ 304751 h 590550"/>
                <a:gd name="connsiteX352" fmla="*/ 452214 w 628650"/>
                <a:gd name="connsiteY352" fmla="*/ 301060 h 590550"/>
                <a:gd name="connsiteX353" fmla="*/ 444832 w 628650"/>
                <a:gd name="connsiteY353" fmla="*/ 297371 h 590550"/>
                <a:gd name="connsiteX354" fmla="*/ 448518 w 628650"/>
                <a:gd name="connsiteY354" fmla="*/ 267846 h 590550"/>
                <a:gd name="connsiteX355" fmla="*/ 441146 w 628650"/>
                <a:gd name="connsiteY355" fmla="*/ 256774 h 590550"/>
                <a:gd name="connsiteX356" fmla="*/ 433764 w 628650"/>
                <a:gd name="connsiteY356" fmla="*/ 242012 h 590550"/>
                <a:gd name="connsiteX357" fmla="*/ 437450 w 628650"/>
                <a:gd name="connsiteY357" fmla="*/ 242012 h 590550"/>
                <a:gd name="connsiteX358" fmla="*/ 444832 w 628650"/>
                <a:gd name="connsiteY358" fmla="*/ 245702 h 590550"/>
                <a:gd name="connsiteX359" fmla="*/ 452214 w 628650"/>
                <a:gd name="connsiteY359" fmla="*/ 245702 h 590550"/>
                <a:gd name="connsiteX360" fmla="*/ 455900 w 628650"/>
                <a:gd name="connsiteY360" fmla="*/ 234630 h 590550"/>
                <a:gd name="connsiteX361" fmla="*/ 463282 w 628650"/>
                <a:gd name="connsiteY361" fmla="*/ 234630 h 590550"/>
                <a:gd name="connsiteX362" fmla="*/ 470654 w 628650"/>
                <a:gd name="connsiteY362" fmla="*/ 238321 h 590550"/>
                <a:gd name="connsiteX363" fmla="*/ 474350 w 628650"/>
                <a:gd name="connsiteY363" fmla="*/ 234630 h 590550"/>
                <a:gd name="connsiteX364" fmla="*/ 452214 w 628650"/>
                <a:gd name="connsiteY364" fmla="*/ 216178 h 590550"/>
                <a:gd name="connsiteX365" fmla="*/ 452214 w 628650"/>
                <a:gd name="connsiteY365" fmla="*/ 208797 h 590550"/>
                <a:gd name="connsiteX366" fmla="*/ 455900 w 628650"/>
                <a:gd name="connsiteY366" fmla="*/ 194035 h 590550"/>
                <a:gd name="connsiteX367" fmla="*/ 455900 w 628650"/>
                <a:gd name="connsiteY367" fmla="*/ 190344 h 590550"/>
                <a:gd name="connsiteX368" fmla="*/ 452214 w 628650"/>
                <a:gd name="connsiteY368" fmla="*/ 186653 h 590550"/>
                <a:gd name="connsiteX369" fmla="*/ 448518 w 628650"/>
                <a:gd name="connsiteY369" fmla="*/ 182963 h 590550"/>
                <a:gd name="connsiteX370" fmla="*/ 444832 w 628650"/>
                <a:gd name="connsiteY370" fmla="*/ 182963 h 590550"/>
                <a:gd name="connsiteX371" fmla="*/ 444832 w 628650"/>
                <a:gd name="connsiteY371" fmla="*/ 179272 h 590550"/>
                <a:gd name="connsiteX372" fmla="*/ 444832 w 628650"/>
                <a:gd name="connsiteY372" fmla="*/ 175582 h 590550"/>
                <a:gd name="connsiteX373" fmla="*/ 444832 w 628650"/>
                <a:gd name="connsiteY373" fmla="*/ 171891 h 590550"/>
                <a:gd name="connsiteX374" fmla="*/ 448518 w 628650"/>
                <a:gd name="connsiteY374" fmla="*/ 168200 h 590550"/>
                <a:gd name="connsiteX375" fmla="*/ 444832 w 628650"/>
                <a:gd name="connsiteY375" fmla="*/ 164510 h 590550"/>
                <a:gd name="connsiteX376" fmla="*/ 437450 w 628650"/>
                <a:gd name="connsiteY376" fmla="*/ 164510 h 590550"/>
                <a:gd name="connsiteX377" fmla="*/ 422696 w 628650"/>
                <a:gd name="connsiteY377" fmla="*/ 157129 h 590550"/>
                <a:gd name="connsiteX378" fmla="*/ 415314 w 628650"/>
                <a:gd name="connsiteY378" fmla="*/ 153438 h 590550"/>
                <a:gd name="connsiteX379" fmla="*/ 407942 w 628650"/>
                <a:gd name="connsiteY379" fmla="*/ 149747 h 590550"/>
                <a:gd name="connsiteX380" fmla="*/ 400560 w 628650"/>
                <a:gd name="connsiteY380" fmla="*/ 146057 h 590550"/>
                <a:gd name="connsiteX381" fmla="*/ 400560 w 628650"/>
                <a:gd name="connsiteY381" fmla="*/ 149747 h 590550"/>
                <a:gd name="connsiteX382" fmla="*/ 396873 w 628650"/>
                <a:gd name="connsiteY382" fmla="*/ 149747 h 590550"/>
                <a:gd name="connsiteX383" fmla="*/ 385805 w 628650"/>
                <a:gd name="connsiteY383" fmla="*/ 153438 h 590550"/>
                <a:gd name="connsiteX384" fmla="*/ 371051 w 628650"/>
                <a:gd name="connsiteY384" fmla="*/ 153438 h 590550"/>
                <a:gd name="connsiteX385" fmla="*/ 367355 w 628650"/>
                <a:gd name="connsiteY385" fmla="*/ 157129 h 590550"/>
                <a:gd name="connsiteX386" fmla="*/ 359983 w 628650"/>
                <a:gd name="connsiteY386" fmla="*/ 164510 h 590550"/>
                <a:gd name="connsiteX387" fmla="*/ 352601 w 628650"/>
                <a:gd name="connsiteY387" fmla="*/ 171891 h 590550"/>
                <a:gd name="connsiteX388" fmla="*/ 356287 w 628650"/>
                <a:gd name="connsiteY388" fmla="*/ 194035 h 590550"/>
                <a:gd name="connsiteX389" fmla="*/ 356287 w 628650"/>
                <a:gd name="connsiteY389" fmla="*/ 197725 h 590550"/>
                <a:gd name="connsiteX390" fmla="*/ 352601 w 628650"/>
                <a:gd name="connsiteY390" fmla="*/ 197725 h 590550"/>
                <a:gd name="connsiteX391" fmla="*/ 348915 w 628650"/>
                <a:gd name="connsiteY391" fmla="*/ 194035 h 590550"/>
                <a:gd name="connsiteX392" fmla="*/ 345219 w 628650"/>
                <a:gd name="connsiteY392" fmla="*/ 194035 h 590550"/>
                <a:gd name="connsiteX393" fmla="*/ 337847 w 628650"/>
                <a:gd name="connsiteY393" fmla="*/ 194035 h 590550"/>
                <a:gd name="connsiteX394" fmla="*/ 334161 w 628650"/>
                <a:gd name="connsiteY394" fmla="*/ 190344 h 590550"/>
                <a:gd name="connsiteX395" fmla="*/ 330465 w 628650"/>
                <a:gd name="connsiteY395" fmla="*/ 186653 h 590550"/>
                <a:gd name="connsiteX396" fmla="*/ 330465 w 628650"/>
                <a:gd name="connsiteY396" fmla="*/ 190344 h 590550"/>
                <a:gd name="connsiteX397" fmla="*/ 326779 w 628650"/>
                <a:gd name="connsiteY397" fmla="*/ 194035 h 590550"/>
                <a:gd name="connsiteX398" fmla="*/ 323093 w 628650"/>
                <a:gd name="connsiteY398" fmla="*/ 197725 h 590550"/>
                <a:gd name="connsiteX399" fmla="*/ 319397 w 628650"/>
                <a:gd name="connsiteY399" fmla="*/ 194035 h 590550"/>
                <a:gd name="connsiteX400" fmla="*/ 315711 w 628650"/>
                <a:gd name="connsiteY400" fmla="*/ 194035 h 590550"/>
                <a:gd name="connsiteX401" fmla="*/ 315711 w 628650"/>
                <a:gd name="connsiteY401" fmla="*/ 190344 h 590550"/>
                <a:gd name="connsiteX402" fmla="*/ 315711 w 628650"/>
                <a:gd name="connsiteY402" fmla="*/ 186653 h 590550"/>
                <a:gd name="connsiteX403" fmla="*/ 312025 w 628650"/>
                <a:gd name="connsiteY403" fmla="*/ 186653 h 590550"/>
                <a:gd name="connsiteX404" fmla="*/ 308329 w 628650"/>
                <a:gd name="connsiteY404" fmla="*/ 190344 h 590550"/>
                <a:gd name="connsiteX405" fmla="*/ 308329 w 628650"/>
                <a:gd name="connsiteY405" fmla="*/ 194035 h 590550"/>
                <a:gd name="connsiteX406" fmla="*/ 304643 w 628650"/>
                <a:gd name="connsiteY406" fmla="*/ 194035 h 590550"/>
                <a:gd name="connsiteX407" fmla="*/ 304643 w 628650"/>
                <a:gd name="connsiteY407" fmla="*/ 190344 h 590550"/>
                <a:gd name="connsiteX408" fmla="*/ 300957 w 628650"/>
                <a:gd name="connsiteY408" fmla="*/ 190344 h 590550"/>
                <a:gd name="connsiteX409" fmla="*/ 300957 w 628650"/>
                <a:gd name="connsiteY409" fmla="*/ 194035 h 590550"/>
                <a:gd name="connsiteX410" fmla="*/ 297261 w 628650"/>
                <a:gd name="connsiteY410" fmla="*/ 194035 h 590550"/>
                <a:gd name="connsiteX411" fmla="*/ 293575 w 628650"/>
                <a:gd name="connsiteY411" fmla="*/ 194035 h 590550"/>
                <a:gd name="connsiteX412" fmla="*/ 293575 w 628650"/>
                <a:gd name="connsiteY412" fmla="*/ 197725 h 590550"/>
                <a:gd name="connsiteX413" fmla="*/ 289889 w 628650"/>
                <a:gd name="connsiteY413" fmla="*/ 197725 h 590550"/>
                <a:gd name="connsiteX414" fmla="*/ 286193 w 628650"/>
                <a:gd name="connsiteY414" fmla="*/ 194035 h 590550"/>
                <a:gd name="connsiteX415" fmla="*/ 286193 w 628650"/>
                <a:gd name="connsiteY415" fmla="*/ 186653 h 590550"/>
                <a:gd name="connsiteX416" fmla="*/ 282507 w 628650"/>
                <a:gd name="connsiteY416" fmla="*/ 182963 h 590550"/>
                <a:gd name="connsiteX417" fmla="*/ 282507 w 628650"/>
                <a:gd name="connsiteY417" fmla="*/ 179272 h 590550"/>
                <a:gd name="connsiteX418" fmla="*/ 278821 w 628650"/>
                <a:gd name="connsiteY418" fmla="*/ 179272 h 590550"/>
                <a:gd name="connsiteX419" fmla="*/ 278821 w 628650"/>
                <a:gd name="connsiteY419" fmla="*/ 175582 h 590550"/>
                <a:gd name="connsiteX420" fmla="*/ 278821 w 628650"/>
                <a:gd name="connsiteY420" fmla="*/ 171891 h 590550"/>
                <a:gd name="connsiteX421" fmla="*/ 275125 w 628650"/>
                <a:gd name="connsiteY421" fmla="*/ 171891 h 590550"/>
                <a:gd name="connsiteX422" fmla="*/ 271439 w 628650"/>
                <a:gd name="connsiteY422" fmla="*/ 168200 h 590550"/>
                <a:gd name="connsiteX423" fmla="*/ 267753 w 628650"/>
                <a:gd name="connsiteY423" fmla="*/ 168200 h 590550"/>
                <a:gd name="connsiteX424" fmla="*/ 264066 w 628650"/>
                <a:gd name="connsiteY424" fmla="*/ 164510 h 590550"/>
                <a:gd name="connsiteX425" fmla="*/ 264066 w 628650"/>
                <a:gd name="connsiteY425" fmla="*/ 160819 h 590550"/>
                <a:gd name="connsiteX426" fmla="*/ 260371 w 628650"/>
                <a:gd name="connsiteY426" fmla="*/ 160819 h 590550"/>
                <a:gd name="connsiteX427" fmla="*/ 260371 w 628650"/>
                <a:gd name="connsiteY427" fmla="*/ 157129 h 590550"/>
                <a:gd name="connsiteX428" fmla="*/ 264066 w 628650"/>
                <a:gd name="connsiteY428" fmla="*/ 157129 h 590550"/>
                <a:gd name="connsiteX429" fmla="*/ 264066 w 628650"/>
                <a:gd name="connsiteY429" fmla="*/ 153438 h 590550"/>
                <a:gd name="connsiteX430" fmla="*/ 260371 w 628650"/>
                <a:gd name="connsiteY430" fmla="*/ 153438 h 590550"/>
                <a:gd name="connsiteX431" fmla="*/ 256684 w 628650"/>
                <a:gd name="connsiteY431" fmla="*/ 153438 h 590550"/>
                <a:gd name="connsiteX432" fmla="*/ 252998 w 628650"/>
                <a:gd name="connsiteY432" fmla="*/ 157129 h 590550"/>
                <a:gd name="connsiteX433" fmla="*/ 249303 w 628650"/>
                <a:gd name="connsiteY433" fmla="*/ 157129 h 590550"/>
                <a:gd name="connsiteX434" fmla="*/ 245616 w 628650"/>
                <a:gd name="connsiteY434" fmla="*/ 157129 h 590550"/>
                <a:gd name="connsiteX435" fmla="*/ 241930 w 628650"/>
                <a:gd name="connsiteY435" fmla="*/ 157129 h 590550"/>
                <a:gd name="connsiteX436" fmla="*/ 241930 w 628650"/>
                <a:gd name="connsiteY436" fmla="*/ 153438 h 590550"/>
                <a:gd name="connsiteX437" fmla="*/ 238235 w 628650"/>
                <a:gd name="connsiteY437" fmla="*/ 153438 h 590550"/>
                <a:gd name="connsiteX438" fmla="*/ 238235 w 628650"/>
                <a:gd name="connsiteY438" fmla="*/ 157129 h 590550"/>
                <a:gd name="connsiteX439" fmla="*/ 234548 w 628650"/>
                <a:gd name="connsiteY439" fmla="*/ 157129 h 590550"/>
                <a:gd name="connsiteX440" fmla="*/ 230862 w 628650"/>
                <a:gd name="connsiteY440" fmla="*/ 157129 h 590550"/>
                <a:gd name="connsiteX441" fmla="*/ 230862 w 628650"/>
                <a:gd name="connsiteY441" fmla="*/ 153438 h 590550"/>
                <a:gd name="connsiteX442" fmla="*/ 227166 w 628650"/>
                <a:gd name="connsiteY442" fmla="*/ 153438 h 590550"/>
                <a:gd name="connsiteX443" fmla="*/ 223480 w 628650"/>
                <a:gd name="connsiteY443" fmla="*/ 149747 h 590550"/>
                <a:gd name="connsiteX444" fmla="*/ 223480 w 628650"/>
                <a:gd name="connsiteY444" fmla="*/ 146057 h 590550"/>
                <a:gd name="connsiteX445" fmla="*/ 219794 w 628650"/>
                <a:gd name="connsiteY445" fmla="*/ 146057 h 590550"/>
                <a:gd name="connsiteX446" fmla="*/ 216098 w 628650"/>
                <a:gd name="connsiteY446" fmla="*/ 146057 h 590550"/>
                <a:gd name="connsiteX447" fmla="*/ 212412 w 628650"/>
                <a:gd name="connsiteY447" fmla="*/ 146057 h 590550"/>
                <a:gd name="connsiteX448" fmla="*/ 212412 w 628650"/>
                <a:gd name="connsiteY448" fmla="*/ 142366 h 590550"/>
                <a:gd name="connsiteX449" fmla="*/ 208726 w 628650"/>
                <a:gd name="connsiteY449" fmla="*/ 142366 h 590550"/>
                <a:gd name="connsiteX450" fmla="*/ 205030 w 628650"/>
                <a:gd name="connsiteY450" fmla="*/ 142366 h 590550"/>
                <a:gd name="connsiteX451" fmla="*/ 201344 w 628650"/>
                <a:gd name="connsiteY451" fmla="*/ 142366 h 590550"/>
                <a:gd name="connsiteX452" fmla="*/ 197658 w 628650"/>
                <a:gd name="connsiteY452" fmla="*/ 146057 h 590550"/>
                <a:gd name="connsiteX453" fmla="*/ 197658 w 628650"/>
                <a:gd name="connsiteY453" fmla="*/ 149747 h 590550"/>
                <a:gd name="connsiteX454" fmla="*/ 193962 w 628650"/>
                <a:gd name="connsiteY454" fmla="*/ 146057 h 590550"/>
                <a:gd name="connsiteX455" fmla="*/ 193962 w 628650"/>
                <a:gd name="connsiteY455" fmla="*/ 142366 h 590550"/>
                <a:gd name="connsiteX456" fmla="*/ 190276 w 628650"/>
                <a:gd name="connsiteY456" fmla="*/ 146057 h 590550"/>
                <a:gd name="connsiteX457" fmla="*/ 193962 w 628650"/>
                <a:gd name="connsiteY457" fmla="*/ 149747 h 590550"/>
                <a:gd name="connsiteX458" fmla="*/ 182904 w 628650"/>
                <a:gd name="connsiteY458" fmla="*/ 146057 h 590550"/>
                <a:gd name="connsiteX459" fmla="*/ 186590 w 628650"/>
                <a:gd name="connsiteY459" fmla="*/ 142366 h 590550"/>
                <a:gd name="connsiteX460" fmla="*/ 186590 w 628650"/>
                <a:gd name="connsiteY460" fmla="*/ 138675 h 590550"/>
                <a:gd name="connsiteX461" fmla="*/ 179208 w 628650"/>
                <a:gd name="connsiteY461" fmla="*/ 134985 h 590550"/>
                <a:gd name="connsiteX462" fmla="*/ 179208 w 628650"/>
                <a:gd name="connsiteY462" fmla="*/ 131295 h 590550"/>
                <a:gd name="connsiteX463" fmla="*/ 171836 w 628650"/>
                <a:gd name="connsiteY463" fmla="*/ 120223 h 590550"/>
                <a:gd name="connsiteX464" fmla="*/ 171836 w 628650"/>
                <a:gd name="connsiteY464" fmla="*/ 116533 h 590550"/>
                <a:gd name="connsiteX465" fmla="*/ 171836 w 628650"/>
                <a:gd name="connsiteY465" fmla="*/ 112842 h 590550"/>
                <a:gd name="connsiteX466" fmla="*/ 168140 w 628650"/>
                <a:gd name="connsiteY466" fmla="*/ 105461 h 590550"/>
                <a:gd name="connsiteX467" fmla="*/ 164454 w 628650"/>
                <a:gd name="connsiteY467" fmla="*/ 98080 h 590550"/>
                <a:gd name="connsiteX468" fmla="*/ 160768 w 628650"/>
                <a:gd name="connsiteY468" fmla="*/ 90698 h 590550"/>
                <a:gd name="connsiteX469" fmla="*/ 160768 w 628650"/>
                <a:gd name="connsiteY469" fmla="*/ 87008 h 590550"/>
                <a:gd name="connsiteX470" fmla="*/ 164454 w 628650"/>
                <a:gd name="connsiteY470" fmla="*/ 87008 h 590550"/>
                <a:gd name="connsiteX471" fmla="*/ 168140 w 628650"/>
                <a:gd name="connsiteY471" fmla="*/ 83317 h 590550"/>
                <a:gd name="connsiteX472" fmla="*/ 179208 w 628650"/>
                <a:gd name="connsiteY472" fmla="*/ 79627 h 590550"/>
                <a:gd name="connsiteX473" fmla="*/ 182904 w 628650"/>
                <a:gd name="connsiteY473" fmla="*/ 75936 h 590550"/>
                <a:gd name="connsiteX474" fmla="*/ 186590 w 628650"/>
                <a:gd name="connsiteY474" fmla="*/ 75936 h 590550"/>
                <a:gd name="connsiteX475" fmla="*/ 186590 w 628650"/>
                <a:gd name="connsiteY475" fmla="*/ 72246 h 590550"/>
                <a:gd name="connsiteX476" fmla="*/ 193962 w 628650"/>
                <a:gd name="connsiteY476" fmla="*/ 64864 h 590550"/>
                <a:gd name="connsiteX477" fmla="*/ 197658 w 628650"/>
                <a:gd name="connsiteY477" fmla="*/ 61174 h 590550"/>
                <a:gd name="connsiteX478" fmla="*/ 201344 w 628650"/>
                <a:gd name="connsiteY478" fmla="*/ 53792 h 590550"/>
                <a:gd name="connsiteX479" fmla="*/ 197658 w 628650"/>
                <a:gd name="connsiteY479" fmla="*/ 53792 h 590550"/>
                <a:gd name="connsiteX480" fmla="*/ 193962 w 628650"/>
                <a:gd name="connsiteY480" fmla="*/ 46412 h 590550"/>
                <a:gd name="connsiteX481" fmla="*/ 190276 w 628650"/>
                <a:gd name="connsiteY481" fmla="*/ 42722 h 590550"/>
                <a:gd name="connsiteX482" fmla="*/ 186590 w 628650"/>
                <a:gd name="connsiteY482" fmla="*/ 39031 h 590550"/>
                <a:gd name="connsiteX483" fmla="*/ 179208 w 628650"/>
                <a:gd name="connsiteY483" fmla="*/ 31650 h 590550"/>
                <a:gd name="connsiteX484" fmla="*/ 175522 w 628650"/>
                <a:gd name="connsiteY484" fmla="*/ 27959 h 590550"/>
                <a:gd name="connsiteX485" fmla="*/ 164454 w 628650"/>
                <a:gd name="connsiteY485" fmla="*/ 16887 h 590550"/>
                <a:gd name="connsiteX486" fmla="*/ 164454 w 628650"/>
                <a:gd name="connsiteY486" fmla="*/ 13197 h 590550"/>
                <a:gd name="connsiteX487" fmla="*/ 160768 w 628650"/>
                <a:gd name="connsiteY487" fmla="*/ 5815 h 590550"/>
                <a:gd name="connsiteX488" fmla="*/ 186590 w 628650"/>
                <a:gd name="connsiteY488" fmla="*/ 507737 h 590550"/>
                <a:gd name="connsiteX489" fmla="*/ 186590 w 628650"/>
                <a:gd name="connsiteY489" fmla="*/ 511423 h 590550"/>
                <a:gd name="connsiteX490" fmla="*/ 186590 w 628650"/>
                <a:gd name="connsiteY490" fmla="*/ 515109 h 590550"/>
                <a:gd name="connsiteX491" fmla="*/ 190276 w 628650"/>
                <a:gd name="connsiteY491" fmla="*/ 511423 h 590550"/>
                <a:gd name="connsiteX492" fmla="*/ 186590 w 628650"/>
                <a:gd name="connsiteY492" fmla="*/ 507737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Lst>
              <a:rect l="l" t="t" r="r" b="b"/>
              <a:pathLst>
                <a:path w="628650" h="590550">
                  <a:moveTo>
                    <a:pt x="160768" y="5815"/>
                  </a:moveTo>
                  <a:lnTo>
                    <a:pt x="149700" y="13197"/>
                  </a:lnTo>
                  <a:lnTo>
                    <a:pt x="146004" y="16887"/>
                  </a:lnTo>
                  <a:lnTo>
                    <a:pt x="142318" y="20578"/>
                  </a:lnTo>
                  <a:lnTo>
                    <a:pt x="131250" y="20578"/>
                  </a:lnTo>
                  <a:lnTo>
                    <a:pt x="127564" y="20578"/>
                  </a:lnTo>
                  <a:lnTo>
                    <a:pt x="131250" y="27959"/>
                  </a:lnTo>
                  <a:lnTo>
                    <a:pt x="131250" y="31650"/>
                  </a:lnTo>
                  <a:lnTo>
                    <a:pt x="127564" y="31650"/>
                  </a:lnTo>
                  <a:lnTo>
                    <a:pt x="123877" y="35340"/>
                  </a:lnTo>
                  <a:lnTo>
                    <a:pt x="116495" y="39031"/>
                  </a:lnTo>
                  <a:lnTo>
                    <a:pt x="116495" y="31650"/>
                  </a:lnTo>
                  <a:lnTo>
                    <a:pt x="105427" y="35340"/>
                  </a:lnTo>
                  <a:lnTo>
                    <a:pt x="101741" y="39031"/>
                  </a:lnTo>
                  <a:lnTo>
                    <a:pt x="101741" y="35340"/>
                  </a:lnTo>
                  <a:lnTo>
                    <a:pt x="98046" y="35340"/>
                  </a:lnTo>
                  <a:lnTo>
                    <a:pt x="94359" y="31650"/>
                  </a:lnTo>
                  <a:lnTo>
                    <a:pt x="90673" y="24269"/>
                  </a:lnTo>
                  <a:lnTo>
                    <a:pt x="90673" y="16887"/>
                  </a:lnTo>
                  <a:lnTo>
                    <a:pt x="83291" y="20578"/>
                  </a:lnTo>
                  <a:lnTo>
                    <a:pt x="83291" y="24269"/>
                  </a:lnTo>
                  <a:lnTo>
                    <a:pt x="75909" y="20578"/>
                  </a:lnTo>
                  <a:lnTo>
                    <a:pt x="75909" y="24269"/>
                  </a:lnTo>
                  <a:lnTo>
                    <a:pt x="68537" y="24269"/>
                  </a:lnTo>
                  <a:lnTo>
                    <a:pt x="64841" y="27959"/>
                  </a:lnTo>
                  <a:lnTo>
                    <a:pt x="64841" y="31650"/>
                  </a:lnTo>
                  <a:lnTo>
                    <a:pt x="61155" y="35340"/>
                  </a:lnTo>
                  <a:lnTo>
                    <a:pt x="61155" y="39031"/>
                  </a:lnTo>
                  <a:lnTo>
                    <a:pt x="57469" y="42722"/>
                  </a:lnTo>
                  <a:lnTo>
                    <a:pt x="53773" y="42722"/>
                  </a:lnTo>
                  <a:lnTo>
                    <a:pt x="53773" y="46412"/>
                  </a:lnTo>
                  <a:lnTo>
                    <a:pt x="50087" y="46412"/>
                  </a:lnTo>
                  <a:lnTo>
                    <a:pt x="46401" y="50102"/>
                  </a:lnTo>
                  <a:lnTo>
                    <a:pt x="42715" y="50102"/>
                  </a:lnTo>
                  <a:lnTo>
                    <a:pt x="39019" y="50102"/>
                  </a:lnTo>
                  <a:lnTo>
                    <a:pt x="35333" y="50102"/>
                  </a:lnTo>
                  <a:lnTo>
                    <a:pt x="31647" y="46412"/>
                  </a:lnTo>
                  <a:lnTo>
                    <a:pt x="27951" y="46412"/>
                  </a:lnTo>
                  <a:lnTo>
                    <a:pt x="24265" y="46412"/>
                  </a:lnTo>
                  <a:lnTo>
                    <a:pt x="24265" y="42722"/>
                  </a:lnTo>
                  <a:lnTo>
                    <a:pt x="20579" y="42722"/>
                  </a:lnTo>
                  <a:lnTo>
                    <a:pt x="16883" y="42722"/>
                  </a:lnTo>
                  <a:lnTo>
                    <a:pt x="16883" y="39031"/>
                  </a:lnTo>
                  <a:lnTo>
                    <a:pt x="13197" y="39031"/>
                  </a:lnTo>
                  <a:lnTo>
                    <a:pt x="5815" y="46412"/>
                  </a:lnTo>
                  <a:lnTo>
                    <a:pt x="9511" y="53792"/>
                  </a:lnTo>
                  <a:lnTo>
                    <a:pt x="13197" y="57483"/>
                  </a:lnTo>
                  <a:lnTo>
                    <a:pt x="16883" y="61174"/>
                  </a:lnTo>
                  <a:lnTo>
                    <a:pt x="16883" y="64864"/>
                  </a:lnTo>
                  <a:lnTo>
                    <a:pt x="24265" y="64864"/>
                  </a:lnTo>
                  <a:lnTo>
                    <a:pt x="31647" y="64864"/>
                  </a:lnTo>
                  <a:lnTo>
                    <a:pt x="35333" y="68555"/>
                  </a:lnTo>
                  <a:lnTo>
                    <a:pt x="46401" y="72246"/>
                  </a:lnTo>
                  <a:lnTo>
                    <a:pt x="50087" y="79627"/>
                  </a:lnTo>
                  <a:lnTo>
                    <a:pt x="53773" y="83317"/>
                  </a:lnTo>
                  <a:lnTo>
                    <a:pt x="57469" y="83317"/>
                  </a:lnTo>
                  <a:lnTo>
                    <a:pt x="64841" y="90698"/>
                  </a:lnTo>
                  <a:lnTo>
                    <a:pt x="68537" y="101770"/>
                  </a:lnTo>
                  <a:lnTo>
                    <a:pt x="75909" y="116533"/>
                  </a:lnTo>
                  <a:lnTo>
                    <a:pt x="75909" y="120223"/>
                  </a:lnTo>
                  <a:lnTo>
                    <a:pt x="79605" y="120223"/>
                  </a:lnTo>
                  <a:lnTo>
                    <a:pt x="83291" y="123914"/>
                  </a:lnTo>
                  <a:lnTo>
                    <a:pt x="83291" y="127604"/>
                  </a:lnTo>
                  <a:lnTo>
                    <a:pt x="86978" y="131295"/>
                  </a:lnTo>
                  <a:lnTo>
                    <a:pt x="86978" y="134985"/>
                  </a:lnTo>
                  <a:lnTo>
                    <a:pt x="86978" y="138675"/>
                  </a:lnTo>
                  <a:lnTo>
                    <a:pt x="79605" y="142366"/>
                  </a:lnTo>
                  <a:lnTo>
                    <a:pt x="75909" y="146057"/>
                  </a:lnTo>
                  <a:lnTo>
                    <a:pt x="72223" y="149747"/>
                  </a:lnTo>
                  <a:lnTo>
                    <a:pt x="72223" y="153438"/>
                  </a:lnTo>
                  <a:lnTo>
                    <a:pt x="72223" y="157129"/>
                  </a:lnTo>
                  <a:lnTo>
                    <a:pt x="75909" y="157129"/>
                  </a:lnTo>
                  <a:lnTo>
                    <a:pt x="75909" y="153438"/>
                  </a:lnTo>
                  <a:lnTo>
                    <a:pt x="83291" y="157129"/>
                  </a:lnTo>
                  <a:lnTo>
                    <a:pt x="86978" y="157129"/>
                  </a:lnTo>
                  <a:lnTo>
                    <a:pt x="94359" y="160819"/>
                  </a:lnTo>
                  <a:lnTo>
                    <a:pt x="98046" y="164510"/>
                  </a:lnTo>
                  <a:lnTo>
                    <a:pt x="101741" y="168200"/>
                  </a:lnTo>
                  <a:lnTo>
                    <a:pt x="109114" y="168200"/>
                  </a:lnTo>
                  <a:lnTo>
                    <a:pt x="112809" y="175582"/>
                  </a:lnTo>
                  <a:lnTo>
                    <a:pt x="109114" y="179272"/>
                  </a:lnTo>
                  <a:lnTo>
                    <a:pt x="98046" y="186653"/>
                  </a:lnTo>
                  <a:lnTo>
                    <a:pt x="94359" y="186653"/>
                  </a:lnTo>
                  <a:lnTo>
                    <a:pt x="83291" y="190344"/>
                  </a:lnTo>
                  <a:lnTo>
                    <a:pt x="83291" y="194035"/>
                  </a:lnTo>
                  <a:lnTo>
                    <a:pt x="75909" y="197725"/>
                  </a:lnTo>
                  <a:lnTo>
                    <a:pt x="72223" y="197725"/>
                  </a:lnTo>
                  <a:lnTo>
                    <a:pt x="64841" y="201416"/>
                  </a:lnTo>
                  <a:lnTo>
                    <a:pt x="61155" y="197725"/>
                  </a:lnTo>
                  <a:lnTo>
                    <a:pt x="57469" y="194035"/>
                  </a:lnTo>
                  <a:lnTo>
                    <a:pt x="27951" y="201416"/>
                  </a:lnTo>
                  <a:lnTo>
                    <a:pt x="24265" y="205107"/>
                  </a:lnTo>
                  <a:lnTo>
                    <a:pt x="24265" y="212488"/>
                  </a:lnTo>
                  <a:lnTo>
                    <a:pt x="24265" y="216178"/>
                  </a:lnTo>
                  <a:lnTo>
                    <a:pt x="24265" y="219868"/>
                  </a:lnTo>
                  <a:lnTo>
                    <a:pt x="27951" y="223559"/>
                  </a:lnTo>
                  <a:lnTo>
                    <a:pt x="27951" y="227249"/>
                  </a:lnTo>
                  <a:lnTo>
                    <a:pt x="13197" y="223559"/>
                  </a:lnTo>
                  <a:lnTo>
                    <a:pt x="16883" y="227249"/>
                  </a:lnTo>
                  <a:lnTo>
                    <a:pt x="20579" y="227249"/>
                  </a:lnTo>
                  <a:lnTo>
                    <a:pt x="24265" y="227249"/>
                  </a:lnTo>
                  <a:lnTo>
                    <a:pt x="24265" y="230940"/>
                  </a:lnTo>
                  <a:lnTo>
                    <a:pt x="27951" y="234630"/>
                  </a:lnTo>
                  <a:lnTo>
                    <a:pt x="27951" y="238321"/>
                  </a:lnTo>
                  <a:lnTo>
                    <a:pt x="27951" y="242012"/>
                  </a:lnTo>
                  <a:lnTo>
                    <a:pt x="31647" y="245702"/>
                  </a:lnTo>
                  <a:lnTo>
                    <a:pt x="35333" y="249393"/>
                  </a:lnTo>
                  <a:lnTo>
                    <a:pt x="35333" y="253083"/>
                  </a:lnTo>
                  <a:lnTo>
                    <a:pt x="35333" y="256774"/>
                  </a:lnTo>
                  <a:lnTo>
                    <a:pt x="39019" y="260465"/>
                  </a:lnTo>
                  <a:lnTo>
                    <a:pt x="39019" y="267846"/>
                  </a:lnTo>
                  <a:lnTo>
                    <a:pt x="39019" y="275227"/>
                  </a:lnTo>
                  <a:lnTo>
                    <a:pt x="46401" y="271537"/>
                  </a:lnTo>
                  <a:lnTo>
                    <a:pt x="50087" y="275227"/>
                  </a:lnTo>
                  <a:lnTo>
                    <a:pt x="57469" y="286299"/>
                  </a:lnTo>
                  <a:lnTo>
                    <a:pt x="61155" y="293680"/>
                  </a:lnTo>
                  <a:lnTo>
                    <a:pt x="68537" y="304751"/>
                  </a:lnTo>
                  <a:lnTo>
                    <a:pt x="68537" y="312132"/>
                  </a:lnTo>
                  <a:lnTo>
                    <a:pt x="75909" y="308442"/>
                  </a:lnTo>
                  <a:lnTo>
                    <a:pt x="79605" y="304751"/>
                  </a:lnTo>
                  <a:lnTo>
                    <a:pt x="83291" y="301060"/>
                  </a:lnTo>
                  <a:lnTo>
                    <a:pt x="83291" y="304751"/>
                  </a:lnTo>
                  <a:lnTo>
                    <a:pt x="86978" y="308442"/>
                  </a:lnTo>
                  <a:lnTo>
                    <a:pt x="90673" y="304751"/>
                  </a:lnTo>
                  <a:lnTo>
                    <a:pt x="98046" y="297371"/>
                  </a:lnTo>
                  <a:lnTo>
                    <a:pt x="105427" y="289990"/>
                  </a:lnTo>
                  <a:lnTo>
                    <a:pt x="109114" y="286299"/>
                  </a:lnTo>
                  <a:lnTo>
                    <a:pt x="112809" y="286299"/>
                  </a:lnTo>
                  <a:lnTo>
                    <a:pt x="116495" y="286299"/>
                  </a:lnTo>
                  <a:lnTo>
                    <a:pt x="120182" y="282608"/>
                  </a:lnTo>
                  <a:lnTo>
                    <a:pt x="123877" y="286299"/>
                  </a:lnTo>
                  <a:lnTo>
                    <a:pt x="127564" y="286299"/>
                  </a:lnTo>
                  <a:lnTo>
                    <a:pt x="131250" y="289990"/>
                  </a:lnTo>
                  <a:lnTo>
                    <a:pt x="134936" y="293680"/>
                  </a:lnTo>
                  <a:lnTo>
                    <a:pt x="134936" y="297371"/>
                  </a:lnTo>
                  <a:lnTo>
                    <a:pt x="134936" y="301060"/>
                  </a:lnTo>
                  <a:lnTo>
                    <a:pt x="138632" y="304751"/>
                  </a:lnTo>
                  <a:lnTo>
                    <a:pt x="149700" y="308442"/>
                  </a:lnTo>
                  <a:lnTo>
                    <a:pt x="153386" y="312132"/>
                  </a:lnTo>
                  <a:lnTo>
                    <a:pt x="153386" y="315823"/>
                  </a:lnTo>
                  <a:lnTo>
                    <a:pt x="157072" y="326895"/>
                  </a:lnTo>
                  <a:lnTo>
                    <a:pt x="157072" y="334276"/>
                  </a:lnTo>
                  <a:lnTo>
                    <a:pt x="160768" y="337967"/>
                  </a:lnTo>
                  <a:lnTo>
                    <a:pt x="164454" y="341657"/>
                  </a:lnTo>
                  <a:lnTo>
                    <a:pt x="164454" y="349038"/>
                  </a:lnTo>
                  <a:lnTo>
                    <a:pt x="160768" y="352729"/>
                  </a:lnTo>
                  <a:lnTo>
                    <a:pt x="160768" y="356420"/>
                  </a:lnTo>
                  <a:lnTo>
                    <a:pt x="160768" y="363801"/>
                  </a:lnTo>
                  <a:lnTo>
                    <a:pt x="164454" y="367491"/>
                  </a:lnTo>
                  <a:lnTo>
                    <a:pt x="168140" y="367491"/>
                  </a:lnTo>
                  <a:lnTo>
                    <a:pt x="168140" y="371182"/>
                  </a:lnTo>
                  <a:lnTo>
                    <a:pt x="168140" y="374873"/>
                  </a:lnTo>
                  <a:lnTo>
                    <a:pt x="168140" y="382253"/>
                  </a:lnTo>
                  <a:lnTo>
                    <a:pt x="164454" y="382253"/>
                  </a:lnTo>
                  <a:lnTo>
                    <a:pt x="164454" y="385943"/>
                  </a:lnTo>
                  <a:lnTo>
                    <a:pt x="160768" y="385943"/>
                  </a:lnTo>
                  <a:lnTo>
                    <a:pt x="153386" y="389634"/>
                  </a:lnTo>
                  <a:lnTo>
                    <a:pt x="146004" y="389634"/>
                  </a:lnTo>
                  <a:lnTo>
                    <a:pt x="146004" y="393323"/>
                  </a:lnTo>
                  <a:lnTo>
                    <a:pt x="142318" y="393323"/>
                  </a:lnTo>
                  <a:lnTo>
                    <a:pt x="142318" y="397018"/>
                  </a:lnTo>
                  <a:lnTo>
                    <a:pt x="146004" y="400704"/>
                  </a:lnTo>
                  <a:lnTo>
                    <a:pt x="149700" y="400704"/>
                  </a:lnTo>
                  <a:lnTo>
                    <a:pt x="153386" y="404400"/>
                  </a:lnTo>
                  <a:lnTo>
                    <a:pt x="149700" y="404400"/>
                  </a:lnTo>
                  <a:lnTo>
                    <a:pt x="146004" y="408086"/>
                  </a:lnTo>
                  <a:lnTo>
                    <a:pt x="142318" y="408086"/>
                  </a:lnTo>
                  <a:lnTo>
                    <a:pt x="142318" y="415468"/>
                  </a:lnTo>
                  <a:lnTo>
                    <a:pt x="142318" y="422850"/>
                  </a:lnTo>
                  <a:lnTo>
                    <a:pt x="142318" y="430232"/>
                  </a:lnTo>
                  <a:lnTo>
                    <a:pt x="138632" y="430232"/>
                  </a:lnTo>
                  <a:lnTo>
                    <a:pt x="138632" y="433918"/>
                  </a:lnTo>
                  <a:lnTo>
                    <a:pt x="142318" y="433918"/>
                  </a:lnTo>
                  <a:lnTo>
                    <a:pt x="146004" y="433918"/>
                  </a:lnTo>
                  <a:lnTo>
                    <a:pt x="146004" y="437614"/>
                  </a:lnTo>
                  <a:lnTo>
                    <a:pt x="146004" y="448682"/>
                  </a:lnTo>
                  <a:lnTo>
                    <a:pt x="149700" y="448682"/>
                  </a:lnTo>
                  <a:lnTo>
                    <a:pt x="153386" y="448682"/>
                  </a:lnTo>
                  <a:lnTo>
                    <a:pt x="157072" y="448682"/>
                  </a:lnTo>
                  <a:lnTo>
                    <a:pt x="157072" y="452377"/>
                  </a:lnTo>
                  <a:lnTo>
                    <a:pt x="157072" y="456064"/>
                  </a:lnTo>
                  <a:lnTo>
                    <a:pt x="160768" y="456064"/>
                  </a:lnTo>
                  <a:lnTo>
                    <a:pt x="160768" y="467132"/>
                  </a:lnTo>
                  <a:lnTo>
                    <a:pt x="164454" y="470827"/>
                  </a:lnTo>
                  <a:lnTo>
                    <a:pt x="168140" y="474514"/>
                  </a:lnTo>
                  <a:lnTo>
                    <a:pt x="168140" y="478209"/>
                  </a:lnTo>
                  <a:lnTo>
                    <a:pt x="168140" y="481895"/>
                  </a:lnTo>
                  <a:lnTo>
                    <a:pt x="168140" y="485591"/>
                  </a:lnTo>
                  <a:lnTo>
                    <a:pt x="171836" y="489277"/>
                  </a:lnTo>
                  <a:lnTo>
                    <a:pt x="175522" y="489277"/>
                  </a:lnTo>
                  <a:lnTo>
                    <a:pt x="179208" y="489277"/>
                  </a:lnTo>
                  <a:lnTo>
                    <a:pt x="182904" y="489277"/>
                  </a:lnTo>
                  <a:lnTo>
                    <a:pt x="182904" y="492973"/>
                  </a:lnTo>
                  <a:lnTo>
                    <a:pt x="179208" y="492973"/>
                  </a:lnTo>
                  <a:lnTo>
                    <a:pt x="175522" y="496659"/>
                  </a:lnTo>
                  <a:lnTo>
                    <a:pt x="175522" y="500355"/>
                  </a:lnTo>
                  <a:lnTo>
                    <a:pt x="179208" y="507737"/>
                  </a:lnTo>
                  <a:lnTo>
                    <a:pt x="182904" y="507737"/>
                  </a:lnTo>
                  <a:lnTo>
                    <a:pt x="186590" y="507737"/>
                  </a:lnTo>
                  <a:lnTo>
                    <a:pt x="186590" y="504041"/>
                  </a:lnTo>
                  <a:lnTo>
                    <a:pt x="193962" y="500355"/>
                  </a:lnTo>
                  <a:lnTo>
                    <a:pt x="197658" y="500355"/>
                  </a:lnTo>
                  <a:lnTo>
                    <a:pt x="197658" y="504041"/>
                  </a:lnTo>
                  <a:lnTo>
                    <a:pt x="205030" y="504041"/>
                  </a:lnTo>
                  <a:lnTo>
                    <a:pt x="208726" y="504041"/>
                  </a:lnTo>
                  <a:lnTo>
                    <a:pt x="212412" y="507737"/>
                  </a:lnTo>
                  <a:lnTo>
                    <a:pt x="212412" y="504041"/>
                  </a:lnTo>
                  <a:lnTo>
                    <a:pt x="216098" y="504041"/>
                  </a:lnTo>
                  <a:lnTo>
                    <a:pt x="219794" y="504041"/>
                  </a:lnTo>
                  <a:lnTo>
                    <a:pt x="223480" y="504041"/>
                  </a:lnTo>
                  <a:lnTo>
                    <a:pt x="230862" y="504041"/>
                  </a:lnTo>
                  <a:lnTo>
                    <a:pt x="234548" y="504041"/>
                  </a:lnTo>
                  <a:lnTo>
                    <a:pt x="238235" y="507737"/>
                  </a:lnTo>
                  <a:lnTo>
                    <a:pt x="241930" y="504041"/>
                  </a:lnTo>
                  <a:lnTo>
                    <a:pt x="245616" y="504041"/>
                  </a:lnTo>
                  <a:lnTo>
                    <a:pt x="249303" y="504041"/>
                  </a:lnTo>
                  <a:lnTo>
                    <a:pt x="252998" y="504041"/>
                  </a:lnTo>
                  <a:lnTo>
                    <a:pt x="252998" y="507737"/>
                  </a:lnTo>
                  <a:lnTo>
                    <a:pt x="264066" y="507737"/>
                  </a:lnTo>
                  <a:lnTo>
                    <a:pt x="264066" y="504041"/>
                  </a:lnTo>
                  <a:lnTo>
                    <a:pt x="271439" y="504041"/>
                  </a:lnTo>
                  <a:lnTo>
                    <a:pt x="271439" y="496659"/>
                  </a:lnTo>
                  <a:lnTo>
                    <a:pt x="275125" y="496659"/>
                  </a:lnTo>
                  <a:lnTo>
                    <a:pt x="278821" y="492973"/>
                  </a:lnTo>
                  <a:lnTo>
                    <a:pt x="286193" y="492973"/>
                  </a:lnTo>
                  <a:lnTo>
                    <a:pt x="289889" y="492973"/>
                  </a:lnTo>
                  <a:lnTo>
                    <a:pt x="293575" y="489277"/>
                  </a:lnTo>
                  <a:lnTo>
                    <a:pt x="293575" y="492973"/>
                  </a:lnTo>
                  <a:lnTo>
                    <a:pt x="297261" y="492973"/>
                  </a:lnTo>
                  <a:lnTo>
                    <a:pt x="300957" y="492973"/>
                  </a:lnTo>
                  <a:lnTo>
                    <a:pt x="308329" y="492973"/>
                  </a:lnTo>
                  <a:lnTo>
                    <a:pt x="312025" y="492973"/>
                  </a:lnTo>
                  <a:lnTo>
                    <a:pt x="312025" y="496659"/>
                  </a:lnTo>
                  <a:lnTo>
                    <a:pt x="312025" y="500355"/>
                  </a:lnTo>
                  <a:lnTo>
                    <a:pt x="315711" y="507737"/>
                  </a:lnTo>
                  <a:lnTo>
                    <a:pt x="326779" y="515109"/>
                  </a:lnTo>
                  <a:lnTo>
                    <a:pt x="326779" y="522491"/>
                  </a:lnTo>
                  <a:lnTo>
                    <a:pt x="330465" y="522491"/>
                  </a:lnTo>
                  <a:lnTo>
                    <a:pt x="330465" y="526187"/>
                  </a:lnTo>
                  <a:lnTo>
                    <a:pt x="337847" y="526187"/>
                  </a:lnTo>
                  <a:lnTo>
                    <a:pt x="337847" y="533569"/>
                  </a:lnTo>
                  <a:lnTo>
                    <a:pt x="341533" y="537255"/>
                  </a:lnTo>
                  <a:lnTo>
                    <a:pt x="341533" y="540951"/>
                  </a:lnTo>
                  <a:lnTo>
                    <a:pt x="345219" y="540951"/>
                  </a:lnTo>
                  <a:lnTo>
                    <a:pt x="348915" y="544637"/>
                  </a:lnTo>
                  <a:lnTo>
                    <a:pt x="356287" y="540951"/>
                  </a:lnTo>
                  <a:lnTo>
                    <a:pt x="359983" y="540951"/>
                  </a:lnTo>
                  <a:lnTo>
                    <a:pt x="378424" y="544637"/>
                  </a:lnTo>
                  <a:lnTo>
                    <a:pt x="393187" y="540951"/>
                  </a:lnTo>
                  <a:lnTo>
                    <a:pt x="396873" y="540951"/>
                  </a:lnTo>
                  <a:lnTo>
                    <a:pt x="404255" y="544637"/>
                  </a:lnTo>
                  <a:lnTo>
                    <a:pt x="400560" y="548332"/>
                  </a:lnTo>
                  <a:lnTo>
                    <a:pt x="404255" y="552019"/>
                  </a:lnTo>
                  <a:lnTo>
                    <a:pt x="407942" y="555714"/>
                  </a:lnTo>
                  <a:lnTo>
                    <a:pt x="407942" y="552019"/>
                  </a:lnTo>
                  <a:lnTo>
                    <a:pt x="411628" y="548332"/>
                  </a:lnTo>
                  <a:lnTo>
                    <a:pt x="415314" y="544637"/>
                  </a:lnTo>
                  <a:lnTo>
                    <a:pt x="419010" y="548332"/>
                  </a:lnTo>
                  <a:lnTo>
                    <a:pt x="419010" y="552019"/>
                  </a:lnTo>
                  <a:lnTo>
                    <a:pt x="422696" y="544637"/>
                  </a:lnTo>
                  <a:lnTo>
                    <a:pt x="426382" y="544637"/>
                  </a:lnTo>
                  <a:lnTo>
                    <a:pt x="437450" y="552019"/>
                  </a:lnTo>
                  <a:lnTo>
                    <a:pt x="437450" y="555714"/>
                  </a:lnTo>
                  <a:lnTo>
                    <a:pt x="437450" y="559400"/>
                  </a:lnTo>
                  <a:lnTo>
                    <a:pt x="437450" y="570468"/>
                  </a:lnTo>
                  <a:lnTo>
                    <a:pt x="430078" y="581546"/>
                  </a:lnTo>
                  <a:lnTo>
                    <a:pt x="437450" y="581546"/>
                  </a:lnTo>
                  <a:lnTo>
                    <a:pt x="441146" y="581546"/>
                  </a:lnTo>
                  <a:lnTo>
                    <a:pt x="448518" y="585232"/>
                  </a:lnTo>
                  <a:lnTo>
                    <a:pt x="455900" y="588928"/>
                  </a:lnTo>
                  <a:lnTo>
                    <a:pt x="459586" y="588928"/>
                  </a:lnTo>
                  <a:lnTo>
                    <a:pt x="481722" y="588928"/>
                  </a:lnTo>
                  <a:lnTo>
                    <a:pt x="511240" y="588928"/>
                  </a:lnTo>
                  <a:lnTo>
                    <a:pt x="522308" y="588928"/>
                  </a:lnTo>
                  <a:lnTo>
                    <a:pt x="525994" y="585232"/>
                  </a:lnTo>
                  <a:lnTo>
                    <a:pt x="529680" y="581546"/>
                  </a:lnTo>
                  <a:lnTo>
                    <a:pt x="533376" y="577850"/>
                  </a:lnTo>
                  <a:lnTo>
                    <a:pt x="533376" y="574164"/>
                  </a:lnTo>
                  <a:lnTo>
                    <a:pt x="537062" y="555714"/>
                  </a:lnTo>
                  <a:lnTo>
                    <a:pt x="540749" y="555714"/>
                  </a:lnTo>
                  <a:lnTo>
                    <a:pt x="540749" y="552019"/>
                  </a:lnTo>
                  <a:lnTo>
                    <a:pt x="551817" y="544637"/>
                  </a:lnTo>
                  <a:lnTo>
                    <a:pt x="551817" y="540951"/>
                  </a:lnTo>
                  <a:lnTo>
                    <a:pt x="562885" y="537255"/>
                  </a:lnTo>
                  <a:lnTo>
                    <a:pt x="573953" y="537255"/>
                  </a:lnTo>
                  <a:lnTo>
                    <a:pt x="577639" y="529873"/>
                  </a:lnTo>
                  <a:lnTo>
                    <a:pt x="577639" y="526187"/>
                  </a:lnTo>
                  <a:lnTo>
                    <a:pt x="581335" y="522491"/>
                  </a:lnTo>
                  <a:lnTo>
                    <a:pt x="581335" y="518805"/>
                  </a:lnTo>
                  <a:lnTo>
                    <a:pt x="585021" y="515109"/>
                  </a:lnTo>
                  <a:lnTo>
                    <a:pt x="585021" y="511423"/>
                  </a:lnTo>
                  <a:lnTo>
                    <a:pt x="585021" y="507737"/>
                  </a:lnTo>
                  <a:lnTo>
                    <a:pt x="585021" y="504041"/>
                  </a:lnTo>
                  <a:lnTo>
                    <a:pt x="588707" y="500355"/>
                  </a:lnTo>
                  <a:lnTo>
                    <a:pt x="596089" y="496659"/>
                  </a:lnTo>
                  <a:lnTo>
                    <a:pt x="599775" y="500355"/>
                  </a:lnTo>
                  <a:lnTo>
                    <a:pt x="603471" y="500355"/>
                  </a:lnTo>
                  <a:lnTo>
                    <a:pt x="607157" y="500355"/>
                  </a:lnTo>
                  <a:lnTo>
                    <a:pt x="614539" y="500355"/>
                  </a:lnTo>
                  <a:lnTo>
                    <a:pt x="625597" y="492973"/>
                  </a:lnTo>
                  <a:lnTo>
                    <a:pt x="625597" y="489277"/>
                  </a:lnTo>
                  <a:lnTo>
                    <a:pt x="614539" y="474514"/>
                  </a:lnTo>
                  <a:lnTo>
                    <a:pt x="610843" y="470827"/>
                  </a:lnTo>
                  <a:lnTo>
                    <a:pt x="610843" y="463446"/>
                  </a:lnTo>
                  <a:lnTo>
                    <a:pt x="607157" y="463446"/>
                  </a:lnTo>
                  <a:lnTo>
                    <a:pt x="607157" y="459759"/>
                  </a:lnTo>
                  <a:lnTo>
                    <a:pt x="607157" y="456064"/>
                  </a:lnTo>
                  <a:lnTo>
                    <a:pt x="607157" y="452377"/>
                  </a:lnTo>
                  <a:lnTo>
                    <a:pt x="607157" y="448682"/>
                  </a:lnTo>
                  <a:lnTo>
                    <a:pt x="610843" y="437614"/>
                  </a:lnTo>
                  <a:lnTo>
                    <a:pt x="610843" y="433918"/>
                  </a:lnTo>
                  <a:lnTo>
                    <a:pt x="614539" y="433918"/>
                  </a:lnTo>
                  <a:lnTo>
                    <a:pt x="614539" y="430232"/>
                  </a:lnTo>
                  <a:lnTo>
                    <a:pt x="618225" y="430232"/>
                  </a:lnTo>
                  <a:lnTo>
                    <a:pt x="618225" y="426536"/>
                  </a:lnTo>
                  <a:lnTo>
                    <a:pt x="618225" y="422850"/>
                  </a:lnTo>
                  <a:lnTo>
                    <a:pt x="621911" y="415468"/>
                  </a:lnTo>
                  <a:lnTo>
                    <a:pt x="621911" y="411782"/>
                  </a:lnTo>
                  <a:lnTo>
                    <a:pt x="629293" y="400704"/>
                  </a:lnTo>
                  <a:lnTo>
                    <a:pt x="629293" y="382253"/>
                  </a:lnTo>
                  <a:lnTo>
                    <a:pt x="621911" y="367491"/>
                  </a:lnTo>
                  <a:lnTo>
                    <a:pt x="621911" y="363801"/>
                  </a:lnTo>
                  <a:lnTo>
                    <a:pt x="621911" y="360110"/>
                  </a:lnTo>
                  <a:lnTo>
                    <a:pt x="618225" y="360110"/>
                  </a:lnTo>
                  <a:lnTo>
                    <a:pt x="614539" y="360110"/>
                  </a:lnTo>
                  <a:lnTo>
                    <a:pt x="610843" y="360110"/>
                  </a:lnTo>
                  <a:lnTo>
                    <a:pt x="607157" y="352729"/>
                  </a:lnTo>
                  <a:lnTo>
                    <a:pt x="603471" y="345348"/>
                  </a:lnTo>
                  <a:lnTo>
                    <a:pt x="596089" y="337967"/>
                  </a:lnTo>
                  <a:lnTo>
                    <a:pt x="596089" y="334276"/>
                  </a:lnTo>
                  <a:lnTo>
                    <a:pt x="592403" y="326895"/>
                  </a:lnTo>
                  <a:lnTo>
                    <a:pt x="592403" y="319514"/>
                  </a:lnTo>
                  <a:lnTo>
                    <a:pt x="588707" y="312132"/>
                  </a:lnTo>
                  <a:lnTo>
                    <a:pt x="588707" y="308442"/>
                  </a:lnTo>
                  <a:lnTo>
                    <a:pt x="585021" y="308442"/>
                  </a:lnTo>
                  <a:lnTo>
                    <a:pt x="581335" y="308442"/>
                  </a:lnTo>
                  <a:lnTo>
                    <a:pt x="577639" y="315823"/>
                  </a:lnTo>
                  <a:lnTo>
                    <a:pt x="573953" y="326895"/>
                  </a:lnTo>
                  <a:lnTo>
                    <a:pt x="566571" y="330585"/>
                  </a:lnTo>
                  <a:lnTo>
                    <a:pt x="566571" y="334276"/>
                  </a:lnTo>
                  <a:lnTo>
                    <a:pt x="562885" y="334276"/>
                  </a:lnTo>
                  <a:lnTo>
                    <a:pt x="544444" y="330585"/>
                  </a:lnTo>
                  <a:lnTo>
                    <a:pt x="537062" y="326895"/>
                  </a:lnTo>
                  <a:lnTo>
                    <a:pt x="525994" y="323204"/>
                  </a:lnTo>
                  <a:lnTo>
                    <a:pt x="518612" y="323204"/>
                  </a:lnTo>
                  <a:lnTo>
                    <a:pt x="522308" y="315823"/>
                  </a:lnTo>
                  <a:lnTo>
                    <a:pt x="514926" y="315823"/>
                  </a:lnTo>
                  <a:lnTo>
                    <a:pt x="503858" y="315823"/>
                  </a:lnTo>
                  <a:lnTo>
                    <a:pt x="481722" y="315823"/>
                  </a:lnTo>
                  <a:lnTo>
                    <a:pt x="474350" y="315823"/>
                  </a:lnTo>
                  <a:lnTo>
                    <a:pt x="470654" y="312132"/>
                  </a:lnTo>
                  <a:lnTo>
                    <a:pt x="455900" y="304751"/>
                  </a:lnTo>
                  <a:lnTo>
                    <a:pt x="452214" y="301060"/>
                  </a:lnTo>
                  <a:lnTo>
                    <a:pt x="444832" y="297371"/>
                  </a:lnTo>
                  <a:lnTo>
                    <a:pt x="448518" y="267846"/>
                  </a:lnTo>
                  <a:lnTo>
                    <a:pt x="441146" y="256774"/>
                  </a:lnTo>
                  <a:lnTo>
                    <a:pt x="433764" y="242012"/>
                  </a:lnTo>
                  <a:lnTo>
                    <a:pt x="437450" y="242012"/>
                  </a:lnTo>
                  <a:lnTo>
                    <a:pt x="444832" y="245702"/>
                  </a:lnTo>
                  <a:lnTo>
                    <a:pt x="452214" y="245702"/>
                  </a:lnTo>
                  <a:lnTo>
                    <a:pt x="455900" y="234630"/>
                  </a:lnTo>
                  <a:lnTo>
                    <a:pt x="463282" y="234630"/>
                  </a:lnTo>
                  <a:lnTo>
                    <a:pt x="470654" y="238321"/>
                  </a:lnTo>
                  <a:lnTo>
                    <a:pt x="474350" y="234630"/>
                  </a:lnTo>
                  <a:lnTo>
                    <a:pt x="452214" y="216178"/>
                  </a:lnTo>
                  <a:lnTo>
                    <a:pt x="452214" y="208797"/>
                  </a:lnTo>
                  <a:lnTo>
                    <a:pt x="455900" y="194035"/>
                  </a:lnTo>
                  <a:lnTo>
                    <a:pt x="455900" y="190344"/>
                  </a:lnTo>
                  <a:lnTo>
                    <a:pt x="452214" y="186653"/>
                  </a:lnTo>
                  <a:lnTo>
                    <a:pt x="448518" y="182963"/>
                  </a:lnTo>
                  <a:lnTo>
                    <a:pt x="444832" y="182963"/>
                  </a:lnTo>
                  <a:lnTo>
                    <a:pt x="444832" y="179272"/>
                  </a:lnTo>
                  <a:lnTo>
                    <a:pt x="444832" y="175582"/>
                  </a:lnTo>
                  <a:lnTo>
                    <a:pt x="444832" y="171891"/>
                  </a:lnTo>
                  <a:lnTo>
                    <a:pt x="448518" y="168200"/>
                  </a:lnTo>
                  <a:lnTo>
                    <a:pt x="444832" y="164510"/>
                  </a:lnTo>
                  <a:lnTo>
                    <a:pt x="437450" y="164510"/>
                  </a:lnTo>
                  <a:lnTo>
                    <a:pt x="422696" y="157129"/>
                  </a:lnTo>
                  <a:lnTo>
                    <a:pt x="415314" y="153438"/>
                  </a:lnTo>
                  <a:lnTo>
                    <a:pt x="407942" y="149747"/>
                  </a:lnTo>
                  <a:lnTo>
                    <a:pt x="400560" y="146057"/>
                  </a:lnTo>
                  <a:lnTo>
                    <a:pt x="400560" y="149747"/>
                  </a:lnTo>
                  <a:lnTo>
                    <a:pt x="396873" y="149747"/>
                  </a:lnTo>
                  <a:lnTo>
                    <a:pt x="385805" y="153438"/>
                  </a:lnTo>
                  <a:lnTo>
                    <a:pt x="371051" y="153438"/>
                  </a:lnTo>
                  <a:lnTo>
                    <a:pt x="367355" y="157129"/>
                  </a:lnTo>
                  <a:lnTo>
                    <a:pt x="359983" y="164510"/>
                  </a:lnTo>
                  <a:lnTo>
                    <a:pt x="352601" y="171891"/>
                  </a:lnTo>
                  <a:lnTo>
                    <a:pt x="356287" y="194035"/>
                  </a:lnTo>
                  <a:lnTo>
                    <a:pt x="356287" y="197725"/>
                  </a:lnTo>
                  <a:lnTo>
                    <a:pt x="352601" y="197725"/>
                  </a:lnTo>
                  <a:lnTo>
                    <a:pt x="348915" y="194035"/>
                  </a:lnTo>
                  <a:lnTo>
                    <a:pt x="345219" y="194035"/>
                  </a:lnTo>
                  <a:lnTo>
                    <a:pt x="337847" y="194035"/>
                  </a:lnTo>
                  <a:lnTo>
                    <a:pt x="334161" y="190344"/>
                  </a:lnTo>
                  <a:lnTo>
                    <a:pt x="330465" y="186653"/>
                  </a:lnTo>
                  <a:lnTo>
                    <a:pt x="330465" y="190344"/>
                  </a:lnTo>
                  <a:lnTo>
                    <a:pt x="326779" y="194035"/>
                  </a:lnTo>
                  <a:lnTo>
                    <a:pt x="323093" y="197725"/>
                  </a:lnTo>
                  <a:lnTo>
                    <a:pt x="319397" y="194035"/>
                  </a:lnTo>
                  <a:lnTo>
                    <a:pt x="315711" y="194035"/>
                  </a:lnTo>
                  <a:lnTo>
                    <a:pt x="315711" y="190344"/>
                  </a:lnTo>
                  <a:lnTo>
                    <a:pt x="315711" y="186653"/>
                  </a:lnTo>
                  <a:lnTo>
                    <a:pt x="312025" y="186653"/>
                  </a:lnTo>
                  <a:lnTo>
                    <a:pt x="308329" y="190344"/>
                  </a:lnTo>
                  <a:lnTo>
                    <a:pt x="308329" y="194035"/>
                  </a:lnTo>
                  <a:lnTo>
                    <a:pt x="304643" y="194035"/>
                  </a:lnTo>
                  <a:lnTo>
                    <a:pt x="304643" y="190344"/>
                  </a:lnTo>
                  <a:lnTo>
                    <a:pt x="300957" y="190344"/>
                  </a:lnTo>
                  <a:lnTo>
                    <a:pt x="300957" y="194035"/>
                  </a:lnTo>
                  <a:lnTo>
                    <a:pt x="297261" y="194035"/>
                  </a:lnTo>
                  <a:lnTo>
                    <a:pt x="293575" y="194035"/>
                  </a:lnTo>
                  <a:lnTo>
                    <a:pt x="293575" y="197725"/>
                  </a:lnTo>
                  <a:lnTo>
                    <a:pt x="289889" y="197725"/>
                  </a:lnTo>
                  <a:lnTo>
                    <a:pt x="286193" y="194035"/>
                  </a:lnTo>
                  <a:lnTo>
                    <a:pt x="286193" y="186653"/>
                  </a:lnTo>
                  <a:lnTo>
                    <a:pt x="282507" y="182963"/>
                  </a:lnTo>
                  <a:lnTo>
                    <a:pt x="282507" y="179272"/>
                  </a:lnTo>
                  <a:lnTo>
                    <a:pt x="278821" y="179272"/>
                  </a:lnTo>
                  <a:lnTo>
                    <a:pt x="278821" y="175582"/>
                  </a:lnTo>
                  <a:lnTo>
                    <a:pt x="278821" y="171891"/>
                  </a:lnTo>
                  <a:lnTo>
                    <a:pt x="275125" y="171891"/>
                  </a:lnTo>
                  <a:lnTo>
                    <a:pt x="271439" y="168200"/>
                  </a:lnTo>
                  <a:lnTo>
                    <a:pt x="267753" y="168200"/>
                  </a:lnTo>
                  <a:lnTo>
                    <a:pt x="264066" y="164510"/>
                  </a:lnTo>
                  <a:lnTo>
                    <a:pt x="264066" y="160819"/>
                  </a:lnTo>
                  <a:lnTo>
                    <a:pt x="260371" y="160819"/>
                  </a:lnTo>
                  <a:lnTo>
                    <a:pt x="260371" y="157129"/>
                  </a:lnTo>
                  <a:lnTo>
                    <a:pt x="264066" y="157129"/>
                  </a:lnTo>
                  <a:lnTo>
                    <a:pt x="264066" y="153438"/>
                  </a:lnTo>
                  <a:lnTo>
                    <a:pt x="260371" y="153438"/>
                  </a:lnTo>
                  <a:lnTo>
                    <a:pt x="256684" y="153438"/>
                  </a:lnTo>
                  <a:lnTo>
                    <a:pt x="252998" y="157129"/>
                  </a:lnTo>
                  <a:lnTo>
                    <a:pt x="249303" y="157129"/>
                  </a:lnTo>
                  <a:lnTo>
                    <a:pt x="245616" y="157129"/>
                  </a:lnTo>
                  <a:lnTo>
                    <a:pt x="241930" y="157129"/>
                  </a:lnTo>
                  <a:lnTo>
                    <a:pt x="241930" y="153438"/>
                  </a:lnTo>
                  <a:lnTo>
                    <a:pt x="238235" y="153438"/>
                  </a:lnTo>
                  <a:lnTo>
                    <a:pt x="238235" y="157129"/>
                  </a:lnTo>
                  <a:lnTo>
                    <a:pt x="234548" y="157129"/>
                  </a:lnTo>
                  <a:lnTo>
                    <a:pt x="230862" y="157129"/>
                  </a:lnTo>
                  <a:lnTo>
                    <a:pt x="230862" y="153438"/>
                  </a:lnTo>
                  <a:lnTo>
                    <a:pt x="227166" y="153438"/>
                  </a:lnTo>
                  <a:lnTo>
                    <a:pt x="223480" y="149747"/>
                  </a:lnTo>
                  <a:lnTo>
                    <a:pt x="223480" y="146057"/>
                  </a:lnTo>
                  <a:lnTo>
                    <a:pt x="219794" y="146057"/>
                  </a:lnTo>
                  <a:lnTo>
                    <a:pt x="216098" y="146057"/>
                  </a:lnTo>
                  <a:lnTo>
                    <a:pt x="212412" y="146057"/>
                  </a:lnTo>
                  <a:lnTo>
                    <a:pt x="212412" y="142366"/>
                  </a:lnTo>
                  <a:lnTo>
                    <a:pt x="208726" y="142366"/>
                  </a:lnTo>
                  <a:lnTo>
                    <a:pt x="205030" y="142366"/>
                  </a:lnTo>
                  <a:lnTo>
                    <a:pt x="201344" y="142366"/>
                  </a:lnTo>
                  <a:lnTo>
                    <a:pt x="197658" y="146057"/>
                  </a:lnTo>
                  <a:lnTo>
                    <a:pt x="197658" y="149747"/>
                  </a:lnTo>
                  <a:lnTo>
                    <a:pt x="193962" y="146057"/>
                  </a:lnTo>
                  <a:lnTo>
                    <a:pt x="193962" y="142366"/>
                  </a:lnTo>
                  <a:lnTo>
                    <a:pt x="190276" y="146057"/>
                  </a:lnTo>
                  <a:lnTo>
                    <a:pt x="193962" y="149747"/>
                  </a:lnTo>
                  <a:lnTo>
                    <a:pt x="182904" y="146057"/>
                  </a:lnTo>
                  <a:lnTo>
                    <a:pt x="186590" y="142366"/>
                  </a:lnTo>
                  <a:lnTo>
                    <a:pt x="186590" y="138675"/>
                  </a:lnTo>
                  <a:lnTo>
                    <a:pt x="179208" y="134985"/>
                  </a:lnTo>
                  <a:lnTo>
                    <a:pt x="179208" y="131295"/>
                  </a:lnTo>
                  <a:lnTo>
                    <a:pt x="171836" y="120223"/>
                  </a:lnTo>
                  <a:lnTo>
                    <a:pt x="171836" y="116533"/>
                  </a:lnTo>
                  <a:lnTo>
                    <a:pt x="171836" y="112842"/>
                  </a:lnTo>
                  <a:lnTo>
                    <a:pt x="168140" y="105461"/>
                  </a:lnTo>
                  <a:lnTo>
                    <a:pt x="164454" y="98080"/>
                  </a:lnTo>
                  <a:lnTo>
                    <a:pt x="160768" y="90698"/>
                  </a:lnTo>
                  <a:lnTo>
                    <a:pt x="160768" y="87008"/>
                  </a:lnTo>
                  <a:lnTo>
                    <a:pt x="164454" y="87008"/>
                  </a:lnTo>
                  <a:lnTo>
                    <a:pt x="168140" y="83317"/>
                  </a:lnTo>
                  <a:lnTo>
                    <a:pt x="179208" y="79627"/>
                  </a:lnTo>
                  <a:lnTo>
                    <a:pt x="182904" y="75936"/>
                  </a:lnTo>
                  <a:lnTo>
                    <a:pt x="186590" y="75936"/>
                  </a:lnTo>
                  <a:lnTo>
                    <a:pt x="186590" y="72246"/>
                  </a:lnTo>
                  <a:lnTo>
                    <a:pt x="193962" y="64864"/>
                  </a:lnTo>
                  <a:lnTo>
                    <a:pt x="197658" y="61174"/>
                  </a:lnTo>
                  <a:lnTo>
                    <a:pt x="201344" y="53792"/>
                  </a:lnTo>
                  <a:lnTo>
                    <a:pt x="197658" y="53792"/>
                  </a:lnTo>
                  <a:lnTo>
                    <a:pt x="193962" y="46412"/>
                  </a:lnTo>
                  <a:lnTo>
                    <a:pt x="190276" y="42722"/>
                  </a:lnTo>
                  <a:lnTo>
                    <a:pt x="186590" y="39031"/>
                  </a:lnTo>
                  <a:lnTo>
                    <a:pt x="179208" y="31650"/>
                  </a:lnTo>
                  <a:lnTo>
                    <a:pt x="175522" y="27959"/>
                  </a:lnTo>
                  <a:lnTo>
                    <a:pt x="164454" y="16887"/>
                  </a:lnTo>
                  <a:lnTo>
                    <a:pt x="164454" y="13197"/>
                  </a:lnTo>
                  <a:lnTo>
                    <a:pt x="160768" y="5815"/>
                  </a:lnTo>
                  <a:close/>
                  <a:moveTo>
                    <a:pt x="186590" y="507737"/>
                  </a:moveTo>
                  <a:lnTo>
                    <a:pt x="186590" y="511423"/>
                  </a:lnTo>
                  <a:lnTo>
                    <a:pt x="186590" y="515109"/>
                  </a:lnTo>
                  <a:lnTo>
                    <a:pt x="190276" y="511423"/>
                  </a:lnTo>
                  <a:lnTo>
                    <a:pt x="186590" y="507737"/>
                  </a:lnTo>
                  <a:close/>
                </a:path>
              </a:pathLst>
            </a:custGeom>
            <a:solidFill>
              <a:srgbClr val="FFBD42"/>
            </a:solidFill>
            <a:ln w="12821" cap="flat">
              <a:solidFill>
                <a:schemeClr val="bg1"/>
              </a:solidFill>
              <a:prstDash val="solid"/>
              <a:round/>
            </a:ln>
          </p:spPr>
          <p:txBody>
            <a:bodyPr rot="0" spcFirstLastPara="0" vertOverflow="overflow" horzOverflow="overflow" vert="horz" wrap="square" lIns="91440" tIns="180000" rIns="91440" bIns="4572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49</a:t>
              </a:r>
            </a:p>
          </p:txBody>
        </p:sp>
        <p:sp>
          <p:nvSpPr>
            <p:cNvPr id="290" name="Freeform: Shape 289">
              <a:extLst>
                <a:ext uri="{FF2B5EF4-FFF2-40B4-BE49-F238E27FC236}">
                  <a16:creationId xmlns:a16="http://schemas.microsoft.com/office/drawing/2014/main" id="{03123712-09E4-43A3-888B-E83D2F20C72C}"/>
                </a:ext>
              </a:extLst>
            </p:cNvPr>
            <p:cNvSpPr/>
            <p:nvPr/>
          </p:nvSpPr>
          <p:spPr>
            <a:xfrm>
              <a:off x="9023523" y="3741575"/>
              <a:ext cx="1475776" cy="1029969"/>
            </a:xfrm>
            <a:custGeom>
              <a:avLst/>
              <a:gdLst>
                <a:gd name="connsiteX0" fmla="*/ 437447 w 914400"/>
                <a:gd name="connsiteY0" fmla="*/ 5812 h 638175"/>
                <a:gd name="connsiteX1" fmla="*/ 430065 w 914400"/>
                <a:gd name="connsiteY1" fmla="*/ 9502 h 638175"/>
                <a:gd name="connsiteX2" fmla="*/ 430065 w 914400"/>
                <a:gd name="connsiteY2" fmla="*/ 13193 h 638175"/>
                <a:gd name="connsiteX3" fmla="*/ 426379 w 914400"/>
                <a:gd name="connsiteY3" fmla="*/ 24264 h 638175"/>
                <a:gd name="connsiteX4" fmla="*/ 422693 w 914400"/>
                <a:gd name="connsiteY4" fmla="*/ 31645 h 638175"/>
                <a:gd name="connsiteX5" fmla="*/ 422693 w 914400"/>
                <a:gd name="connsiteY5" fmla="*/ 35335 h 638175"/>
                <a:gd name="connsiteX6" fmla="*/ 422693 w 914400"/>
                <a:gd name="connsiteY6" fmla="*/ 39026 h 638175"/>
                <a:gd name="connsiteX7" fmla="*/ 418998 w 914400"/>
                <a:gd name="connsiteY7" fmla="*/ 46407 h 638175"/>
                <a:gd name="connsiteX8" fmla="*/ 418998 w 914400"/>
                <a:gd name="connsiteY8" fmla="*/ 50098 h 638175"/>
                <a:gd name="connsiteX9" fmla="*/ 418998 w 914400"/>
                <a:gd name="connsiteY9" fmla="*/ 53789 h 638175"/>
                <a:gd name="connsiteX10" fmla="*/ 415311 w 914400"/>
                <a:gd name="connsiteY10" fmla="*/ 50098 h 638175"/>
                <a:gd name="connsiteX11" fmla="*/ 415311 w 914400"/>
                <a:gd name="connsiteY11" fmla="*/ 57479 h 638175"/>
                <a:gd name="connsiteX12" fmla="*/ 411625 w 914400"/>
                <a:gd name="connsiteY12" fmla="*/ 57479 h 638175"/>
                <a:gd name="connsiteX13" fmla="*/ 411625 w 914400"/>
                <a:gd name="connsiteY13" fmla="*/ 53789 h 638175"/>
                <a:gd name="connsiteX14" fmla="*/ 411625 w 914400"/>
                <a:gd name="connsiteY14" fmla="*/ 50098 h 638175"/>
                <a:gd name="connsiteX15" fmla="*/ 407929 w 914400"/>
                <a:gd name="connsiteY15" fmla="*/ 57479 h 638175"/>
                <a:gd name="connsiteX16" fmla="*/ 407929 w 914400"/>
                <a:gd name="connsiteY16" fmla="*/ 61170 h 638175"/>
                <a:gd name="connsiteX17" fmla="*/ 411625 w 914400"/>
                <a:gd name="connsiteY17" fmla="*/ 61170 h 638175"/>
                <a:gd name="connsiteX18" fmla="*/ 411625 w 914400"/>
                <a:gd name="connsiteY18" fmla="*/ 64860 h 638175"/>
                <a:gd name="connsiteX19" fmla="*/ 407929 w 914400"/>
                <a:gd name="connsiteY19" fmla="*/ 64860 h 638175"/>
                <a:gd name="connsiteX20" fmla="*/ 411625 w 914400"/>
                <a:gd name="connsiteY20" fmla="*/ 68551 h 638175"/>
                <a:gd name="connsiteX21" fmla="*/ 407929 w 914400"/>
                <a:gd name="connsiteY21" fmla="*/ 72242 h 638175"/>
                <a:gd name="connsiteX22" fmla="*/ 404243 w 914400"/>
                <a:gd name="connsiteY22" fmla="*/ 75932 h 638175"/>
                <a:gd name="connsiteX23" fmla="*/ 393175 w 914400"/>
                <a:gd name="connsiteY23" fmla="*/ 87004 h 638175"/>
                <a:gd name="connsiteX24" fmla="*/ 385793 w 914400"/>
                <a:gd name="connsiteY24" fmla="*/ 94385 h 638175"/>
                <a:gd name="connsiteX25" fmla="*/ 378421 w 914400"/>
                <a:gd name="connsiteY25" fmla="*/ 98075 h 638175"/>
                <a:gd name="connsiteX26" fmla="*/ 378421 w 914400"/>
                <a:gd name="connsiteY26" fmla="*/ 101766 h 638175"/>
                <a:gd name="connsiteX27" fmla="*/ 374725 w 914400"/>
                <a:gd name="connsiteY27" fmla="*/ 101766 h 638175"/>
                <a:gd name="connsiteX28" fmla="*/ 371039 w 914400"/>
                <a:gd name="connsiteY28" fmla="*/ 105456 h 638175"/>
                <a:gd name="connsiteX29" fmla="*/ 367353 w 914400"/>
                <a:gd name="connsiteY29" fmla="*/ 105456 h 638175"/>
                <a:gd name="connsiteX30" fmla="*/ 363667 w 914400"/>
                <a:gd name="connsiteY30" fmla="*/ 109147 h 638175"/>
                <a:gd name="connsiteX31" fmla="*/ 363667 w 914400"/>
                <a:gd name="connsiteY31" fmla="*/ 112837 h 638175"/>
                <a:gd name="connsiteX32" fmla="*/ 359971 w 914400"/>
                <a:gd name="connsiteY32" fmla="*/ 112837 h 638175"/>
                <a:gd name="connsiteX33" fmla="*/ 359971 w 914400"/>
                <a:gd name="connsiteY33" fmla="*/ 116528 h 638175"/>
                <a:gd name="connsiteX34" fmla="*/ 356285 w 914400"/>
                <a:gd name="connsiteY34" fmla="*/ 116528 h 638175"/>
                <a:gd name="connsiteX35" fmla="*/ 352599 w 914400"/>
                <a:gd name="connsiteY35" fmla="*/ 116528 h 638175"/>
                <a:gd name="connsiteX36" fmla="*/ 345217 w 914400"/>
                <a:gd name="connsiteY36" fmla="*/ 120218 h 638175"/>
                <a:gd name="connsiteX37" fmla="*/ 341531 w 914400"/>
                <a:gd name="connsiteY37" fmla="*/ 123909 h 638175"/>
                <a:gd name="connsiteX38" fmla="*/ 337835 w 914400"/>
                <a:gd name="connsiteY38" fmla="*/ 123909 h 638175"/>
                <a:gd name="connsiteX39" fmla="*/ 334149 w 914400"/>
                <a:gd name="connsiteY39" fmla="*/ 127597 h 638175"/>
                <a:gd name="connsiteX40" fmla="*/ 326767 w 914400"/>
                <a:gd name="connsiteY40" fmla="*/ 131293 h 638175"/>
                <a:gd name="connsiteX41" fmla="*/ 323081 w 914400"/>
                <a:gd name="connsiteY41" fmla="*/ 131293 h 638175"/>
                <a:gd name="connsiteX42" fmla="*/ 319395 w 914400"/>
                <a:gd name="connsiteY42" fmla="*/ 134979 h 638175"/>
                <a:gd name="connsiteX43" fmla="*/ 315699 w 914400"/>
                <a:gd name="connsiteY43" fmla="*/ 138675 h 638175"/>
                <a:gd name="connsiteX44" fmla="*/ 315699 w 914400"/>
                <a:gd name="connsiteY44" fmla="*/ 142361 h 638175"/>
                <a:gd name="connsiteX45" fmla="*/ 312013 w 914400"/>
                <a:gd name="connsiteY45" fmla="*/ 142361 h 638175"/>
                <a:gd name="connsiteX46" fmla="*/ 308326 w 914400"/>
                <a:gd name="connsiteY46" fmla="*/ 142361 h 638175"/>
                <a:gd name="connsiteX47" fmla="*/ 308326 w 914400"/>
                <a:gd name="connsiteY47" fmla="*/ 146057 h 638175"/>
                <a:gd name="connsiteX48" fmla="*/ 308326 w 914400"/>
                <a:gd name="connsiteY48" fmla="*/ 149743 h 638175"/>
                <a:gd name="connsiteX49" fmla="*/ 304631 w 914400"/>
                <a:gd name="connsiteY49" fmla="*/ 149743 h 638175"/>
                <a:gd name="connsiteX50" fmla="*/ 304631 w 914400"/>
                <a:gd name="connsiteY50" fmla="*/ 153439 h 638175"/>
                <a:gd name="connsiteX51" fmla="*/ 300945 w 914400"/>
                <a:gd name="connsiteY51" fmla="*/ 153439 h 638175"/>
                <a:gd name="connsiteX52" fmla="*/ 300945 w 914400"/>
                <a:gd name="connsiteY52" fmla="*/ 157125 h 638175"/>
                <a:gd name="connsiteX53" fmla="*/ 297258 w 914400"/>
                <a:gd name="connsiteY53" fmla="*/ 157125 h 638175"/>
                <a:gd name="connsiteX54" fmla="*/ 297258 w 914400"/>
                <a:gd name="connsiteY54" fmla="*/ 160811 h 638175"/>
                <a:gd name="connsiteX55" fmla="*/ 289877 w 914400"/>
                <a:gd name="connsiteY55" fmla="*/ 164507 h 638175"/>
                <a:gd name="connsiteX56" fmla="*/ 286190 w 914400"/>
                <a:gd name="connsiteY56" fmla="*/ 168193 h 638175"/>
                <a:gd name="connsiteX57" fmla="*/ 282504 w 914400"/>
                <a:gd name="connsiteY57" fmla="*/ 171889 h 638175"/>
                <a:gd name="connsiteX58" fmla="*/ 282504 w 914400"/>
                <a:gd name="connsiteY58" fmla="*/ 175575 h 638175"/>
                <a:gd name="connsiteX59" fmla="*/ 278808 w 914400"/>
                <a:gd name="connsiteY59" fmla="*/ 182957 h 638175"/>
                <a:gd name="connsiteX60" fmla="*/ 278808 w 914400"/>
                <a:gd name="connsiteY60" fmla="*/ 190338 h 638175"/>
                <a:gd name="connsiteX61" fmla="*/ 275122 w 914400"/>
                <a:gd name="connsiteY61" fmla="*/ 197720 h 638175"/>
                <a:gd name="connsiteX62" fmla="*/ 275122 w 914400"/>
                <a:gd name="connsiteY62" fmla="*/ 201407 h 638175"/>
                <a:gd name="connsiteX63" fmla="*/ 271436 w 914400"/>
                <a:gd name="connsiteY63" fmla="*/ 208788 h 638175"/>
                <a:gd name="connsiteX64" fmla="*/ 267740 w 914400"/>
                <a:gd name="connsiteY64" fmla="*/ 212484 h 638175"/>
                <a:gd name="connsiteX65" fmla="*/ 252986 w 914400"/>
                <a:gd name="connsiteY65" fmla="*/ 212484 h 638175"/>
                <a:gd name="connsiteX66" fmla="*/ 249300 w 914400"/>
                <a:gd name="connsiteY66" fmla="*/ 212484 h 638175"/>
                <a:gd name="connsiteX67" fmla="*/ 241918 w 914400"/>
                <a:gd name="connsiteY67" fmla="*/ 219866 h 638175"/>
                <a:gd name="connsiteX68" fmla="*/ 238232 w 914400"/>
                <a:gd name="connsiteY68" fmla="*/ 216170 h 638175"/>
                <a:gd name="connsiteX69" fmla="*/ 234536 w 914400"/>
                <a:gd name="connsiteY69" fmla="*/ 219866 h 638175"/>
                <a:gd name="connsiteX70" fmla="*/ 223478 w 914400"/>
                <a:gd name="connsiteY70" fmla="*/ 223552 h 638175"/>
                <a:gd name="connsiteX71" fmla="*/ 216096 w 914400"/>
                <a:gd name="connsiteY71" fmla="*/ 223552 h 638175"/>
                <a:gd name="connsiteX72" fmla="*/ 212410 w 914400"/>
                <a:gd name="connsiteY72" fmla="*/ 227248 h 638175"/>
                <a:gd name="connsiteX73" fmla="*/ 205028 w 914400"/>
                <a:gd name="connsiteY73" fmla="*/ 227248 h 638175"/>
                <a:gd name="connsiteX74" fmla="*/ 201342 w 914400"/>
                <a:gd name="connsiteY74" fmla="*/ 245698 h 638175"/>
                <a:gd name="connsiteX75" fmla="*/ 201342 w 914400"/>
                <a:gd name="connsiteY75" fmla="*/ 249384 h 638175"/>
                <a:gd name="connsiteX76" fmla="*/ 208714 w 914400"/>
                <a:gd name="connsiteY76" fmla="*/ 253080 h 638175"/>
                <a:gd name="connsiteX77" fmla="*/ 208714 w 914400"/>
                <a:gd name="connsiteY77" fmla="*/ 249384 h 638175"/>
                <a:gd name="connsiteX78" fmla="*/ 223478 w 914400"/>
                <a:gd name="connsiteY78" fmla="*/ 260461 h 638175"/>
                <a:gd name="connsiteX79" fmla="*/ 223478 w 914400"/>
                <a:gd name="connsiteY79" fmla="*/ 264148 h 638175"/>
                <a:gd name="connsiteX80" fmla="*/ 223478 w 914400"/>
                <a:gd name="connsiteY80" fmla="*/ 267843 h 638175"/>
                <a:gd name="connsiteX81" fmla="*/ 223478 w 914400"/>
                <a:gd name="connsiteY81" fmla="*/ 271530 h 638175"/>
                <a:gd name="connsiteX82" fmla="*/ 223478 w 914400"/>
                <a:gd name="connsiteY82" fmla="*/ 275225 h 638175"/>
                <a:gd name="connsiteX83" fmla="*/ 223478 w 914400"/>
                <a:gd name="connsiteY83" fmla="*/ 286293 h 638175"/>
                <a:gd name="connsiteX84" fmla="*/ 227164 w 914400"/>
                <a:gd name="connsiteY84" fmla="*/ 289989 h 638175"/>
                <a:gd name="connsiteX85" fmla="*/ 245604 w 914400"/>
                <a:gd name="connsiteY85" fmla="*/ 289989 h 638175"/>
                <a:gd name="connsiteX86" fmla="*/ 245604 w 914400"/>
                <a:gd name="connsiteY86" fmla="*/ 293675 h 638175"/>
                <a:gd name="connsiteX87" fmla="*/ 241918 w 914400"/>
                <a:gd name="connsiteY87" fmla="*/ 293675 h 638175"/>
                <a:gd name="connsiteX88" fmla="*/ 245604 w 914400"/>
                <a:gd name="connsiteY88" fmla="*/ 297361 h 638175"/>
                <a:gd name="connsiteX89" fmla="*/ 245604 w 914400"/>
                <a:gd name="connsiteY89" fmla="*/ 301057 h 638175"/>
                <a:gd name="connsiteX90" fmla="*/ 245604 w 914400"/>
                <a:gd name="connsiteY90" fmla="*/ 304743 h 638175"/>
                <a:gd name="connsiteX91" fmla="*/ 249300 w 914400"/>
                <a:gd name="connsiteY91" fmla="*/ 304743 h 638175"/>
                <a:gd name="connsiteX92" fmla="*/ 252986 w 914400"/>
                <a:gd name="connsiteY92" fmla="*/ 304743 h 638175"/>
                <a:gd name="connsiteX93" fmla="*/ 252986 w 914400"/>
                <a:gd name="connsiteY93" fmla="*/ 312125 h 638175"/>
                <a:gd name="connsiteX94" fmla="*/ 260368 w 914400"/>
                <a:gd name="connsiteY94" fmla="*/ 312125 h 638175"/>
                <a:gd name="connsiteX95" fmla="*/ 260368 w 914400"/>
                <a:gd name="connsiteY95" fmla="*/ 315821 h 638175"/>
                <a:gd name="connsiteX96" fmla="*/ 260368 w 914400"/>
                <a:gd name="connsiteY96" fmla="*/ 319507 h 638175"/>
                <a:gd name="connsiteX97" fmla="*/ 252986 w 914400"/>
                <a:gd name="connsiteY97" fmla="*/ 319507 h 638175"/>
                <a:gd name="connsiteX98" fmla="*/ 252986 w 914400"/>
                <a:gd name="connsiteY98" fmla="*/ 323203 h 638175"/>
                <a:gd name="connsiteX99" fmla="*/ 252986 w 914400"/>
                <a:gd name="connsiteY99" fmla="*/ 326889 h 638175"/>
                <a:gd name="connsiteX100" fmla="*/ 256672 w 914400"/>
                <a:gd name="connsiteY100" fmla="*/ 326889 h 638175"/>
                <a:gd name="connsiteX101" fmla="*/ 256672 w 914400"/>
                <a:gd name="connsiteY101" fmla="*/ 330585 h 638175"/>
                <a:gd name="connsiteX102" fmla="*/ 252986 w 914400"/>
                <a:gd name="connsiteY102" fmla="*/ 330585 h 638175"/>
                <a:gd name="connsiteX103" fmla="*/ 249300 w 914400"/>
                <a:gd name="connsiteY103" fmla="*/ 330585 h 638175"/>
                <a:gd name="connsiteX104" fmla="*/ 249300 w 914400"/>
                <a:gd name="connsiteY104" fmla="*/ 334271 h 638175"/>
                <a:gd name="connsiteX105" fmla="*/ 245604 w 914400"/>
                <a:gd name="connsiteY105" fmla="*/ 337966 h 638175"/>
                <a:gd name="connsiteX106" fmla="*/ 245604 w 914400"/>
                <a:gd name="connsiteY106" fmla="*/ 345339 h 638175"/>
                <a:gd name="connsiteX107" fmla="*/ 245604 w 914400"/>
                <a:gd name="connsiteY107" fmla="*/ 349035 h 638175"/>
                <a:gd name="connsiteX108" fmla="*/ 241918 w 914400"/>
                <a:gd name="connsiteY108" fmla="*/ 352721 h 638175"/>
                <a:gd name="connsiteX109" fmla="*/ 238232 w 914400"/>
                <a:gd name="connsiteY109" fmla="*/ 356416 h 638175"/>
                <a:gd name="connsiteX110" fmla="*/ 234536 w 914400"/>
                <a:gd name="connsiteY110" fmla="*/ 356416 h 638175"/>
                <a:gd name="connsiteX111" fmla="*/ 234536 w 914400"/>
                <a:gd name="connsiteY111" fmla="*/ 360103 h 638175"/>
                <a:gd name="connsiteX112" fmla="*/ 238232 w 914400"/>
                <a:gd name="connsiteY112" fmla="*/ 363798 h 638175"/>
                <a:gd name="connsiteX113" fmla="*/ 245604 w 914400"/>
                <a:gd name="connsiteY113" fmla="*/ 367484 h 638175"/>
                <a:gd name="connsiteX114" fmla="*/ 249300 w 914400"/>
                <a:gd name="connsiteY114" fmla="*/ 367484 h 638175"/>
                <a:gd name="connsiteX115" fmla="*/ 252986 w 914400"/>
                <a:gd name="connsiteY115" fmla="*/ 367484 h 638175"/>
                <a:gd name="connsiteX116" fmla="*/ 256672 w 914400"/>
                <a:gd name="connsiteY116" fmla="*/ 363798 h 638175"/>
                <a:gd name="connsiteX117" fmla="*/ 260368 w 914400"/>
                <a:gd name="connsiteY117" fmla="*/ 360103 h 638175"/>
                <a:gd name="connsiteX118" fmla="*/ 264054 w 914400"/>
                <a:gd name="connsiteY118" fmla="*/ 360103 h 638175"/>
                <a:gd name="connsiteX119" fmla="*/ 267740 w 914400"/>
                <a:gd name="connsiteY119" fmla="*/ 356416 h 638175"/>
                <a:gd name="connsiteX120" fmla="*/ 267740 w 914400"/>
                <a:gd name="connsiteY120" fmla="*/ 352721 h 638175"/>
                <a:gd name="connsiteX121" fmla="*/ 271436 w 914400"/>
                <a:gd name="connsiteY121" fmla="*/ 352721 h 638175"/>
                <a:gd name="connsiteX122" fmla="*/ 271436 w 914400"/>
                <a:gd name="connsiteY122" fmla="*/ 349035 h 638175"/>
                <a:gd name="connsiteX123" fmla="*/ 271436 w 914400"/>
                <a:gd name="connsiteY123" fmla="*/ 345339 h 638175"/>
                <a:gd name="connsiteX124" fmla="*/ 267740 w 914400"/>
                <a:gd name="connsiteY124" fmla="*/ 341653 h 638175"/>
                <a:gd name="connsiteX125" fmla="*/ 278808 w 914400"/>
                <a:gd name="connsiteY125" fmla="*/ 337966 h 638175"/>
                <a:gd name="connsiteX126" fmla="*/ 282504 w 914400"/>
                <a:gd name="connsiteY126" fmla="*/ 345339 h 638175"/>
                <a:gd name="connsiteX127" fmla="*/ 282504 w 914400"/>
                <a:gd name="connsiteY127" fmla="*/ 349035 h 638175"/>
                <a:gd name="connsiteX128" fmla="*/ 282504 w 914400"/>
                <a:gd name="connsiteY128" fmla="*/ 352721 h 638175"/>
                <a:gd name="connsiteX129" fmla="*/ 282504 w 914400"/>
                <a:gd name="connsiteY129" fmla="*/ 356416 h 638175"/>
                <a:gd name="connsiteX130" fmla="*/ 286190 w 914400"/>
                <a:gd name="connsiteY130" fmla="*/ 360103 h 638175"/>
                <a:gd name="connsiteX131" fmla="*/ 282504 w 914400"/>
                <a:gd name="connsiteY131" fmla="*/ 363798 h 638175"/>
                <a:gd name="connsiteX132" fmla="*/ 282504 w 914400"/>
                <a:gd name="connsiteY132" fmla="*/ 367484 h 638175"/>
                <a:gd name="connsiteX133" fmla="*/ 282504 w 914400"/>
                <a:gd name="connsiteY133" fmla="*/ 385944 h 638175"/>
                <a:gd name="connsiteX134" fmla="*/ 289877 w 914400"/>
                <a:gd name="connsiteY134" fmla="*/ 385944 h 638175"/>
                <a:gd name="connsiteX135" fmla="*/ 289877 w 914400"/>
                <a:gd name="connsiteY135" fmla="*/ 389630 h 638175"/>
                <a:gd name="connsiteX136" fmla="*/ 286190 w 914400"/>
                <a:gd name="connsiteY136" fmla="*/ 389630 h 638175"/>
                <a:gd name="connsiteX137" fmla="*/ 297258 w 914400"/>
                <a:gd name="connsiteY137" fmla="*/ 397012 h 638175"/>
                <a:gd name="connsiteX138" fmla="*/ 297258 w 914400"/>
                <a:gd name="connsiteY138" fmla="*/ 408080 h 638175"/>
                <a:gd name="connsiteX139" fmla="*/ 297258 w 914400"/>
                <a:gd name="connsiteY139" fmla="*/ 411776 h 638175"/>
                <a:gd name="connsiteX140" fmla="*/ 297258 w 914400"/>
                <a:gd name="connsiteY140" fmla="*/ 415462 h 638175"/>
                <a:gd name="connsiteX141" fmla="*/ 297258 w 914400"/>
                <a:gd name="connsiteY141" fmla="*/ 419158 h 638175"/>
                <a:gd name="connsiteX142" fmla="*/ 300945 w 914400"/>
                <a:gd name="connsiteY142" fmla="*/ 422844 h 638175"/>
                <a:gd name="connsiteX143" fmla="*/ 304631 w 914400"/>
                <a:gd name="connsiteY143" fmla="*/ 426539 h 638175"/>
                <a:gd name="connsiteX144" fmla="*/ 308326 w 914400"/>
                <a:gd name="connsiteY144" fmla="*/ 426539 h 638175"/>
                <a:gd name="connsiteX145" fmla="*/ 308326 w 914400"/>
                <a:gd name="connsiteY145" fmla="*/ 430226 h 638175"/>
                <a:gd name="connsiteX146" fmla="*/ 312013 w 914400"/>
                <a:gd name="connsiteY146" fmla="*/ 437607 h 638175"/>
                <a:gd name="connsiteX147" fmla="*/ 312013 w 914400"/>
                <a:gd name="connsiteY147" fmla="*/ 441294 h 638175"/>
                <a:gd name="connsiteX148" fmla="*/ 315699 w 914400"/>
                <a:gd name="connsiteY148" fmla="*/ 444989 h 638175"/>
                <a:gd name="connsiteX149" fmla="*/ 312013 w 914400"/>
                <a:gd name="connsiteY149" fmla="*/ 448676 h 638175"/>
                <a:gd name="connsiteX150" fmla="*/ 315699 w 914400"/>
                <a:gd name="connsiteY150" fmla="*/ 452371 h 638175"/>
                <a:gd name="connsiteX151" fmla="*/ 315699 w 914400"/>
                <a:gd name="connsiteY151" fmla="*/ 456057 h 638175"/>
                <a:gd name="connsiteX152" fmla="*/ 315699 w 914400"/>
                <a:gd name="connsiteY152" fmla="*/ 459753 h 638175"/>
                <a:gd name="connsiteX153" fmla="*/ 312013 w 914400"/>
                <a:gd name="connsiteY153" fmla="*/ 463439 h 638175"/>
                <a:gd name="connsiteX154" fmla="*/ 304631 w 914400"/>
                <a:gd name="connsiteY154" fmla="*/ 467135 h 638175"/>
                <a:gd name="connsiteX155" fmla="*/ 297258 w 914400"/>
                <a:gd name="connsiteY155" fmla="*/ 463439 h 638175"/>
                <a:gd name="connsiteX156" fmla="*/ 286190 w 914400"/>
                <a:gd name="connsiteY156" fmla="*/ 459753 h 638175"/>
                <a:gd name="connsiteX157" fmla="*/ 278808 w 914400"/>
                <a:gd name="connsiteY157" fmla="*/ 456057 h 638175"/>
                <a:gd name="connsiteX158" fmla="*/ 275122 w 914400"/>
                <a:gd name="connsiteY158" fmla="*/ 448676 h 638175"/>
                <a:gd name="connsiteX159" fmla="*/ 271436 w 914400"/>
                <a:gd name="connsiteY159" fmla="*/ 448676 h 638175"/>
                <a:gd name="connsiteX160" fmla="*/ 267740 w 914400"/>
                <a:gd name="connsiteY160" fmla="*/ 448676 h 638175"/>
                <a:gd name="connsiteX161" fmla="*/ 264054 w 914400"/>
                <a:gd name="connsiteY161" fmla="*/ 444989 h 638175"/>
                <a:gd name="connsiteX162" fmla="*/ 260368 w 914400"/>
                <a:gd name="connsiteY162" fmla="*/ 444989 h 638175"/>
                <a:gd name="connsiteX163" fmla="*/ 252986 w 914400"/>
                <a:gd name="connsiteY163" fmla="*/ 441294 h 638175"/>
                <a:gd name="connsiteX164" fmla="*/ 249300 w 914400"/>
                <a:gd name="connsiteY164" fmla="*/ 437607 h 638175"/>
                <a:gd name="connsiteX165" fmla="*/ 245604 w 914400"/>
                <a:gd name="connsiteY165" fmla="*/ 437607 h 638175"/>
                <a:gd name="connsiteX166" fmla="*/ 241918 w 914400"/>
                <a:gd name="connsiteY166" fmla="*/ 437607 h 638175"/>
                <a:gd name="connsiteX167" fmla="*/ 230850 w 914400"/>
                <a:gd name="connsiteY167" fmla="*/ 437607 h 638175"/>
                <a:gd name="connsiteX168" fmla="*/ 227164 w 914400"/>
                <a:gd name="connsiteY168" fmla="*/ 433921 h 638175"/>
                <a:gd name="connsiteX169" fmla="*/ 223478 w 914400"/>
                <a:gd name="connsiteY169" fmla="*/ 433921 h 638175"/>
                <a:gd name="connsiteX170" fmla="*/ 219782 w 914400"/>
                <a:gd name="connsiteY170" fmla="*/ 437607 h 638175"/>
                <a:gd name="connsiteX171" fmla="*/ 216096 w 914400"/>
                <a:gd name="connsiteY171" fmla="*/ 441294 h 638175"/>
                <a:gd name="connsiteX172" fmla="*/ 212410 w 914400"/>
                <a:gd name="connsiteY172" fmla="*/ 441294 h 638175"/>
                <a:gd name="connsiteX173" fmla="*/ 205028 w 914400"/>
                <a:gd name="connsiteY173" fmla="*/ 444989 h 638175"/>
                <a:gd name="connsiteX174" fmla="*/ 201342 w 914400"/>
                <a:gd name="connsiteY174" fmla="*/ 444989 h 638175"/>
                <a:gd name="connsiteX175" fmla="*/ 197646 w 914400"/>
                <a:gd name="connsiteY175" fmla="*/ 448676 h 638175"/>
                <a:gd name="connsiteX176" fmla="*/ 193960 w 914400"/>
                <a:gd name="connsiteY176" fmla="*/ 448676 h 638175"/>
                <a:gd name="connsiteX177" fmla="*/ 186578 w 914400"/>
                <a:gd name="connsiteY177" fmla="*/ 444989 h 638175"/>
                <a:gd name="connsiteX178" fmla="*/ 182892 w 914400"/>
                <a:gd name="connsiteY178" fmla="*/ 448676 h 638175"/>
                <a:gd name="connsiteX179" fmla="*/ 179206 w 914400"/>
                <a:gd name="connsiteY179" fmla="*/ 448676 h 638175"/>
                <a:gd name="connsiteX180" fmla="*/ 175510 w 914400"/>
                <a:gd name="connsiteY180" fmla="*/ 452371 h 638175"/>
                <a:gd name="connsiteX181" fmla="*/ 175510 w 914400"/>
                <a:gd name="connsiteY181" fmla="*/ 456057 h 638175"/>
                <a:gd name="connsiteX182" fmla="*/ 171824 w 914400"/>
                <a:gd name="connsiteY182" fmla="*/ 456057 h 638175"/>
                <a:gd name="connsiteX183" fmla="*/ 168138 w 914400"/>
                <a:gd name="connsiteY183" fmla="*/ 459753 h 638175"/>
                <a:gd name="connsiteX184" fmla="*/ 164442 w 914400"/>
                <a:gd name="connsiteY184" fmla="*/ 459753 h 638175"/>
                <a:gd name="connsiteX185" fmla="*/ 160756 w 914400"/>
                <a:gd name="connsiteY185" fmla="*/ 456057 h 638175"/>
                <a:gd name="connsiteX186" fmla="*/ 157069 w 914400"/>
                <a:gd name="connsiteY186" fmla="*/ 452371 h 638175"/>
                <a:gd name="connsiteX187" fmla="*/ 146001 w 914400"/>
                <a:gd name="connsiteY187" fmla="*/ 452371 h 638175"/>
                <a:gd name="connsiteX188" fmla="*/ 142315 w 914400"/>
                <a:gd name="connsiteY188" fmla="*/ 452371 h 638175"/>
                <a:gd name="connsiteX189" fmla="*/ 134933 w 914400"/>
                <a:gd name="connsiteY189" fmla="*/ 444989 h 638175"/>
                <a:gd name="connsiteX190" fmla="*/ 127554 w 914400"/>
                <a:gd name="connsiteY190" fmla="*/ 441294 h 638175"/>
                <a:gd name="connsiteX191" fmla="*/ 123865 w 914400"/>
                <a:gd name="connsiteY191" fmla="*/ 441294 h 638175"/>
                <a:gd name="connsiteX192" fmla="*/ 120176 w 914400"/>
                <a:gd name="connsiteY192" fmla="*/ 441294 h 638175"/>
                <a:gd name="connsiteX193" fmla="*/ 120176 w 914400"/>
                <a:gd name="connsiteY193" fmla="*/ 448676 h 638175"/>
                <a:gd name="connsiteX194" fmla="*/ 116487 w 914400"/>
                <a:gd name="connsiteY194" fmla="*/ 452371 h 638175"/>
                <a:gd name="connsiteX195" fmla="*/ 112798 w 914400"/>
                <a:gd name="connsiteY195" fmla="*/ 456057 h 638175"/>
                <a:gd name="connsiteX196" fmla="*/ 109108 w 914400"/>
                <a:gd name="connsiteY196" fmla="*/ 456057 h 638175"/>
                <a:gd name="connsiteX197" fmla="*/ 105419 w 914400"/>
                <a:gd name="connsiteY197" fmla="*/ 456057 h 638175"/>
                <a:gd name="connsiteX198" fmla="*/ 101730 w 914400"/>
                <a:gd name="connsiteY198" fmla="*/ 452371 h 638175"/>
                <a:gd name="connsiteX199" fmla="*/ 98041 w 914400"/>
                <a:gd name="connsiteY199" fmla="*/ 448676 h 638175"/>
                <a:gd name="connsiteX200" fmla="*/ 94352 w 914400"/>
                <a:gd name="connsiteY200" fmla="*/ 456057 h 638175"/>
                <a:gd name="connsiteX201" fmla="*/ 90663 w 914400"/>
                <a:gd name="connsiteY201" fmla="*/ 467135 h 638175"/>
                <a:gd name="connsiteX202" fmla="*/ 83284 w 914400"/>
                <a:gd name="connsiteY202" fmla="*/ 474517 h 638175"/>
                <a:gd name="connsiteX203" fmla="*/ 79595 w 914400"/>
                <a:gd name="connsiteY203" fmla="*/ 478203 h 638175"/>
                <a:gd name="connsiteX204" fmla="*/ 83284 w 914400"/>
                <a:gd name="connsiteY204" fmla="*/ 478203 h 638175"/>
                <a:gd name="connsiteX205" fmla="*/ 79595 w 914400"/>
                <a:gd name="connsiteY205" fmla="*/ 481899 h 638175"/>
                <a:gd name="connsiteX206" fmla="*/ 75906 w 914400"/>
                <a:gd name="connsiteY206" fmla="*/ 489271 h 638175"/>
                <a:gd name="connsiteX207" fmla="*/ 72217 w 914400"/>
                <a:gd name="connsiteY207" fmla="*/ 489271 h 638175"/>
                <a:gd name="connsiteX208" fmla="*/ 72217 w 914400"/>
                <a:gd name="connsiteY208" fmla="*/ 492967 h 638175"/>
                <a:gd name="connsiteX209" fmla="*/ 68528 w 914400"/>
                <a:gd name="connsiteY209" fmla="*/ 504035 h 638175"/>
                <a:gd name="connsiteX210" fmla="*/ 64839 w 914400"/>
                <a:gd name="connsiteY210" fmla="*/ 507730 h 638175"/>
                <a:gd name="connsiteX211" fmla="*/ 64839 w 914400"/>
                <a:gd name="connsiteY211" fmla="*/ 511417 h 638175"/>
                <a:gd name="connsiteX212" fmla="*/ 61149 w 914400"/>
                <a:gd name="connsiteY212" fmla="*/ 511417 h 638175"/>
                <a:gd name="connsiteX213" fmla="*/ 53771 w 914400"/>
                <a:gd name="connsiteY213" fmla="*/ 511417 h 638175"/>
                <a:gd name="connsiteX214" fmla="*/ 50082 w 914400"/>
                <a:gd name="connsiteY214" fmla="*/ 511417 h 638175"/>
                <a:gd name="connsiteX215" fmla="*/ 50082 w 914400"/>
                <a:gd name="connsiteY215" fmla="*/ 518799 h 638175"/>
                <a:gd name="connsiteX216" fmla="*/ 46393 w 914400"/>
                <a:gd name="connsiteY216" fmla="*/ 522494 h 638175"/>
                <a:gd name="connsiteX217" fmla="*/ 42704 w 914400"/>
                <a:gd name="connsiteY217" fmla="*/ 522494 h 638175"/>
                <a:gd name="connsiteX218" fmla="*/ 39014 w 914400"/>
                <a:gd name="connsiteY218" fmla="*/ 522494 h 638175"/>
                <a:gd name="connsiteX219" fmla="*/ 35325 w 914400"/>
                <a:gd name="connsiteY219" fmla="*/ 522494 h 638175"/>
                <a:gd name="connsiteX220" fmla="*/ 35325 w 914400"/>
                <a:gd name="connsiteY220" fmla="*/ 526180 h 638175"/>
                <a:gd name="connsiteX221" fmla="*/ 35325 w 914400"/>
                <a:gd name="connsiteY221" fmla="*/ 529876 h 638175"/>
                <a:gd name="connsiteX222" fmla="*/ 39014 w 914400"/>
                <a:gd name="connsiteY222" fmla="*/ 533562 h 638175"/>
                <a:gd name="connsiteX223" fmla="*/ 39014 w 914400"/>
                <a:gd name="connsiteY223" fmla="*/ 537248 h 638175"/>
                <a:gd name="connsiteX224" fmla="*/ 35325 w 914400"/>
                <a:gd name="connsiteY224" fmla="*/ 537248 h 638175"/>
                <a:gd name="connsiteX225" fmla="*/ 31636 w 914400"/>
                <a:gd name="connsiteY225" fmla="*/ 533562 h 638175"/>
                <a:gd name="connsiteX226" fmla="*/ 20569 w 914400"/>
                <a:gd name="connsiteY226" fmla="*/ 537248 h 638175"/>
                <a:gd name="connsiteX227" fmla="*/ 16879 w 914400"/>
                <a:gd name="connsiteY227" fmla="*/ 533562 h 638175"/>
                <a:gd name="connsiteX228" fmla="*/ 9501 w 914400"/>
                <a:gd name="connsiteY228" fmla="*/ 537248 h 638175"/>
                <a:gd name="connsiteX229" fmla="*/ 5812 w 914400"/>
                <a:gd name="connsiteY229" fmla="*/ 533562 h 638175"/>
                <a:gd name="connsiteX230" fmla="*/ 5812 w 914400"/>
                <a:gd name="connsiteY230" fmla="*/ 537248 h 638175"/>
                <a:gd name="connsiteX231" fmla="*/ 5812 w 914400"/>
                <a:gd name="connsiteY231" fmla="*/ 540944 h 638175"/>
                <a:gd name="connsiteX232" fmla="*/ 9501 w 914400"/>
                <a:gd name="connsiteY232" fmla="*/ 544630 h 638175"/>
                <a:gd name="connsiteX233" fmla="*/ 5812 w 914400"/>
                <a:gd name="connsiteY233" fmla="*/ 544630 h 638175"/>
                <a:gd name="connsiteX234" fmla="*/ 9501 w 914400"/>
                <a:gd name="connsiteY234" fmla="*/ 548326 h 638175"/>
                <a:gd name="connsiteX235" fmla="*/ 13190 w 914400"/>
                <a:gd name="connsiteY235" fmla="*/ 548326 h 638175"/>
                <a:gd name="connsiteX236" fmla="*/ 16879 w 914400"/>
                <a:gd name="connsiteY236" fmla="*/ 548326 h 638175"/>
                <a:gd name="connsiteX237" fmla="*/ 24258 w 914400"/>
                <a:gd name="connsiteY237" fmla="*/ 548326 h 638175"/>
                <a:gd name="connsiteX238" fmla="*/ 20569 w 914400"/>
                <a:gd name="connsiteY238" fmla="*/ 563090 h 638175"/>
                <a:gd name="connsiteX239" fmla="*/ 20569 w 914400"/>
                <a:gd name="connsiteY239" fmla="*/ 566776 h 638175"/>
                <a:gd name="connsiteX240" fmla="*/ 13190 w 914400"/>
                <a:gd name="connsiteY240" fmla="*/ 566776 h 638175"/>
                <a:gd name="connsiteX241" fmla="*/ 13190 w 914400"/>
                <a:gd name="connsiteY241" fmla="*/ 570472 h 638175"/>
                <a:gd name="connsiteX242" fmla="*/ 13190 w 914400"/>
                <a:gd name="connsiteY242" fmla="*/ 574158 h 638175"/>
                <a:gd name="connsiteX243" fmla="*/ 16879 w 914400"/>
                <a:gd name="connsiteY243" fmla="*/ 574158 h 638175"/>
                <a:gd name="connsiteX244" fmla="*/ 20569 w 914400"/>
                <a:gd name="connsiteY244" fmla="*/ 577854 h 638175"/>
                <a:gd name="connsiteX245" fmla="*/ 27947 w 914400"/>
                <a:gd name="connsiteY245" fmla="*/ 581540 h 638175"/>
                <a:gd name="connsiteX246" fmla="*/ 31636 w 914400"/>
                <a:gd name="connsiteY246" fmla="*/ 585226 h 638175"/>
                <a:gd name="connsiteX247" fmla="*/ 35325 w 914400"/>
                <a:gd name="connsiteY247" fmla="*/ 585226 h 638175"/>
                <a:gd name="connsiteX248" fmla="*/ 35325 w 914400"/>
                <a:gd name="connsiteY248" fmla="*/ 588922 h 638175"/>
                <a:gd name="connsiteX249" fmla="*/ 39014 w 914400"/>
                <a:gd name="connsiteY249" fmla="*/ 592608 h 638175"/>
                <a:gd name="connsiteX250" fmla="*/ 39014 w 914400"/>
                <a:gd name="connsiteY250" fmla="*/ 596303 h 638175"/>
                <a:gd name="connsiteX251" fmla="*/ 42704 w 914400"/>
                <a:gd name="connsiteY251" fmla="*/ 596303 h 638175"/>
                <a:gd name="connsiteX252" fmla="*/ 42704 w 914400"/>
                <a:gd name="connsiteY252" fmla="*/ 599990 h 638175"/>
                <a:gd name="connsiteX253" fmla="*/ 46393 w 914400"/>
                <a:gd name="connsiteY253" fmla="*/ 599990 h 638175"/>
                <a:gd name="connsiteX254" fmla="*/ 50082 w 914400"/>
                <a:gd name="connsiteY254" fmla="*/ 596303 h 638175"/>
                <a:gd name="connsiteX255" fmla="*/ 53771 w 914400"/>
                <a:gd name="connsiteY255" fmla="*/ 592608 h 638175"/>
                <a:gd name="connsiteX256" fmla="*/ 57460 w 914400"/>
                <a:gd name="connsiteY256" fmla="*/ 592608 h 638175"/>
                <a:gd name="connsiteX257" fmla="*/ 61149 w 914400"/>
                <a:gd name="connsiteY257" fmla="*/ 596303 h 638175"/>
                <a:gd name="connsiteX258" fmla="*/ 64839 w 914400"/>
                <a:gd name="connsiteY258" fmla="*/ 599990 h 638175"/>
                <a:gd name="connsiteX259" fmla="*/ 75906 w 914400"/>
                <a:gd name="connsiteY259" fmla="*/ 603685 h 638175"/>
                <a:gd name="connsiteX260" fmla="*/ 75906 w 914400"/>
                <a:gd name="connsiteY260" fmla="*/ 607372 h 638175"/>
                <a:gd name="connsiteX261" fmla="*/ 75906 w 914400"/>
                <a:gd name="connsiteY261" fmla="*/ 611067 h 638175"/>
                <a:gd name="connsiteX262" fmla="*/ 75906 w 914400"/>
                <a:gd name="connsiteY262" fmla="*/ 614753 h 638175"/>
                <a:gd name="connsiteX263" fmla="*/ 79595 w 914400"/>
                <a:gd name="connsiteY263" fmla="*/ 618449 h 638175"/>
                <a:gd name="connsiteX264" fmla="*/ 75906 w 914400"/>
                <a:gd name="connsiteY264" fmla="*/ 622135 h 638175"/>
                <a:gd name="connsiteX265" fmla="*/ 72217 w 914400"/>
                <a:gd name="connsiteY265" fmla="*/ 625831 h 638175"/>
                <a:gd name="connsiteX266" fmla="*/ 68528 w 914400"/>
                <a:gd name="connsiteY266" fmla="*/ 625831 h 638175"/>
                <a:gd name="connsiteX267" fmla="*/ 68528 w 914400"/>
                <a:gd name="connsiteY267" fmla="*/ 629517 h 638175"/>
                <a:gd name="connsiteX268" fmla="*/ 72217 w 914400"/>
                <a:gd name="connsiteY268" fmla="*/ 633203 h 638175"/>
                <a:gd name="connsiteX269" fmla="*/ 79595 w 914400"/>
                <a:gd name="connsiteY269" fmla="*/ 629517 h 638175"/>
                <a:gd name="connsiteX270" fmla="*/ 86973 w 914400"/>
                <a:gd name="connsiteY270" fmla="*/ 629517 h 638175"/>
                <a:gd name="connsiteX271" fmla="*/ 94352 w 914400"/>
                <a:gd name="connsiteY271" fmla="*/ 629517 h 638175"/>
                <a:gd name="connsiteX272" fmla="*/ 98041 w 914400"/>
                <a:gd name="connsiteY272" fmla="*/ 629517 h 638175"/>
                <a:gd name="connsiteX273" fmla="*/ 105419 w 914400"/>
                <a:gd name="connsiteY273" fmla="*/ 629517 h 638175"/>
                <a:gd name="connsiteX274" fmla="*/ 109108 w 914400"/>
                <a:gd name="connsiteY274" fmla="*/ 629517 h 638175"/>
                <a:gd name="connsiteX275" fmla="*/ 112798 w 914400"/>
                <a:gd name="connsiteY275" fmla="*/ 629517 h 638175"/>
                <a:gd name="connsiteX276" fmla="*/ 116487 w 914400"/>
                <a:gd name="connsiteY276" fmla="*/ 625831 h 638175"/>
                <a:gd name="connsiteX277" fmla="*/ 120176 w 914400"/>
                <a:gd name="connsiteY277" fmla="*/ 629517 h 638175"/>
                <a:gd name="connsiteX278" fmla="*/ 127554 w 914400"/>
                <a:gd name="connsiteY278" fmla="*/ 633203 h 638175"/>
                <a:gd name="connsiteX279" fmla="*/ 131243 w 914400"/>
                <a:gd name="connsiteY279" fmla="*/ 636899 h 638175"/>
                <a:gd name="connsiteX280" fmla="*/ 134933 w 914400"/>
                <a:gd name="connsiteY280" fmla="*/ 633203 h 638175"/>
                <a:gd name="connsiteX281" fmla="*/ 138620 w 914400"/>
                <a:gd name="connsiteY281" fmla="*/ 629517 h 638175"/>
                <a:gd name="connsiteX282" fmla="*/ 146001 w 914400"/>
                <a:gd name="connsiteY282" fmla="*/ 629517 h 638175"/>
                <a:gd name="connsiteX283" fmla="*/ 153383 w 914400"/>
                <a:gd name="connsiteY283" fmla="*/ 633203 h 638175"/>
                <a:gd name="connsiteX284" fmla="*/ 157069 w 914400"/>
                <a:gd name="connsiteY284" fmla="*/ 633203 h 638175"/>
                <a:gd name="connsiteX285" fmla="*/ 157069 w 914400"/>
                <a:gd name="connsiteY285" fmla="*/ 629517 h 638175"/>
                <a:gd name="connsiteX286" fmla="*/ 164442 w 914400"/>
                <a:gd name="connsiteY286" fmla="*/ 625831 h 638175"/>
                <a:gd name="connsiteX287" fmla="*/ 182892 w 914400"/>
                <a:gd name="connsiteY287" fmla="*/ 618449 h 638175"/>
                <a:gd name="connsiteX288" fmla="*/ 182892 w 914400"/>
                <a:gd name="connsiteY288" fmla="*/ 614753 h 638175"/>
                <a:gd name="connsiteX289" fmla="*/ 186578 w 914400"/>
                <a:gd name="connsiteY289" fmla="*/ 614753 h 638175"/>
                <a:gd name="connsiteX290" fmla="*/ 186578 w 914400"/>
                <a:gd name="connsiteY290" fmla="*/ 607372 h 638175"/>
                <a:gd name="connsiteX291" fmla="*/ 186578 w 914400"/>
                <a:gd name="connsiteY291" fmla="*/ 599990 h 638175"/>
                <a:gd name="connsiteX292" fmla="*/ 190274 w 914400"/>
                <a:gd name="connsiteY292" fmla="*/ 592608 h 638175"/>
                <a:gd name="connsiteX293" fmla="*/ 190274 w 914400"/>
                <a:gd name="connsiteY293" fmla="*/ 588922 h 638175"/>
                <a:gd name="connsiteX294" fmla="*/ 197646 w 914400"/>
                <a:gd name="connsiteY294" fmla="*/ 577854 h 638175"/>
                <a:gd name="connsiteX295" fmla="*/ 201342 w 914400"/>
                <a:gd name="connsiteY295" fmla="*/ 574158 h 638175"/>
                <a:gd name="connsiteX296" fmla="*/ 205028 w 914400"/>
                <a:gd name="connsiteY296" fmla="*/ 570472 h 638175"/>
                <a:gd name="connsiteX297" fmla="*/ 205028 w 914400"/>
                <a:gd name="connsiteY297" fmla="*/ 566776 h 638175"/>
                <a:gd name="connsiteX298" fmla="*/ 208714 w 914400"/>
                <a:gd name="connsiteY298" fmla="*/ 563090 h 638175"/>
                <a:gd name="connsiteX299" fmla="*/ 212410 w 914400"/>
                <a:gd name="connsiteY299" fmla="*/ 563090 h 638175"/>
                <a:gd name="connsiteX300" fmla="*/ 212410 w 914400"/>
                <a:gd name="connsiteY300" fmla="*/ 566776 h 638175"/>
                <a:gd name="connsiteX301" fmla="*/ 216096 w 914400"/>
                <a:gd name="connsiteY301" fmla="*/ 570472 h 638175"/>
                <a:gd name="connsiteX302" fmla="*/ 219782 w 914400"/>
                <a:gd name="connsiteY302" fmla="*/ 574158 h 638175"/>
                <a:gd name="connsiteX303" fmla="*/ 223478 w 914400"/>
                <a:gd name="connsiteY303" fmla="*/ 574158 h 638175"/>
                <a:gd name="connsiteX304" fmla="*/ 230850 w 914400"/>
                <a:gd name="connsiteY304" fmla="*/ 574158 h 638175"/>
                <a:gd name="connsiteX305" fmla="*/ 238232 w 914400"/>
                <a:gd name="connsiteY305" fmla="*/ 574158 h 638175"/>
                <a:gd name="connsiteX306" fmla="*/ 241918 w 914400"/>
                <a:gd name="connsiteY306" fmla="*/ 570472 h 638175"/>
                <a:gd name="connsiteX307" fmla="*/ 245604 w 914400"/>
                <a:gd name="connsiteY307" fmla="*/ 563090 h 638175"/>
                <a:gd name="connsiteX308" fmla="*/ 245604 w 914400"/>
                <a:gd name="connsiteY308" fmla="*/ 559394 h 638175"/>
                <a:gd name="connsiteX309" fmla="*/ 249300 w 914400"/>
                <a:gd name="connsiteY309" fmla="*/ 559394 h 638175"/>
                <a:gd name="connsiteX310" fmla="*/ 252986 w 914400"/>
                <a:gd name="connsiteY310" fmla="*/ 559394 h 638175"/>
                <a:gd name="connsiteX311" fmla="*/ 256672 w 914400"/>
                <a:gd name="connsiteY311" fmla="*/ 559394 h 638175"/>
                <a:gd name="connsiteX312" fmla="*/ 260368 w 914400"/>
                <a:gd name="connsiteY312" fmla="*/ 563090 h 638175"/>
                <a:gd name="connsiteX313" fmla="*/ 260368 w 914400"/>
                <a:gd name="connsiteY313" fmla="*/ 566776 h 638175"/>
                <a:gd name="connsiteX314" fmla="*/ 264054 w 914400"/>
                <a:gd name="connsiteY314" fmla="*/ 566776 h 638175"/>
                <a:gd name="connsiteX315" fmla="*/ 267740 w 914400"/>
                <a:gd name="connsiteY315" fmla="*/ 566776 h 638175"/>
                <a:gd name="connsiteX316" fmla="*/ 271436 w 914400"/>
                <a:gd name="connsiteY316" fmla="*/ 570472 h 638175"/>
                <a:gd name="connsiteX317" fmla="*/ 275122 w 914400"/>
                <a:gd name="connsiteY317" fmla="*/ 570472 h 638175"/>
                <a:gd name="connsiteX318" fmla="*/ 278808 w 914400"/>
                <a:gd name="connsiteY318" fmla="*/ 566776 h 638175"/>
                <a:gd name="connsiteX319" fmla="*/ 278808 w 914400"/>
                <a:gd name="connsiteY319" fmla="*/ 563090 h 638175"/>
                <a:gd name="connsiteX320" fmla="*/ 282504 w 914400"/>
                <a:gd name="connsiteY320" fmla="*/ 559394 h 638175"/>
                <a:gd name="connsiteX321" fmla="*/ 286190 w 914400"/>
                <a:gd name="connsiteY321" fmla="*/ 559394 h 638175"/>
                <a:gd name="connsiteX322" fmla="*/ 293572 w 914400"/>
                <a:gd name="connsiteY322" fmla="*/ 559394 h 638175"/>
                <a:gd name="connsiteX323" fmla="*/ 297258 w 914400"/>
                <a:gd name="connsiteY323" fmla="*/ 559394 h 638175"/>
                <a:gd name="connsiteX324" fmla="*/ 300945 w 914400"/>
                <a:gd name="connsiteY324" fmla="*/ 559394 h 638175"/>
                <a:gd name="connsiteX325" fmla="*/ 308326 w 914400"/>
                <a:gd name="connsiteY325" fmla="*/ 563090 h 638175"/>
                <a:gd name="connsiteX326" fmla="*/ 312013 w 914400"/>
                <a:gd name="connsiteY326" fmla="*/ 566776 h 638175"/>
                <a:gd name="connsiteX327" fmla="*/ 315699 w 914400"/>
                <a:gd name="connsiteY327" fmla="*/ 566776 h 638175"/>
                <a:gd name="connsiteX328" fmla="*/ 323081 w 914400"/>
                <a:gd name="connsiteY328" fmla="*/ 566776 h 638175"/>
                <a:gd name="connsiteX329" fmla="*/ 326767 w 914400"/>
                <a:gd name="connsiteY329" fmla="*/ 570472 h 638175"/>
                <a:gd name="connsiteX330" fmla="*/ 326767 w 914400"/>
                <a:gd name="connsiteY330" fmla="*/ 577854 h 638175"/>
                <a:gd name="connsiteX331" fmla="*/ 330463 w 914400"/>
                <a:gd name="connsiteY331" fmla="*/ 581540 h 638175"/>
                <a:gd name="connsiteX332" fmla="*/ 334149 w 914400"/>
                <a:gd name="connsiteY332" fmla="*/ 585226 h 638175"/>
                <a:gd name="connsiteX333" fmla="*/ 337835 w 914400"/>
                <a:gd name="connsiteY333" fmla="*/ 588922 h 638175"/>
                <a:gd name="connsiteX334" fmla="*/ 341531 w 914400"/>
                <a:gd name="connsiteY334" fmla="*/ 588922 h 638175"/>
                <a:gd name="connsiteX335" fmla="*/ 345217 w 914400"/>
                <a:gd name="connsiteY335" fmla="*/ 588922 h 638175"/>
                <a:gd name="connsiteX336" fmla="*/ 348903 w 914400"/>
                <a:gd name="connsiteY336" fmla="*/ 592608 h 638175"/>
                <a:gd name="connsiteX337" fmla="*/ 352599 w 914400"/>
                <a:gd name="connsiteY337" fmla="*/ 592608 h 638175"/>
                <a:gd name="connsiteX338" fmla="*/ 352599 w 914400"/>
                <a:gd name="connsiteY338" fmla="*/ 599990 h 638175"/>
                <a:gd name="connsiteX339" fmla="*/ 356285 w 914400"/>
                <a:gd name="connsiteY339" fmla="*/ 599990 h 638175"/>
                <a:gd name="connsiteX340" fmla="*/ 359971 w 914400"/>
                <a:gd name="connsiteY340" fmla="*/ 603685 h 638175"/>
                <a:gd name="connsiteX341" fmla="*/ 363667 w 914400"/>
                <a:gd name="connsiteY341" fmla="*/ 603685 h 638175"/>
                <a:gd name="connsiteX342" fmla="*/ 367353 w 914400"/>
                <a:gd name="connsiteY342" fmla="*/ 603685 h 638175"/>
                <a:gd name="connsiteX343" fmla="*/ 371039 w 914400"/>
                <a:gd name="connsiteY343" fmla="*/ 607372 h 638175"/>
                <a:gd name="connsiteX344" fmla="*/ 374725 w 914400"/>
                <a:gd name="connsiteY344" fmla="*/ 611067 h 638175"/>
                <a:gd name="connsiteX345" fmla="*/ 374725 w 914400"/>
                <a:gd name="connsiteY345" fmla="*/ 614753 h 638175"/>
                <a:gd name="connsiteX346" fmla="*/ 378421 w 914400"/>
                <a:gd name="connsiteY346" fmla="*/ 618449 h 638175"/>
                <a:gd name="connsiteX347" fmla="*/ 382107 w 914400"/>
                <a:gd name="connsiteY347" fmla="*/ 618449 h 638175"/>
                <a:gd name="connsiteX348" fmla="*/ 385793 w 914400"/>
                <a:gd name="connsiteY348" fmla="*/ 618449 h 638175"/>
                <a:gd name="connsiteX349" fmla="*/ 393175 w 914400"/>
                <a:gd name="connsiteY349" fmla="*/ 618449 h 638175"/>
                <a:gd name="connsiteX350" fmla="*/ 396861 w 914400"/>
                <a:gd name="connsiteY350" fmla="*/ 618449 h 638175"/>
                <a:gd name="connsiteX351" fmla="*/ 407929 w 914400"/>
                <a:gd name="connsiteY351" fmla="*/ 614753 h 638175"/>
                <a:gd name="connsiteX352" fmla="*/ 411625 w 914400"/>
                <a:gd name="connsiteY352" fmla="*/ 614753 h 638175"/>
                <a:gd name="connsiteX353" fmla="*/ 422693 w 914400"/>
                <a:gd name="connsiteY353" fmla="*/ 614753 h 638175"/>
                <a:gd name="connsiteX354" fmla="*/ 430065 w 914400"/>
                <a:gd name="connsiteY354" fmla="*/ 614753 h 638175"/>
                <a:gd name="connsiteX355" fmla="*/ 433761 w 914400"/>
                <a:gd name="connsiteY355" fmla="*/ 614753 h 638175"/>
                <a:gd name="connsiteX356" fmla="*/ 437447 w 914400"/>
                <a:gd name="connsiteY356" fmla="*/ 614753 h 638175"/>
                <a:gd name="connsiteX357" fmla="*/ 437447 w 914400"/>
                <a:gd name="connsiteY357" fmla="*/ 611067 h 638175"/>
                <a:gd name="connsiteX358" fmla="*/ 437447 w 914400"/>
                <a:gd name="connsiteY358" fmla="*/ 607372 h 638175"/>
                <a:gd name="connsiteX359" fmla="*/ 433761 w 914400"/>
                <a:gd name="connsiteY359" fmla="*/ 603685 h 638175"/>
                <a:gd name="connsiteX360" fmla="*/ 437447 w 914400"/>
                <a:gd name="connsiteY360" fmla="*/ 599990 h 638175"/>
                <a:gd name="connsiteX361" fmla="*/ 444820 w 914400"/>
                <a:gd name="connsiteY361" fmla="*/ 599990 h 638175"/>
                <a:gd name="connsiteX362" fmla="*/ 448516 w 914400"/>
                <a:gd name="connsiteY362" fmla="*/ 599990 h 638175"/>
                <a:gd name="connsiteX363" fmla="*/ 452202 w 914400"/>
                <a:gd name="connsiteY363" fmla="*/ 603685 h 638175"/>
                <a:gd name="connsiteX364" fmla="*/ 455888 w 914400"/>
                <a:gd name="connsiteY364" fmla="*/ 607372 h 638175"/>
                <a:gd name="connsiteX365" fmla="*/ 455888 w 914400"/>
                <a:gd name="connsiteY365" fmla="*/ 611067 h 638175"/>
                <a:gd name="connsiteX366" fmla="*/ 459583 w 914400"/>
                <a:gd name="connsiteY366" fmla="*/ 614753 h 638175"/>
                <a:gd name="connsiteX367" fmla="*/ 459583 w 914400"/>
                <a:gd name="connsiteY367" fmla="*/ 618449 h 638175"/>
                <a:gd name="connsiteX368" fmla="*/ 463270 w 914400"/>
                <a:gd name="connsiteY368" fmla="*/ 622135 h 638175"/>
                <a:gd name="connsiteX369" fmla="*/ 466956 w 914400"/>
                <a:gd name="connsiteY369" fmla="*/ 622135 h 638175"/>
                <a:gd name="connsiteX370" fmla="*/ 466956 w 914400"/>
                <a:gd name="connsiteY370" fmla="*/ 625831 h 638175"/>
                <a:gd name="connsiteX371" fmla="*/ 470652 w 914400"/>
                <a:gd name="connsiteY371" fmla="*/ 629517 h 638175"/>
                <a:gd name="connsiteX372" fmla="*/ 474338 w 914400"/>
                <a:gd name="connsiteY372" fmla="*/ 629517 h 638175"/>
                <a:gd name="connsiteX373" fmla="*/ 478024 w 914400"/>
                <a:gd name="connsiteY373" fmla="*/ 625831 h 638175"/>
                <a:gd name="connsiteX374" fmla="*/ 478024 w 914400"/>
                <a:gd name="connsiteY374" fmla="*/ 622135 h 638175"/>
                <a:gd name="connsiteX375" fmla="*/ 481720 w 914400"/>
                <a:gd name="connsiteY375" fmla="*/ 618449 h 638175"/>
                <a:gd name="connsiteX376" fmla="*/ 489092 w 914400"/>
                <a:gd name="connsiteY376" fmla="*/ 614753 h 638175"/>
                <a:gd name="connsiteX377" fmla="*/ 492788 w 914400"/>
                <a:gd name="connsiteY377" fmla="*/ 614753 h 638175"/>
                <a:gd name="connsiteX378" fmla="*/ 496474 w 914400"/>
                <a:gd name="connsiteY378" fmla="*/ 607372 h 638175"/>
                <a:gd name="connsiteX379" fmla="*/ 496474 w 914400"/>
                <a:gd name="connsiteY379" fmla="*/ 603685 h 638175"/>
                <a:gd name="connsiteX380" fmla="*/ 492788 w 914400"/>
                <a:gd name="connsiteY380" fmla="*/ 603685 h 638175"/>
                <a:gd name="connsiteX381" fmla="*/ 492788 w 914400"/>
                <a:gd name="connsiteY381" fmla="*/ 596303 h 638175"/>
                <a:gd name="connsiteX382" fmla="*/ 496474 w 914400"/>
                <a:gd name="connsiteY382" fmla="*/ 596303 h 638175"/>
                <a:gd name="connsiteX383" fmla="*/ 492788 w 914400"/>
                <a:gd name="connsiteY383" fmla="*/ 592608 h 638175"/>
                <a:gd name="connsiteX384" fmla="*/ 489092 w 914400"/>
                <a:gd name="connsiteY384" fmla="*/ 592608 h 638175"/>
                <a:gd name="connsiteX385" fmla="*/ 489092 w 914400"/>
                <a:gd name="connsiteY385" fmla="*/ 588922 h 638175"/>
                <a:gd name="connsiteX386" fmla="*/ 489092 w 914400"/>
                <a:gd name="connsiteY386" fmla="*/ 585226 h 638175"/>
                <a:gd name="connsiteX387" fmla="*/ 489092 w 914400"/>
                <a:gd name="connsiteY387" fmla="*/ 581540 h 638175"/>
                <a:gd name="connsiteX388" fmla="*/ 481720 w 914400"/>
                <a:gd name="connsiteY388" fmla="*/ 574158 h 638175"/>
                <a:gd name="connsiteX389" fmla="*/ 478024 w 914400"/>
                <a:gd name="connsiteY389" fmla="*/ 574158 h 638175"/>
                <a:gd name="connsiteX390" fmla="*/ 474338 w 914400"/>
                <a:gd name="connsiteY390" fmla="*/ 574158 h 638175"/>
                <a:gd name="connsiteX391" fmla="*/ 474338 w 914400"/>
                <a:gd name="connsiteY391" fmla="*/ 570472 h 638175"/>
                <a:gd name="connsiteX392" fmla="*/ 478024 w 914400"/>
                <a:gd name="connsiteY392" fmla="*/ 566776 h 638175"/>
                <a:gd name="connsiteX393" fmla="*/ 481720 w 914400"/>
                <a:gd name="connsiteY393" fmla="*/ 566776 h 638175"/>
                <a:gd name="connsiteX394" fmla="*/ 474338 w 914400"/>
                <a:gd name="connsiteY394" fmla="*/ 563090 h 638175"/>
                <a:gd name="connsiteX395" fmla="*/ 481720 w 914400"/>
                <a:gd name="connsiteY395" fmla="*/ 552012 h 638175"/>
                <a:gd name="connsiteX396" fmla="*/ 485406 w 914400"/>
                <a:gd name="connsiteY396" fmla="*/ 552012 h 638175"/>
                <a:gd name="connsiteX397" fmla="*/ 485406 w 914400"/>
                <a:gd name="connsiteY397" fmla="*/ 555708 h 638175"/>
                <a:gd name="connsiteX398" fmla="*/ 492788 w 914400"/>
                <a:gd name="connsiteY398" fmla="*/ 555708 h 638175"/>
                <a:gd name="connsiteX399" fmla="*/ 496474 w 914400"/>
                <a:gd name="connsiteY399" fmla="*/ 555708 h 638175"/>
                <a:gd name="connsiteX400" fmla="*/ 503856 w 914400"/>
                <a:gd name="connsiteY400" fmla="*/ 552012 h 638175"/>
                <a:gd name="connsiteX401" fmla="*/ 507542 w 914400"/>
                <a:gd name="connsiteY401" fmla="*/ 552012 h 638175"/>
                <a:gd name="connsiteX402" fmla="*/ 511228 w 914400"/>
                <a:gd name="connsiteY402" fmla="*/ 548326 h 638175"/>
                <a:gd name="connsiteX403" fmla="*/ 514924 w 914400"/>
                <a:gd name="connsiteY403" fmla="*/ 544630 h 638175"/>
                <a:gd name="connsiteX404" fmla="*/ 518610 w 914400"/>
                <a:gd name="connsiteY404" fmla="*/ 548326 h 638175"/>
                <a:gd name="connsiteX405" fmla="*/ 522296 w 914400"/>
                <a:gd name="connsiteY405" fmla="*/ 544630 h 638175"/>
                <a:gd name="connsiteX406" fmla="*/ 525982 w 914400"/>
                <a:gd name="connsiteY406" fmla="*/ 540944 h 638175"/>
                <a:gd name="connsiteX407" fmla="*/ 529678 w 914400"/>
                <a:gd name="connsiteY407" fmla="*/ 540944 h 638175"/>
                <a:gd name="connsiteX408" fmla="*/ 525982 w 914400"/>
                <a:gd name="connsiteY408" fmla="*/ 537248 h 638175"/>
                <a:gd name="connsiteX409" fmla="*/ 529678 w 914400"/>
                <a:gd name="connsiteY409" fmla="*/ 533562 h 638175"/>
                <a:gd name="connsiteX410" fmla="*/ 533364 w 914400"/>
                <a:gd name="connsiteY410" fmla="*/ 529876 h 638175"/>
                <a:gd name="connsiteX411" fmla="*/ 537050 w 914400"/>
                <a:gd name="connsiteY411" fmla="*/ 533562 h 638175"/>
                <a:gd name="connsiteX412" fmla="*/ 544432 w 914400"/>
                <a:gd name="connsiteY412" fmla="*/ 540944 h 638175"/>
                <a:gd name="connsiteX413" fmla="*/ 548118 w 914400"/>
                <a:gd name="connsiteY413" fmla="*/ 540944 h 638175"/>
                <a:gd name="connsiteX414" fmla="*/ 551814 w 914400"/>
                <a:gd name="connsiteY414" fmla="*/ 540944 h 638175"/>
                <a:gd name="connsiteX415" fmla="*/ 566568 w 914400"/>
                <a:gd name="connsiteY415" fmla="*/ 544630 h 638175"/>
                <a:gd name="connsiteX416" fmla="*/ 577636 w 914400"/>
                <a:gd name="connsiteY416" fmla="*/ 544630 h 638175"/>
                <a:gd name="connsiteX417" fmla="*/ 581323 w 914400"/>
                <a:gd name="connsiteY417" fmla="*/ 548326 h 638175"/>
                <a:gd name="connsiteX418" fmla="*/ 581323 w 914400"/>
                <a:gd name="connsiteY418" fmla="*/ 540944 h 638175"/>
                <a:gd name="connsiteX419" fmla="*/ 581323 w 914400"/>
                <a:gd name="connsiteY419" fmla="*/ 537248 h 638175"/>
                <a:gd name="connsiteX420" fmla="*/ 581323 w 914400"/>
                <a:gd name="connsiteY420" fmla="*/ 533562 h 638175"/>
                <a:gd name="connsiteX421" fmla="*/ 581323 w 914400"/>
                <a:gd name="connsiteY421" fmla="*/ 529876 h 638175"/>
                <a:gd name="connsiteX422" fmla="*/ 573950 w 914400"/>
                <a:gd name="connsiteY422" fmla="*/ 526180 h 638175"/>
                <a:gd name="connsiteX423" fmla="*/ 570254 w 914400"/>
                <a:gd name="connsiteY423" fmla="*/ 526180 h 638175"/>
                <a:gd name="connsiteX424" fmla="*/ 570254 w 914400"/>
                <a:gd name="connsiteY424" fmla="*/ 522494 h 638175"/>
                <a:gd name="connsiteX425" fmla="*/ 570254 w 914400"/>
                <a:gd name="connsiteY425" fmla="*/ 518799 h 638175"/>
                <a:gd name="connsiteX426" fmla="*/ 566568 w 914400"/>
                <a:gd name="connsiteY426" fmla="*/ 511417 h 638175"/>
                <a:gd name="connsiteX427" fmla="*/ 562882 w 914400"/>
                <a:gd name="connsiteY427" fmla="*/ 507730 h 638175"/>
                <a:gd name="connsiteX428" fmla="*/ 555500 w 914400"/>
                <a:gd name="connsiteY428" fmla="*/ 507730 h 638175"/>
                <a:gd name="connsiteX429" fmla="*/ 551814 w 914400"/>
                <a:gd name="connsiteY429" fmla="*/ 507730 h 638175"/>
                <a:gd name="connsiteX430" fmla="*/ 555500 w 914400"/>
                <a:gd name="connsiteY430" fmla="*/ 504035 h 638175"/>
                <a:gd name="connsiteX431" fmla="*/ 555500 w 914400"/>
                <a:gd name="connsiteY431" fmla="*/ 500349 h 638175"/>
                <a:gd name="connsiteX432" fmla="*/ 559186 w 914400"/>
                <a:gd name="connsiteY432" fmla="*/ 500349 h 638175"/>
                <a:gd name="connsiteX433" fmla="*/ 562882 w 914400"/>
                <a:gd name="connsiteY433" fmla="*/ 504035 h 638175"/>
                <a:gd name="connsiteX434" fmla="*/ 577636 w 914400"/>
                <a:gd name="connsiteY434" fmla="*/ 496653 h 638175"/>
                <a:gd name="connsiteX435" fmla="*/ 581323 w 914400"/>
                <a:gd name="connsiteY435" fmla="*/ 500349 h 638175"/>
                <a:gd name="connsiteX436" fmla="*/ 585009 w 914400"/>
                <a:gd name="connsiteY436" fmla="*/ 500349 h 638175"/>
                <a:gd name="connsiteX437" fmla="*/ 588704 w 914400"/>
                <a:gd name="connsiteY437" fmla="*/ 504035 h 638175"/>
                <a:gd name="connsiteX438" fmla="*/ 596077 w 914400"/>
                <a:gd name="connsiteY438" fmla="*/ 507730 h 638175"/>
                <a:gd name="connsiteX439" fmla="*/ 596077 w 914400"/>
                <a:gd name="connsiteY439" fmla="*/ 511417 h 638175"/>
                <a:gd name="connsiteX440" fmla="*/ 588704 w 914400"/>
                <a:gd name="connsiteY440" fmla="*/ 511417 h 638175"/>
                <a:gd name="connsiteX441" fmla="*/ 592391 w 914400"/>
                <a:gd name="connsiteY441" fmla="*/ 515112 h 638175"/>
                <a:gd name="connsiteX442" fmla="*/ 596077 w 914400"/>
                <a:gd name="connsiteY442" fmla="*/ 518799 h 638175"/>
                <a:gd name="connsiteX443" fmla="*/ 599772 w 914400"/>
                <a:gd name="connsiteY443" fmla="*/ 522494 h 638175"/>
                <a:gd name="connsiteX444" fmla="*/ 607145 w 914400"/>
                <a:gd name="connsiteY444" fmla="*/ 526180 h 638175"/>
                <a:gd name="connsiteX445" fmla="*/ 614527 w 914400"/>
                <a:gd name="connsiteY445" fmla="*/ 526180 h 638175"/>
                <a:gd name="connsiteX446" fmla="*/ 614527 w 914400"/>
                <a:gd name="connsiteY446" fmla="*/ 522494 h 638175"/>
                <a:gd name="connsiteX447" fmla="*/ 621909 w 914400"/>
                <a:gd name="connsiteY447" fmla="*/ 522494 h 638175"/>
                <a:gd name="connsiteX448" fmla="*/ 625595 w 914400"/>
                <a:gd name="connsiteY448" fmla="*/ 526180 h 638175"/>
                <a:gd name="connsiteX449" fmla="*/ 629281 w 914400"/>
                <a:gd name="connsiteY449" fmla="*/ 526180 h 638175"/>
                <a:gd name="connsiteX450" fmla="*/ 629281 w 914400"/>
                <a:gd name="connsiteY450" fmla="*/ 522494 h 638175"/>
                <a:gd name="connsiteX451" fmla="*/ 632977 w 914400"/>
                <a:gd name="connsiteY451" fmla="*/ 522494 h 638175"/>
                <a:gd name="connsiteX452" fmla="*/ 632977 w 914400"/>
                <a:gd name="connsiteY452" fmla="*/ 518799 h 638175"/>
                <a:gd name="connsiteX453" fmla="*/ 636663 w 914400"/>
                <a:gd name="connsiteY453" fmla="*/ 522494 h 638175"/>
                <a:gd name="connsiteX454" fmla="*/ 647731 w 914400"/>
                <a:gd name="connsiteY454" fmla="*/ 526180 h 638175"/>
                <a:gd name="connsiteX455" fmla="*/ 647731 w 914400"/>
                <a:gd name="connsiteY455" fmla="*/ 529876 h 638175"/>
                <a:gd name="connsiteX456" fmla="*/ 651417 w 914400"/>
                <a:gd name="connsiteY456" fmla="*/ 537248 h 638175"/>
                <a:gd name="connsiteX457" fmla="*/ 651417 w 914400"/>
                <a:gd name="connsiteY457" fmla="*/ 540944 h 638175"/>
                <a:gd name="connsiteX458" fmla="*/ 658799 w 914400"/>
                <a:gd name="connsiteY458" fmla="*/ 537248 h 638175"/>
                <a:gd name="connsiteX459" fmla="*/ 666171 w 914400"/>
                <a:gd name="connsiteY459" fmla="*/ 537248 h 638175"/>
                <a:gd name="connsiteX460" fmla="*/ 669867 w 914400"/>
                <a:gd name="connsiteY460" fmla="*/ 537248 h 638175"/>
                <a:gd name="connsiteX461" fmla="*/ 673553 w 914400"/>
                <a:gd name="connsiteY461" fmla="*/ 540944 h 638175"/>
                <a:gd name="connsiteX462" fmla="*/ 677239 w 914400"/>
                <a:gd name="connsiteY462" fmla="*/ 540944 h 638175"/>
                <a:gd name="connsiteX463" fmla="*/ 680935 w 914400"/>
                <a:gd name="connsiteY463" fmla="*/ 544630 h 638175"/>
                <a:gd name="connsiteX464" fmla="*/ 680935 w 914400"/>
                <a:gd name="connsiteY464" fmla="*/ 548326 h 638175"/>
                <a:gd name="connsiteX465" fmla="*/ 680935 w 914400"/>
                <a:gd name="connsiteY465" fmla="*/ 552012 h 638175"/>
                <a:gd name="connsiteX466" fmla="*/ 684621 w 914400"/>
                <a:gd name="connsiteY466" fmla="*/ 552012 h 638175"/>
                <a:gd name="connsiteX467" fmla="*/ 688307 w 914400"/>
                <a:gd name="connsiteY467" fmla="*/ 552012 h 638175"/>
                <a:gd name="connsiteX468" fmla="*/ 692003 w 914400"/>
                <a:gd name="connsiteY468" fmla="*/ 552012 h 638175"/>
                <a:gd name="connsiteX469" fmla="*/ 699375 w 914400"/>
                <a:gd name="connsiteY469" fmla="*/ 555708 h 638175"/>
                <a:gd name="connsiteX470" fmla="*/ 703071 w 914400"/>
                <a:gd name="connsiteY470" fmla="*/ 555708 h 638175"/>
                <a:gd name="connsiteX471" fmla="*/ 699375 w 914400"/>
                <a:gd name="connsiteY471" fmla="*/ 548326 h 638175"/>
                <a:gd name="connsiteX472" fmla="*/ 703071 w 914400"/>
                <a:gd name="connsiteY472" fmla="*/ 552012 h 638175"/>
                <a:gd name="connsiteX473" fmla="*/ 699375 w 914400"/>
                <a:gd name="connsiteY473" fmla="*/ 544630 h 638175"/>
                <a:gd name="connsiteX474" fmla="*/ 699375 w 914400"/>
                <a:gd name="connsiteY474" fmla="*/ 540944 h 638175"/>
                <a:gd name="connsiteX475" fmla="*/ 703071 w 914400"/>
                <a:gd name="connsiteY475" fmla="*/ 537248 h 638175"/>
                <a:gd name="connsiteX476" fmla="*/ 699375 w 914400"/>
                <a:gd name="connsiteY476" fmla="*/ 537248 h 638175"/>
                <a:gd name="connsiteX477" fmla="*/ 699375 w 914400"/>
                <a:gd name="connsiteY477" fmla="*/ 533562 h 638175"/>
                <a:gd name="connsiteX478" fmla="*/ 695689 w 914400"/>
                <a:gd name="connsiteY478" fmla="*/ 533562 h 638175"/>
                <a:gd name="connsiteX479" fmla="*/ 692003 w 914400"/>
                <a:gd name="connsiteY479" fmla="*/ 529876 h 638175"/>
                <a:gd name="connsiteX480" fmla="*/ 692003 w 914400"/>
                <a:gd name="connsiteY480" fmla="*/ 526180 h 638175"/>
                <a:gd name="connsiteX481" fmla="*/ 692003 w 914400"/>
                <a:gd name="connsiteY481" fmla="*/ 518799 h 638175"/>
                <a:gd name="connsiteX482" fmla="*/ 699375 w 914400"/>
                <a:gd name="connsiteY482" fmla="*/ 522494 h 638175"/>
                <a:gd name="connsiteX483" fmla="*/ 703071 w 914400"/>
                <a:gd name="connsiteY483" fmla="*/ 522494 h 638175"/>
                <a:gd name="connsiteX484" fmla="*/ 706757 w 914400"/>
                <a:gd name="connsiteY484" fmla="*/ 526180 h 638175"/>
                <a:gd name="connsiteX485" fmla="*/ 710443 w 914400"/>
                <a:gd name="connsiteY485" fmla="*/ 526180 h 638175"/>
                <a:gd name="connsiteX486" fmla="*/ 710443 w 914400"/>
                <a:gd name="connsiteY486" fmla="*/ 529876 h 638175"/>
                <a:gd name="connsiteX487" fmla="*/ 714139 w 914400"/>
                <a:gd name="connsiteY487" fmla="*/ 529876 h 638175"/>
                <a:gd name="connsiteX488" fmla="*/ 717825 w 914400"/>
                <a:gd name="connsiteY488" fmla="*/ 529876 h 638175"/>
                <a:gd name="connsiteX489" fmla="*/ 721512 w 914400"/>
                <a:gd name="connsiteY489" fmla="*/ 526180 h 638175"/>
                <a:gd name="connsiteX490" fmla="*/ 725207 w 914400"/>
                <a:gd name="connsiteY490" fmla="*/ 533562 h 638175"/>
                <a:gd name="connsiteX491" fmla="*/ 728893 w 914400"/>
                <a:gd name="connsiteY491" fmla="*/ 533562 h 638175"/>
                <a:gd name="connsiteX492" fmla="*/ 732580 w 914400"/>
                <a:gd name="connsiteY492" fmla="*/ 537248 h 638175"/>
                <a:gd name="connsiteX493" fmla="*/ 736266 w 914400"/>
                <a:gd name="connsiteY493" fmla="*/ 533562 h 638175"/>
                <a:gd name="connsiteX494" fmla="*/ 747334 w 914400"/>
                <a:gd name="connsiteY494" fmla="*/ 529876 h 638175"/>
                <a:gd name="connsiteX495" fmla="*/ 747334 w 914400"/>
                <a:gd name="connsiteY495" fmla="*/ 526180 h 638175"/>
                <a:gd name="connsiteX496" fmla="*/ 747334 w 914400"/>
                <a:gd name="connsiteY496" fmla="*/ 522494 h 638175"/>
                <a:gd name="connsiteX497" fmla="*/ 751029 w 914400"/>
                <a:gd name="connsiteY497" fmla="*/ 522494 h 638175"/>
                <a:gd name="connsiteX498" fmla="*/ 754716 w 914400"/>
                <a:gd name="connsiteY498" fmla="*/ 518799 h 638175"/>
                <a:gd name="connsiteX499" fmla="*/ 758402 w 914400"/>
                <a:gd name="connsiteY499" fmla="*/ 518799 h 638175"/>
                <a:gd name="connsiteX500" fmla="*/ 762098 w 914400"/>
                <a:gd name="connsiteY500" fmla="*/ 518799 h 638175"/>
                <a:gd name="connsiteX501" fmla="*/ 765784 w 914400"/>
                <a:gd name="connsiteY501" fmla="*/ 515112 h 638175"/>
                <a:gd name="connsiteX502" fmla="*/ 765784 w 914400"/>
                <a:gd name="connsiteY502" fmla="*/ 511417 h 638175"/>
                <a:gd name="connsiteX503" fmla="*/ 769470 w 914400"/>
                <a:gd name="connsiteY503" fmla="*/ 511417 h 638175"/>
                <a:gd name="connsiteX504" fmla="*/ 773166 w 914400"/>
                <a:gd name="connsiteY504" fmla="*/ 507730 h 638175"/>
                <a:gd name="connsiteX505" fmla="*/ 773166 w 914400"/>
                <a:gd name="connsiteY505" fmla="*/ 511417 h 638175"/>
                <a:gd name="connsiteX506" fmla="*/ 776852 w 914400"/>
                <a:gd name="connsiteY506" fmla="*/ 511417 h 638175"/>
                <a:gd name="connsiteX507" fmla="*/ 780538 w 914400"/>
                <a:gd name="connsiteY507" fmla="*/ 507730 h 638175"/>
                <a:gd name="connsiteX508" fmla="*/ 787920 w 914400"/>
                <a:gd name="connsiteY508" fmla="*/ 504035 h 638175"/>
                <a:gd name="connsiteX509" fmla="*/ 806360 w 914400"/>
                <a:gd name="connsiteY509" fmla="*/ 496653 h 638175"/>
                <a:gd name="connsiteX510" fmla="*/ 810056 w 914400"/>
                <a:gd name="connsiteY510" fmla="*/ 496653 h 638175"/>
                <a:gd name="connsiteX511" fmla="*/ 813742 w 914400"/>
                <a:gd name="connsiteY511" fmla="*/ 496653 h 638175"/>
                <a:gd name="connsiteX512" fmla="*/ 813742 w 914400"/>
                <a:gd name="connsiteY512" fmla="*/ 492967 h 638175"/>
                <a:gd name="connsiteX513" fmla="*/ 821124 w 914400"/>
                <a:gd name="connsiteY513" fmla="*/ 489271 h 638175"/>
                <a:gd name="connsiteX514" fmla="*/ 828496 w 914400"/>
                <a:gd name="connsiteY514" fmla="*/ 485585 h 638175"/>
                <a:gd name="connsiteX515" fmla="*/ 832192 w 914400"/>
                <a:gd name="connsiteY515" fmla="*/ 485585 h 638175"/>
                <a:gd name="connsiteX516" fmla="*/ 835878 w 914400"/>
                <a:gd name="connsiteY516" fmla="*/ 481899 h 638175"/>
                <a:gd name="connsiteX517" fmla="*/ 835878 w 914400"/>
                <a:gd name="connsiteY517" fmla="*/ 485585 h 638175"/>
                <a:gd name="connsiteX518" fmla="*/ 839564 w 914400"/>
                <a:gd name="connsiteY518" fmla="*/ 485585 h 638175"/>
                <a:gd name="connsiteX519" fmla="*/ 843260 w 914400"/>
                <a:gd name="connsiteY519" fmla="*/ 485585 h 638175"/>
                <a:gd name="connsiteX520" fmla="*/ 843260 w 914400"/>
                <a:gd name="connsiteY520" fmla="*/ 489271 h 638175"/>
                <a:gd name="connsiteX521" fmla="*/ 846946 w 914400"/>
                <a:gd name="connsiteY521" fmla="*/ 492967 h 638175"/>
                <a:gd name="connsiteX522" fmla="*/ 854328 w 914400"/>
                <a:gd name="connsiteY522" fmla="*/ 500349 h 638175"/>
                <a:gd name="connsiteX523" fmla="*/ 861700 w 914400"/>
                <a:gd name="connsiteY523" fmla="*/ 496653 h 638175"/>
                <a:gd name="connsiteX524" fmla="*/ 861700 w 914400"/>
                <a:gd name="connsiteY524" fmla="*/ 492967 h 638175"/>
                <a:gd name="connsiteX525" fmla="*/ 865396 w 914400"/>
                <a:gd name="connsiteY525" fmla="*/ 492967 h 638175"/>
                <a:gd name="connsiteX526" fmla="*/ 869082 w 914400"/>
                <a:gd name="connsiteY526" fmla="*/ 489271 h 638175"/>
                <a:gd name="connsiteX527" fmla="*/ 872769 w 914400"/>
                <a:gd name="connsiteY527" fmla="*/ 489271 h 638175"/>
                <a:gd name="connsiteX528" fmla="*/ 872769 w 914400"/>
                <a:gd name="connsiteY528" fmla="*/ 485585 h 638175"/>
                <a:gd name="connsiteX529" fmla="*/ 876455 w 914400"/>
                <a:gd name="connsiteY529" fmla="*/ 481899 h 638175"/>
                <a:gd name="connsiteX530" fmla="*/ 880150 w 914400"/>
                <a:gd name="connsiteY530" fmla="*/ 481899 h 638175"/>
                <a:gd name="connsiteX531" fmla="*/ 887523 w 914400"/>
                <a:gd name="connsiteY531" fmla="*/ 470821 h 638175"/>
                <a:gd name="connsiteX532" fmla="*/ 891218 w 914400"/>
                <a:gd name="connsiteY532" fmla="*/ 467135 h 638175"/>
                <a:gd name="connsiteX533" fmla="*/ 891218 w 914400"/>
                <a:gd name="connsiteY533" fmla="*/ 463439 h 638175"/>
                <a:gd name="connsiteX534" fmla="*/ 891218 w 914400"/>
                <a:gd name="connsiteY534" fmla="*/ 459753 h 638175"/>
                <a:gd name="connsiteX535" fmla="*/ 891218 w 914400"/>
                <a:gd name="connsiteY535" fmla="*/ 448676 h 638175"/>
                <a:gd name="connsiteX536" fmla="*/ 898591 w 914400"/>
                <a:gd name="connsiteY536" fmla="*/ 444989 h 638175"/>
                <a:gd name="connsiteX537" fmla="*/ 905973 w 914400"/>
                <a:gd name="connsiteY537" fmla="*/ 444989 h 638175"/>
                <a:gd name="connsiteX538" fmla="*/ 909659 w 914400"/>
                <a:gd name="connsiteY538" fmla="*/ 437607 h 638175"/>
                <a:gd name="connsiteX539" fmla="*/ 905973 w 914400"/>
                <a:gd name="connsiteY539" fmla="*/ 433921 h 638175"/>
                <a:gd name="connsiteX540" fmla="*/ 905973 w 914400"/>
                <a:gd name="connsiteY540" fmla="*/ 426539 h 638175"/>
                <a:gd name="connsiteX541" fmla="*/ 905973 w 914400"/>
                <a:gd name="connsiteY541" fmla="*/ 422844 h 638175"/>
                <a:gd name="connsiteX542" fmla="*/ 894905 w 914400"/>
                <a:gd name="connsiteY542" fmla="*/ 419158 h 638175"/>
                <a:gd name="connsiteX543" fmla="*/ 898591 w 914400"/>
                <a:gd name="connsiteY543" fmla="*/ 419158 h 638175"/>
                <a:gd name="connsiteX544" fmla="*/ 876455 w 914400"/>
                <a:gd name="connsiteY544" fmla="*/ 404394 h 638175"/>
                <a:gd name="connsiteX545" fmla="*/ 872769 w 914400"/>
                <a:gd name="connsiteY545" fmla="*/ 400698 h 638175"/>
                <a:gd name="connsiteX546" fmla="*/ 869082 w 914400"/>
                <a:gd name="connsiteY546" fmla="*/ 393316 h 638175"/>
                <a:gd name="connsiteX547" fmla="*/ 850632 w 914400"/>
                <a:gd name="connsiteY547" fmla="*/ 385944 h 638175"/>
                <a:gd name="connsiteX548" fmla="*/ 835878 w 914400"/>
                <a:gd name="connsiteY548" fmla="*/ 385944 h 638175"/>
                <a:gd name="connsiteX549" fmla="*/ 835878 w 914400"/>
                <a:gd name="connsiteY549" fmla="*/ 382248 h 638175"/>
                <a:gd name="connsiteX550" fmla="*/ 835878 w 914400"/>
                <a:gd name="connsiteY550" fmla="*/ 374866 h 638175"/>
                <a:gd name="connsiteX551" fmla="*/ 835878 w 914400"/>
                <a:gd name="connsiteY551" fmla="*/ 371180 h 638175"/>
                <a:gd name="connsiteX552" fmla="*/ 839564 w 914400"/>
                <a:gd name="connsiteY552" fmla="*/ 367484 h 638175"/>
                <a:gd name="connsiteX553" fmla="*/ 839564 w 914400"/>
                <a:gd name="connsiteY553" fmla="*/ 363798 h 638175"/>
                <a:gd name="connsiteX554" fmla="*/ 839564 w 914400"/>
                <a:gd name="connsiteY554" fmla="*/ 360103 h 638175"/>
                <a:gd name="connsiteX555" fmla="*/ 850632 w 914400"/>
                <a:gd name="connsiteY555" fmla="*/ 360103 h 638175"/>
                <a:gd name="connsiteX556" fmla="*/ 858014 w 914400"/>
                <a:gd name="connsiteY556" fmla="*/ 356416 h 638175"/>
                <a:gd name="connsiteX557" fmla="*/ 865396 w 914400"/>
                <a:gd name="connsiteY557" fmla="*/ 352721 h 638175"/>
                <a:gd name="connsiteX558" fmla="*/ 865396 w 914400"/>
                <a:gd name="connsiteY558" fmla="*/ 349035 h 638175"/>
                <a:gd name="connsiteX559" fmla="*/ 865396 w 914400"/>
                <a:gd name="connsiteY559" fmla="*/ 345339 h 638175"/>
                <a:gd name="connsiteX560" fmla="*/ 865396 w 914400"/>
                <a:gd name="connsiteY560" fmla="*/ 341653 h 638175"/>
                <a:gd name="connsiteX561" fmla="*/ 869082 w 914400"/>
                <a:gd name="connsiteY561" fmla="*/ 341653 h 638175"/>
                <a:gd name="connsiteX562" fmla="*/ 869082 w 914400"/>
                <a:gd name="connsiteY562" fmla="*/ 337966 h 638175"/>
                <a:gd name="connsiteX563" fmla="*/ 872769 w 914400"/>
                <a:gd name="connsiteY563" fmla="*/ 323203 h 638175"/>
                <a:gd name="connsiteX564" fmla="*/ 850632 w 914400"/>
                <a:gd name="connsiteY564" fmla="*/ 323203 h 638175"/>
                <a:gd name="connsiteX565" fmla="*/ 846946 w 914400"/>
                <a:gd name="connsiteY565" fmla="*/ 323203 h 638175"/>
                <a:gd name="connsiteX566" fmla="*/ 839564 w 914400"/>
                <a:gd name="connsiteY566" fmla="*/ 319507 h 638175"/>
                <a:gd name="connsiteX567" fmla="*/ 832192 w 914400"/>
                <a:gd name="connsiteY567" fmla="*/ 315821 h 638175"/>
                <a:gd name="connsiteX568" fmla="*/ 828496 w 914400"/>
                <a:gd name="connsiteY568" fmla="*/ 315821 h 638175"/>
                <a:gd name="connsiteX569" fmla="*/ 821124 w 914400"/>
                <a:gd name="connsiteY569" fmla="*/ 315821 h 638175"/>
                <a:gd name="connsiteX570" fmla="*/ 828496 w 914400"/>
                <a:gd name="connsiteY570" fmla="*/ 304743 h 638175"/>
                <a:gd name="connsiteX571" fmla="*/ 828496 w 914400"/>
                <a:gd name="connsiteY571" fmla="*/ 293675 h 638175"/>
                <a:gd name="connsiteX572" fmla="*/ 828496 w 914400"/>
                <a:gd name="connsiteY572" fmla="*/ 289989 h 638175"/>
                <a:gd name="connsiteX573" fmla="*/ 828496 w 914400"/>
                <a:gd name="connsiteY573" fmla="*/ 286293 h 638175"/>
                <a:gd name="connsiteX574" fmla="*/ 817428 w 914400"/>
                <a:gd name="connsiteY574" fmla="*/ 278911 h 638175"/>
                <a:gd name="connsiteX575" fmla="*/ 813742 w 914400"/>
                <a:gd name="connsiteY575" fmla="*/ 278911 h 638175"/>
                <a:gd name="connsiteX576" fmla="*/ 810056 w 914400"/>
                <a:gd name="connsiteY576" fmla="*/ 286293 h 638175"/>
                <a:gd name="connsiteX577" fmla="*/ 810056 w 914400"/>
                <a:gd name="connsiteY577" fmla="*/ 282607 h 638175"/>
                <a:gd name="connsiteX578" fmla="*/ 806360 w 914400"/>
                <a:gd name="connsiteY578" fmla="*/ 278911 h 638175"/>
                <a:gd name="connsiteX579" fmla="*/ 802674 w 914400"/>
                <a:gd name="connsiteY579" fmla="*/ 282607 h 638175"/>
                <a:gd name="connsiteX580" fmla="*/ 798988 w 914400"/>
                <a:gd name="connsiteY580" fmla="*/ 286293 h 638175"/>
                <a:gd name="connsiteX581" fmla="*/ 798988 w 914400"/>
                <a:gd name="connsiteY581" fmla="*/ 289989 h 638175"/>
                <a:gd name="connsiteX582" fmla="*/ 795302 w 914400"/>
                <a:gd name="connsiteY582" fmla="*/ 286293 h 638175"/>
                <a:gd name="connsiteX583" fmla="*/ 791606 w 914400"/>
                <a:gd name="connsiteY583" fmla="*/ 282607 h 638175"/>
                <a:gd name="connsiteX584" fmla="*/ 795302 w 914400"/>
                <a:gd name="connsiteY584" fmla="*/ 278911 h 638175"/>
                <a:gd name="connsiteX585" fmla="*/ 787920 w 914400"/>
                <a:gd name="connsiteY585" fmla="*/ 275225 h 638175"/>
                <a:gd name="connsiteX586" fmla="*/ 784234 w 914400"/>
                <a:gd name="connsiteY586" fmla="*/ 275225 h 638175"/>
                <a:gd name="connsiteX587" fmla="*/ 769470 w 914400"/>
                <a:gd name="connsiteY587" fmla="*/ 278911 h 638175"/>
                <a:gd name="connsiteX588" fmla="*/ 751029 w 914400"/>
                <a:gd name="connsiteY588" fmla="*/ 275225 h 638175"/>
                <a:gd name="connsiteX589" fmla="*/ 747334 w 914400"/>
                <a:gd name="connsiteY589" fmla="*/ 275225 h 638175"/>
                <a:gd name="connsiteX590" fmla="*/ 739961 w 914400"/>
                <a:gd name="connsiteY590" fmla="*/ 278911 h 638175"/>
                <a:gd name="connsiteX591" fmla="*/ 736266 w 914400"/>
                <a:gd name="connsiteY591" fmla="*/ 275225 h 638175"/>
                <a:gd name="connsiteX592" fmla="*/ 732580 w 914400"/>
                <a:gd name="connsiteY592" fmla="*/ 275225 h 638175"/>
                <a:gd name="connsiteX593" fmla="*/ 732580 w 914400"/>
                <a:gd name="connsiteY593" fmla="*/ 271530 h 638175"/>
                <a:gd name="connsiteX594" fmla="*/ 728893 w 914400"/>
                <a:gd name="connsiteY594" fmla="*/ 267843 h 638175"/>
                <a:gd name="connsiteX595" fmla="*/ 728893 w 914400"/>
                <a:gd name="connsiteY595" fmla="*/ 260461 h 638175"/>
                <a:gd name="connsiteX596" fmla="*/ 721512 w 914400"/>
                <a:gd name="connsiteY596" fmla="*/ 260461 h 638175"/>
                <a:gd name="connsiteX597" fmla="*/ 721512 w 914400"/>
                <a:gd name="connsiteY597" fmla="*/ 256766 h 638175"/>
                <a:gd name="connsiteX598" fmla="*/ 717825 w 914400"/>
                <a:gd name="connsiteY598" fmla="*/ 256766 h 638175"/>
                <a:gd name="connsiteX599" fmla="*/ 717825 w 914400"/>
                <a:gd name="connsiteY599" fmla="*/ 249384 h 638175"/>
                <a:gd name="connsiteX600" fmla="*/ 706757 w 914400"/>
                <a:gd name="connsiteY600" fmla="*/ 242012 h 638175"/>
                <a:gd name="connsiteX601" fmla="*/ 703071 w 914400"/>
                <a:gd name="connsiteY601" fmla="*/ 234630 h 638175"/>
                <a:gd name="connsiteX602" fmla="*/ 703071 w 914400"/>
                <a:gd name="connsiteY602" fmla="*/ 230934 h 638175"/>
                <a:gd name="connsiteX603" fmla="*/ 703071 w 914400"/>
                <a:gd name="connsiteY603" fmla="*/ 227248 h 638175"/>
                <a:gd name="connsiteX604" fmla="*/ 699375 w 914400"/>
                <a:gd name="connsiteY604" fmla="*/ 227248 h 638175"/>
                <a:gd name="connsiteX605" fmla="*/ 692003 w 914400"/>
                <a:gd name="connsiteY605" fmla="*/ 227248 h 638175"/>
                <a:gd name="connsiteX606" fmla="*/ 688307 w 914400"/>
                <a:gd name="connsiteY606" fmla="*/ 227248 h 638175"/>
                <a:gd name="connsiteX607" fmla="*/ 684621 w 914400"/>
                <a:gd name="connsiteY607" fmla="*/ 227248 h 638175"/>
                <a:gd name="connsiteX608" fmla="*/ 684621 w 914400"/>
                <a:gd name="connsiteY608" fmla="*/ 223552 h 638175"/>
                <a:gd name="connsiteX609" fmla="*/ 680935 w 914400"/>
                <a:gd name="connsiteY609" fmla="*/ 227248 h 638175"/>
                <a:gd name="connsiteX610" fmla="*/ 677239 w 914400"/>
                <a:gd name="connsiteY610" fmla="*/ 227248 h 638175"/>
                <a:gd name="connsiteX611" fmla="*/ 669867 w 914400"/>
                <a:gd name="connsiteY611" fmla="*/ 227248 h 638175"/>
                <a:gd name="connsiteX612" fmla="*/ 666171 w 914400"/>
                <a:gd name="connsiteY612" fmla="*/ 230934 h 638175"/>
                <a:gd name="connsiteX613" fmla="*/ 662485 w 914400"/>
                <a:gd name="connsiteY613" fmla="*/ 230934 h 638175"/>
                <a:gd name="connsiteX614" fmla="*/ 662485 w 914400"/>
                <a:gd name="connsiteY614" fmla="*/ 238316 h 638175"/>
                <a:gd name="connsiteX615" fmla="*/ 655113 w 914400"/>
                <a:gd name="connsiteY615" fmla="*/ 238316 h 638175"/>
                <a:gd name="connsiteX616" fmla="*/ 655113 w 914400"/>
                <a:gd name="connsiteY616" fmla="*/ 242012 h 638175"/>
                <a:gd name="connsiteX617" fmla="*/ 644045 w 914400"/>
                <a:gd name="connsiteY617" fmla="*/ 242012 h 638175"/>
                <a:gd name="connsiteX618" fmla="*/ 644045 w 914400"/>
                <a:gd name="connsiteY618" fmla="*/ 238316 h 638175"/>
                <a:gd name="connsiteX619" fmla="*/ 640349 w 914400"/>
                <a:gd name="connsiteY619" fmla="*/ 238316 h 638175"/>
                <a:gd name="connsiteX620" fmla="*/ 636663 w 914400"/>
                <a:gd name="connsiteY620" fmla="*/ 238316 h 638175"/>
                <a:gd name="connsiteX621" fmla="*/ 632977 w 914400"/>
                <a:gd name="connsiteY621" fmla="*/ 238316 h 638175"/>
                <a:gd name="connsiteX622" fmla="*/ 629281 w 914400"/>
                <a:gd name="connsiteY622" fmla="*/ 242012 h 638175"/>
                <a:gd name="connsiteX623" fmla="*/ 625595 w 914400"/>
                <a:gd name="connsiteY623" fmla="*/ 238316 h 638175"/>
                <a:gd name="connsiteX624" fmla="*/ 621909 w 914400"/>
                <a:gd name="connsiteY624" fmla="*/ 238316 h 638175"/>
                <a:gd name="connsiteX625" fmla="*/ 614527 w 914400"/>
                <a:gd name="connsiteY625" fmla="*/ 238316 h 638175"/>
                <a:gd name="connsiteX626" fmla="*/ 610840 w 914400"/>
                <a:gd name="connsiteY626" fmla="*/ 238316 h 638175"/>
                <a:gd name="connsiteX627" fmla="*/ 607145 w 914400"/>
                <a:gd name="connsiteY627" fmla="*/ 238316 h 638175"/>
                <a:gd name="connsiteX628" fmla="*/ 603459 w 914400"/>
                <a:gd name="connsiteY628" fmla="*/ 238316 h 638175"/>
                <a:gd name="connsiteX629" fmla="*/ 603459 w 914400"/>
                <a:gd name="connsiteY629" fmla="*/ 242012 h 638175"/>
                <a:gd name="connsiteX630" fmla="*/ 599772 w 914400"/>
                <a:gd name="connsiteY630" fmla="*/ 238316 h 638175"/>
                <a:gd name="connsiteX631" fmla="*/ 596077 w 914400"/>
                <a:gd name="connsiteY631" fmla="*/ 238316 h 638175"/>
                <a:gd name="connsiteX632" fmla="*/ 588704 w 914400"/>
                <a:gd name="connsiteY632" fmla="*/ 238316 h 638175"/>
                <a:gd name="connsiteX633" fmla="*/ 588704 w 914400"/>
                <a:gd name="connsiteY633" fmla="*/ 234630 h 638175"/>
                <a:gd name="connsiteX634" fmla="*/ 585009 w 914400"/>
                <a:gd name="connsiteY634" fmla="*/ 234630 h 638175"/>
                <a:gd name="connsiteX635" fmla="*/ 577636 w 914400"/>
                <a:gd name="connsiteY635" fmla="*/ 238316 h 638175"/>
                <a:gd name="connsiteX636" fmla="*/ 577636 w 914400"/>
                <a:gd name="connsiteY636" fmla="*/ 242012 h 638175"/>
                <a:gd name="connsiteX637" fmla="*/ 581323 w 914400"/>
                <a:gd name="connsiteY637" fmla="*/ 245698 h 638175"/>
                <a:gd name="connsiteX638" fmla="*/ 577636 w 914400"/>
                <a:gd name="connsiteY638" fmla="*/ 249384 h 638175"/>
                <a:gd name="connsiteX639" fmla="*/ 577636 w 914400"/>
                <a:gd name="connsiteY639" fmla="*/ 245698 h 638175"/>
                <a:gd name="connsiteX640" fmla="*/ 577636 w 914400"/>
                <a:gd name="connsiteY640" fmla="*/ 242012 h 638175"/>
                <a:gd name="connsiteX641" fmla="*/ 573950 w 914400"/>
                <a:gd name="connsiteY641" fmla="*/ 242012 h 638175"/>
                <a:gd name="connsiteX642" fmla="*/ 570254 w 914400"/>
                <a:gd name="connsiteY642" fmla="*/ 242012 h 638175"/>
                <a:gd name="connsiteX643" fmla="*/ 566568 w 914400"/>
                <a:gd name="connsiteY643" fmla="*/ 234630 h 638175"/>
                <a:gd name="connsiteX644" fmla="*/ 566568 w 914400"/>
                <a:gd name="connsiteY644" fmla="*/ 230934 h 638175"/>
                <a:gd name="connsiteX645" fmla="*/ 570254 w 914400"/>
                <a:gd name="connsiteY645" fmla="*/ 227248 h 638175"/>
                <a:gd name="connsiteX646" fmla="*/ 573950 w 914400"/>
                <a:gd name="connsiteY646" fmla="*/ 227248 h 638175"/>
                <a:gd name="connsiteX647" fmla="*/ 573950 w 914400"/>
                <a:gd name="connsiteY647" fmla="*/ 223552 h 638175"/>
                <a:gd name="connsiteX648" fmla="*/ 570254 w 914400"/>
                <a:gd name="connsiteY648" fmla="*/ 223552 h 638175"/>
                <a:gd name="connsiteX649" fmla="*/ 566568 w 914400"/>
                <a:gd name="connsiteY649" fmla="*/ 223552 h 638175"/>
                <a:gd name="connsiteX650" fmla="*/ 562882 w 914400"/>
                <a:gd name="connsiteY650" fmla="*/ 223552 h 638175"/>
                <a:gd name="connsiteX651" fmla="*/ 559186 w 914400"/>
                <a:gd name="connsiteY651" fmla="*/ 219866 h 638175"/>
                <a:gd name="connsiteX652" fmla="*/ 559186 w 914400"/>
                <a:gd name="connsiteY652" fmla="*/ 216170 h 638175"/>
                <a:gd name="connsiteX653" fmla="*/ 559186 w 914400"/>
                <a:gd name="connsiteY653" fmla="*/ 212484 h 638175"/>
                <a:gd name="connsiteX654" fmla="*/ 559186 w 914400"/>
                <a:gd name="connsiteY654" fmla="*/ 208788 h 638175"/>
                <a:gd name="connsiteX655" fmla="*/ 555500 w 914400"/>
                <a:gd name="connsiteY655" fmla="*/ 205102 h 638175"/>
                <a:gd name="connsiteX656" fmla="*/ 551814 w 914400"/>
                <a:gd name="connsiteY656" fmla="*/ 201407 h 638175"/>
                <a:gd name="connsiteX657" fmla="*/ 551814 w 914400"/>
                <a:gd name="connsiteY657" fmla="*/ 190338 h 638175"/>
                <a:gd name="connsiteX658" fmla="*/ 548118 w 914400"/>
                <a:gd name="connsiteY658" fmla="*/ 190338 h 638175"/>
                <a:gd name="connsiteX659" fmla="*/ 548118 w 914400"/>
                <a:gd name="connsiteY659" fmla="*/ 186652 h 638175"/>
                <a:gd name="connsiteX660" fmla="*/ 548118 w 914400"/>
                <a:gd name="connsiteY660" fmla="*/ 182957 h 638175"/>
                <a:gd name="connsiteX661" fmla="*/ 544432 w 914400"/>
                <a:gd name="connsiteY661" fmla="*/ 182957 h 638175"/>
                <a:gd name="connsiteX662" fmla="*/ 540746 w 914400"/>
                <a:gd name="connsiteY662" fmla="*/ 182957 h 638175"/>
                <a:gd name="connsiteX663" fmla="*/ 537050 w 914400"/>
                <a:gd name="connsiteY663" fmla="*/ 182957 h 638175"/>
                <a:gd name="connsiteX664" fmla="*/ 537050 w 914400"/>
                <a:gd name="connsiteY664" fmla="*/ 171889 h 638175"/>
                <a:gd name="connsiteX665" fmla="*/ 537050 w 914400"/>
                <a:gd name="connsiteY665" fmla="*/ 168193 h 638175"/>
                <a:gd name="connsiteX666" fmla="*/ 533364 w 914400"/>
                <a:gd name="connsiteY666" fmla="*/ 168193 h 638175"/>
                <a:gd name="connsiteX667" fmla="*/ 529678 w 914400"/>
                <a:gd name="connsiteY667" fmla="*/ 168193 h 638175"/>
                <a:gd name="connsiteX668" fmla="*/ 529678 w 914400"/>
                <a:gd name="connsiteY668" fmla="*/ 164507 h 638175"/>
                <a:gd name="connsiteX669" fmla="*/ 533364 w 914400"/>
                <a:gd name="connsiteY669" fmla="*/ 164507 h 638175"/>
                <a:gd name="connsiteX670" fmla="*/ 533364 w 914400"/>
                <a:gd name="connsiteY670" fmla="*/ 157125 h 638175"/>
                <a:gd name="connsiteX671" fmla="*/ 533364 w 914400"/>
                <a:gd name="connsiteY671" fmla="*/ 149743 h 638175"/>
                <a:gd name="connsiteX672" fmla="*/ 533364 w 914400"/>
                <a:gd name="connsiteY672" fmla="*/ 142361 h 638175"/>
                <a:gd name="connsiteX673" fmla="*/ 537050 w 914400"/>
                <a:gd name="connsiteY673" fmla="*/ 142361 h 638175"/>
                <a:gd name="connsiteX674" fmla="*/ 540746 w 914400"/>
                <a:gd name="connsiteY674" fmla="*/ 138675 h 638175"/>
                <a:gd name="connsiteX675" fmla="*/ 544432 w 914400"/>
                <a:gd name="connsiteY675" fmla="*/ 138675 h 638175"/>
                <a:gd name="connsiteX676" fmla="*/ 540746 w 914400"/>
                <a:gd name="connsiteY676" fmla="*/ 134979 h 638175"/>
                <a:gd name="connsiteX677" fmla="*/ 537050 w 914400"/>
                <a:gd name="connsiteY677" fmla="*/ 134979 h 638175"/>
                <a:gd name="connsiteX678" fmla="*/ 533364 w 914400"/>
                <a:gd name="connsiteY678" fmla="*/ 131293 h 638175"/>
                <a:gd name="connsiteX679" fmla="*/ 533364 w 914400"/>
                <a:gd name="connsiteY679" fmla="*/ 127597 h 638175"/>
                <a:gd name="connsiteX680" fmla="*/ 537050 w 914400"/>
                <a:gd name="connsiteY680" fmla="*/ 127597 h 638175"/>
                <a:gd name="connsiteX681" fmla="*/ 537050 w 914400"/>
                <a:gd name="connsiteY681" fmla="*/ 123909 h 638175"/>
                <a:gd name="connsiteX682" fmla="*/ 544432 w 914400"/>
                <a:gd name="connsiteY682" fmla="*/ 123909 h 638175"/>
                <a:gd name="connsiteX683" fmla="*/ 551814 w 914400"/>
                <a:gd name="connsiteY683" fmla="*/ 120218 h 638175"/>
                <a:gd name="connsiteX684" fmla="*/ 555500 w 914400"/>
                <a:gd name="connsiteY684" fmla="*/ 120218 h 638175"/>
                <a:gd name="connsiteX685" fmla="*/ 555500 w 914400"/>
                <a:gd name="connsiteY685" fmla="*/ 116528 h 638175"/>
                <a:gd name="connsiteX686" fmla="*/ 559186 w 914400"/>
                <a:gd name="connsiteY686" fmla="*/ 116528 h 638175"/>
                <a:gd name="connsiteX687" fmla="*/ 559186 w 914400"/>
                <a:gd name="connsiteY687" fmla="*/ 109147 h 638175"/>
                <a:gd name="connsiteX688" fmla="*/ 559186 w 914400"/>
                <a:gd name="connsiteY688" fmla="*/ 105456 h 638175"/>
                <a:gd name="connsiteX689" fmla="*/ 559186 w 914400"/>
                <a:gd name="connsiteY689" fmla="*/ 101766 h 638175"/>
                <a:gd name="connsiteX690" fmla="*/ 555500 w 914400"/>
                <a:gd name="connsiteY690" fmla="*/ 101766 h 638175"/>
                <a:gd name="connsiteX691" fmla="*/ 551814 w 914400"/>
                <a:gd name="connsiteY691" fmla="*/ 98075 h 638175"/>
                <a:gd name="connsiteX692" fmla="*/ 551814 w 914400"/>
                <a:gd name="connsiteY692" fmla="*/ 90695 h 638175"/>
                <a:gd name="connsiteX693" fmla="*/ 551814 w 914400"/>
                <a:gd name="connsiteY693" fmla="*/ 87004 h 638175"/>
                <a:gd name="connsiteX694" fmla="*/ 555500 w 914400"/>
                <a:gd name="connsiteY694" fmla="*/ 83313 h 638175"/>
                <a:gd name="connsiteX695" fmla="*/ 555500 w 914400"/>
                <a:gd name="connsiteY695" fmla="*/ 75932 h 638175"/>
                <a:gd name="connsiteX696" fmla="*/ 551814 w 914400"/>
                <a:gd name="connsiteY696" fmla="*/ 72242 h 638175"/>
                <a:gd name="connsiteX697" fmla="*/ 548118 w 914400"/>
                <a:gd name="connsiteY697" fmla="*/ 68551 h 638175"/>
                <a:gd name="connsiteX698" fmla="*/ 548118 w 914400"/>
                <a:gd name="connsiteY698" fmla="*/ 61170 h 638175"/>
                <a:gd name="connsiteX699" fmla="*/ 544432 w 914400"/>
                <a:gd name="connsiteY699" fmla="*/ 50098 h 638175"/>
                <a:gd name="connsiteX700" fmla="*/ 544432 w 914400"/>
                <a:gd name="connsiteY700" fmla="*/ 46407 h 638175"/>
                <a:gd name="connsiteX701" fmla="*/ 540746 w 914400"/>
                <a:gd name="connsiteY701" fmla="*/ 42717 h 638175"/>
                <a:gd name="connsiteX702" fmla="*/ 529678 w 914400"/>
                <a:gd name="connsiteY702" fmla="*/ 39026 h 638175"/>
                <a:gd name="connsiteX703" fmla="*/ 525982 w 914400"/>
                <a:gd name="connsiteY703" fmla="*/ 35335 h 638175"/>
                <a:gd name="connsiteX704" fmla="*/ 525982 w 914400"/>
                <a:gd name="connsiteY704" fmla="*/ 31645 h 638175"/>
                <a:gd name="connsiteX705" fmla="*/ 525982 w 914400"/>
                <a:gd name="connsiteY705" fmla="*/ 27954 h 638175"/>
                <a:gd name="connsiteX706" fmla="*/ 522296 w 914400"/>
                <a:gd name="connsiteY706" fmla="*/ 24264 h 638175"/>
                <a:gd name="connsiteX707" fmla="*/ 518610 w 914400"/>
                <a:gd name="connsiteY707" fmla="*/ 20573 h 638175"/>
                <a:gd name="connsiteX708" fmla="*/ 514924 w 914400"/>
                <a:gd name="connsiteY708" fmla="*/ 20573 h 638175"/>
                <a:gd name="connsiteX709" fmla="*/ 511228 w 914400"/>
                <a:gd name="connsiteY709" fmla="*/ 16882 h 638175"/>
                <a:gd name="connsiteX710" fmla="*/ 507542 w 914400"/>
                <a:gd name="connsiteY710" fmla="*/ 20573 h 638175"/>
                <a:gd name="connsiteX711" fmla="*/ 503856 w 914400"/>
                <a:gd name="connsiteY711" fmla="*/ 20573 h 638175"/>
                <a:gd name="connsiteX712" fmla="*/ 500160 w 914400"/>
                <a:gd name="connsiteY712" fmla="*/ 20573 h 638175"/>
                <a:gd name="connsiteX713" fmla="*/ 496474 w 914400"/>
                <a:gd name="connsiteY713" fmla="*/ 24264 h 638175"/>
                <a:gd name="connsiteX714" fmla="*/ 489092 w 914400"/>
                <a:gd name="connsiteY714" fmla="*/ 31645 h 638175"/>
                <a:gd name="connsiteX715" fmla="*/ 481720 w 914400"/>
                <a:gd name="connsiteY715" fmla="*/ 39026 h 638175"/>
                <a:gd name="connsiteX716" fmla="*/ 478024 w 914400"/>
                <a:gd name="connsiteY716" fmla="*/ 42717 h 638175"/>
                <a:gd name="connsiteX717" fmla="*/ 474338 w 914400"/>
                <a:gd name="connsiteY717" fmla="*/ 39026 h 638175"/>
                <a:gd name="connsiteX718" fmla="*/ 474338 w 914400"/>
                <a:gd name="connsiteY718" fmla="*/ 35335 h 638175"/>
                <a:gd name="connsiteX719" fmla="*/ 470652 w 914400"/>
                <a:gd name="connsiteY719" fmla="*/ 39026 h 638175"/>
                <a:gd name="connsiteX720" fmla="*/ 466956 w 914400"/>
                <a:gd name="connsiteY720" fmla="*/ 42717 h 638175"/>
                <a:gd name="connsiteX721" fmla="*/ 459583 w 914400"/>
                <a:gd name="connsiteY721" fmla="*/ 46407 h 638175"/>
                <a:gd name="connsiteX722" fmla="*/ 459583 w 914400"/>
                <a:gd name="connsiteY722" fmla="*/ 39026 h 638175"/>
                <a:gd name="connsiteX723" fmla="*/ 452202 w 914400"/>
                <a:gd name="connsiteY723" fmla="*/ 27954 h 638175"/>
                <a:gd name="connsiteX724" fmla="*/ 448516 w 914400"/>
                <a:gd name="connsiteY724" fmla="*/ 20573 h 638175"/>
                <a:gd name="connsiteX725" fmla="*/ 441134 w 914400"/>
                <a:gd name="connsiteY725" fmla="*/ 9502 h 638175"/>
                <a:gd name="connsiteX726" fmla="*/ 437447 w 914400"/>
                <a:gd name="connsiteY726" fmla="*/ 5812 h 638175"/>
                <a:gd name="connsiteX727" fmla="*/ 315699 w 914400"/>
                <a:gd name="connsiteY727" fmla="*/ 138675 h 638175"/>
                <a:gd name="connsiteX728" fmla="*/ 308326 w 914400"/>
                <a:gd name="connsiteY728" fmla="*/ 134979 h 638175"/>
                <a:gd name="connsiteX729" fmla="*/ 312013 w 914400"/>
                <a:gd name="connsiteY729" fmla="*/ 138675 h 638175"/>
                <a:gd name="connsiteX730" fmla="*/ 315699 w 914400"/>
                <a:gd name="connsiteY730" fmla="*/ 138675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Lst>
              <a:rect l="l" t="t" r="r" b="b"/>
              <a:pathLst>
                <a:path w="914400" h="638175">
                  <a:moveTo>
                    <a:pt x="437447" y="5812"/>
                  </a:moveTo>
                  <a:lnTo>
                    <a:pt x="430065" y="9502"/>
                  </a:lnTo>
                  <a:lnTo>
                    <a:pt x="430065" y="13193"/>
                  </a:lnTo>
                  <a:lnTo>
                    <a:pt x="426379" y="24264"/>
                  </a:lnTo>
                  <a:lnTo>
                    <a:pt x="422693" y="31645"/>
                  </a:lnTo>
                  <a:lnTo>
                    <a:pt x="422693" y="35335"/>
                  </a:lnTo>
                  <a:lnTo>
                    <a:pt x="422693" y="39026"/>
                  </a:lnTo>
                  <a:lnTo>
                    <a:pt x="418998" y="46407"/>
                  </a:lnTo>
                  <a:lnTo>
                    <a:pt x="418998" y="50098"/>
                  </a:lnTo>
                  <a:lnTo>
                    <a:pt x="418998" y="53789"/>
                  </a:lnTo>
                  <a:lnTo>
                    <a:pt x="415311" y="50098"/>
                  </a:lnTo>
                  <a:lnTo>
                    <a:pt x="415311" y="57479"/>
                  </a:lnTo>
                  <a:lnTo>
                    <a:pt x="411625" y="57479"/>
                  </a:lnTo>
                  <a:lnTo>
                    <a:pt x="411625" y="53789"/>
                  </a:lnTo>
                  <a:lnTo>
                    <a:pt x="411625" y="50098"/>
                  </a:lnTo>
                  <a:lnTo>
                    <a:pt x="407929" y="57479"/>
                  </a:lnTo>
                  <a:lnTo>
                    <a:pt x="407929" y="61170"/>
                  </a:lnTo>
                  <a:lnTo>
                    <a:pt x="411625" y="61170"/>
                  </a:lnTo>
                  <a:lnTo>
                    <a:pt x="411625" y="64860"/>
                  </a:lnTo>
                  <a:lnTo>
                    <a:pt x="407929" y="64860"/>
                  </a:lnTo>
                  <a:lnTo>
                    <a:pt x="411625" y="68551"/>
                  </a:lnTo>
                  <a:lnTo>
                    <a:pt x="407929" y="72242"/>
                  </a:lnTo>
                  <a:lnTo>
                    <a:pt x="404243" y="75932"/>
                  </a:lnTo>
                  <a:lnTo>
                    <a:pt x="393175" y="87004"/>
                  </a:lnTo>
                  <a:lnTo>
                    <a:pt x="385793" y="94385"/>
                  </a:lnTo>
                  <a:lnTo>
                    <a:pt x="378421" y="98075"/>
                  </a:lnTo>
                  <a:lnTo>
                    <a:pt x="378421" y="101766"/>
                  </a:lnTo>
                  <a:lnTo>
                    <a:pt x="374725" y="101766"/>
                  </a:lnTo>
                  <a:lnTo>
                    <a:pt x="371039" y="105456"/>
                  </a:lnTo>
                  <a:lnTo>
                    <a:pt x="367353" y="105456"/>
                  </a:lnTo>
                  <a:lnTo>
                    <a:pt x="363667" y="109147"/>
                  </a:lnTo>
                  <a:lnTo>
                    <a:pt x="363667" y="112837"/>
                  </a:lnTo>
                  <a:lnTo>
                    <a:pt x="359971" y="112837"/>
                  </a:lnTo>
                  <a:lnTo>
                    <a:pt x="359971" y="116528"/>
                  </a:lnTo>
                  <a:lnTo>
                    <a:pt x="356285" y="116528"/>
                  </a:lnTo>
                  <a:lnTo>
                    <a:pt x="352599" y="116528"/>
                  </a:lnTo>
                  <a:lnTo>
                    <a:pt x="345217" y="120218"/>
                  </a:lnTo>
                  <a:lnTo>
                    <a:pt x="341531" y="123909"/>
                  </a:lnTo>
                  <a:lnTo>
                    <a:pt x="337835" y="123909"/>
                  </a:lnTo>
                  <a:lnTo>
                    <a:pt x="334149" y="127597"/>
                  </a:lnTo>
                  <a:lnTo>
                    <a:pt x="326767" y="131293"/>
                  </a:lnTo>
                  <a:lnTo>
                    <a:pt x="323081" y="131293"/>
                  </a:lnTo>
                  <a:lnTo>
                    <a:pt x="319395" y="134979"/>
                  </a:lnTo>
                  <a:lnTo>
                    <a:pt x="315699" y="138675"/>
                  </a:lnTo>
                  <a:lnTo>
                    <a:pt x="315699" y="142361"/>
                  </a:lnTo>
                  <a:lnTo>
                    <a:pt x="312013" y="142361"/>
                  </a:lnTo>
                  <a:lnTo>
                    <a:pt x="308326" y="142361"/>
                  </a:lnTo>
                  <a:lnTo>
                    <a:pt x="308326" y="146057"/>
                  </a:lnTo>
                  <a:lnTo>
                    <a:pt x="308326" y="149743"/>
                  </a:lnTo>
                  <a:lnTo>
                    <a:pt x="304631" y="149743"/>
                  </a:lnTo>
                  <a:lnTo>
                    <a:pt x="304631" y="153439"/>
                  </a:lnTo>
                  <a:lnTo>
                    <a:pt x="300945" y="153439"/>
                  </a:lnTo>
                  <a:lnTo>
                    <a:pt x="300945" y="157125"/>
                  </a:lnTo>
                  <a:lnTo>
                    <a:pt x="297258" y="157125"/>
                  </a:lnTo>
                  <a:lnTo>
                    <a:pt x="297258" y="160811"/>
                  </a:lnTo>
                  <a:lnTo>
                    <a:pt x="289877" y="164507"/>
                  </a:lnTo>
                  <a:lnTo>
                    <a:pt x="286190" y="168193"/>
                  </a:lnTo>
                  <a:lnTo>
                    <a:pt x="282504" y="171889"/>
                  </a:lnTo>
                  <a:lnTo>
                    <a:pt x="282504" y="175575"/>
                  </a:lnTo>
                  <a:lnTo>
                    <a:pt x="278808" y="182957"/>
                  </a:lnTo>
                  <a:lnTo>
                    <a:pt x="278808" y="190338"/>
                  </a:lnTo>
                  <a:lnTo>
                    <a:pt x="275122" y="197720"/>
                  </a:lnTo>
                  <a:lnTo>
                    <a:pt x="275122" y="201407"/>
                  </a:lnTo>
                  <a:lnTo>
                    <a:pt x="271436" y="208788"/>
                  </a:lnTo>
                  <a:lnTo>
                    <a:pt x="267740" y="212484"/>
                  </a:lnTo>
                  <a:lnTo>
                    <a:pt x="252986" y="212484"/>
                  </a:lnTo>
                  <a:lnTo>
                    <a:pt x="249300" y="212484"/>
                  </a:lnTo>
                  <a:lnTo>
                    <a:pt x="241918" y="219866"/>
                  </a:lnTo>
                  <a:lnTo>
                    <a:pt x="238232" y="216170"/>
                  </a:lnTo>
                  <a:lnTo>
                    <a:pt x="234536" y="219866"/>
                  </a:lnTo>
                  <a:lnTo>
                    <a:pt x="223478" y="223552"/>
                  </a:lnTo>
                  <a:lnTo>
                    <a:pt x="216096" y="223552"/>
                  </a:lnTo>
                  <a:lnTo>
                    <a:pt x="212410" y="227248"/>
                  </a:lnTo>
                  <a:lnTo>
                    <a:pt x="205028" y="227248"/>
                  </a:lnTo>
                  <a:lnTo>
                    <a:pt x="201342" y="245698"/>
                  </a:lnTo>
                  <a:lnTo>
                    <a:pt x="201342" y="249384"/>
                  </a:lnTo>
                  <a:lnTo>
                    <a:pt x="208714" y="253080"/>
                  </a:lnTo>
                  <a:lnTo>
                    <a:pt x="208714" y="249384"/>
                  </a:lnTo>
                  <a:lnTo>
                    <a:pt x="223478" y="260461"/>
                  </a:lnTo>
                  <a:lnTo>
                    <a:pt x="223478" y="264148"/>
                  </a:lnTo>
                  <a:lnTo>
                    <a:pt x="223478" y="267843"/>
                  </a:lnTo>
                  <a:lnTo>
                    <a:pt x="223478" y="271530"/>
                  </a:lnTo>
                  <a:lnTo>
                    <a:pt x="223478" y="275225"/>
                  </a:lnTo>
                  <a:lnTo>
                    <a:pt x="223478" y="286293"/>
                  </a:lnTo>
                  <a:lnTo>
                    <a:pt x="227164" y="289989"/>
                  </a:lnTo>
                  <a:lnTo>
                    <a:pt x="245604" y="289989"/>
                  </a:lnTo>
                  <a:lnTo>
                    <a:pt x="245604" y="293675"/>
                  </a:lnTo>
                  <a:lnTo>
                    <a:pt x="241918" y="293675"/>
                  </a:lnTo>
                  <a:lnTo>
                    <a:pt x="245604" y="297361"/>
                  </a:lnTo>
                  <a:lnTo>
                    <a:pt x="245604" y="301057"/>
                  </a:lnTo>
                  <a:lnTo>
                    <a:pt x="245604" y="304743"/>
                  </a:lnTo>
                  <a:lnTo>
                    <a:pt x="249300" y="304743"/>
                  </a:lnTo>
                  <a:lnTo>
                    <a:pt x="252986" y="304743"/>
                  </a:lnTo>
                  <a:lnTo>
                    <a:pt x="252986" y="312125"/>
                  </a:lnTo>
                  <a:lnTo>
                    <a:pt x="260368" y="312125"/>
                  </a:lnTo>
                  <a:lnTo>
                    <a:pt x="260368" y="315821"/>
                  </a:lnTo>
                  <a:lnTo>
                    <a:pt x="260368" y="319507"/>
                  </a:lnTo>
                  <a:lnTo>
                    <a:pt x="252986" y="319507"/>
                  </a:lnTo>
                  <a:lnTo>
                    <a:pt x="252986" y="323203"/>
                  </a:lnTo>
                  <a:lnTo>
                    <a:pt x="252986" y="326889"/>
                  </a:lnTo>
                  <a:lnTo>
                    <a:pt x="256672" y="326889"/>
                  </a:lnTo>
                  <a:lnTo>
                    <a:pt x="256672" y="330585"/>
                  </a:lnTo>
                  <a:lnTo>
                    <a:pt x="252986" y="330585"/>
                  </a:lnTo>
                  <a:lnTo>
                    <a:pt x="249300" y="330585"/>
                  </a:lnTo>
                  <a:lnTo>
                    <a:pt x="249300" y="334271"/>
                  </a:lnTo>
                  <a:lnTo>
                    <a:pt x="245604" y="337966"/>
                  </a:lnTo>
                  <a:lnTo>
                    <a:pt x="245604" y="345339"/>
                  </a:lnTo>
                  <a:lnTo>
                    <a:pt x="245604" y="349035"/>
                  </a:lnTo>
                  <a:lnTo>
                    <a:pt x="241918" y="352721"/>
                  </a:lnTo>
                  <a:lnTo>
                    <a:pt x="238232" y="356416"/>
                  </a:lnTo>
                  <a:lnTo>
                    <a:pt x="234536" y="356416"/>
                  </a:lnTo>
                  <a:lnTo>
                    <a:pt x="234536" y="360103"/>
                  </a:lnTo>
                  <a:lnTo>
                    <a:pt x="238232" y="363798"/>
                  </a:lnTo>
                  <a:lnTo>
                    <a:pt x="245604" y="367484"/>
                  </a:lnTo>
                  <a:lnTo>
                    <a:pt x="249300" y="367484"/>
                  </a:lnTo>
                  <a:lnTo>
                    <a:pt x="252986" y="367484"/>
                  </a:lnTo>
                  <a:lnTo>
                    <a:pt x="256672" y="363798"/>
                  </a:lnTo>
                  <a:lnTo>
                    <a:pt x="260368" y="360103"/>
                  </a:lnTo>
                  <a:lnTo>
                    <a:pt x="264054" y="360103"/>
                  </a:lnTo>
                  <a:lnTo>
                    <a:pt x="267740" y="356416"/>
                  </a:lnTo>
                  <a:lnTo>
                    <a:pt x="267740" y="352721"/>
                  </a:lnTo>
                  <a:lnTo>
                    <a:pt x="271436" y="352721"/>
                  </a:lnTo>
                  <a:lnTo>
                    <a:pt x="271436" y="349035"/>
                  </a:lnTo>
                  <a:lnTo>
                    <a:pt x="271436" y="345339"/>
                  </a:lnTo>
                  <a:lnTo>
                    <a:pt x="267740" y="341653"/>
                  </a:lnTo>
                  <a:lnTo>
                    <a:pt x="278808" y="337966"/>
                  </a:lnTo>
                  <a:lnTo>
                    <a:pt x="282504" y="345339"/>
                  </a:lnTo>
                  <a:lnTo>
                    <a:pt x="282504" y="349035"/>
                  </a:lnTo>
                  <a:lnTo>
                    <a:pt x="282504" y="352721"/>
                  </a:lnTo>
                  <a:lnTo>
                    <a:pt x="282504" y="356416"/>
                  </a:lnTo>
                  <a:lnTo>
                    <a:pt x="286190" y="360103"/>
                  </a:lnTo>
                  <a:lnTo>
                    <a:pt x="282504" y="363798"/>
                  </a:lnTo>
                  <a:lnTo>
                    <a:pt x="282504" y="367484"/>
                  </a:lnTo>
                  <a:lnTo>
                    <a:pt x="282504" y="385944"/>
                  </a:lnTo>
                  <a:lnTo>
                    <a:pt x="289877" y="385944"/>
                  </a:lnTo>
                  <a:lnTo>
                    <a:pt x="289877" y="389630"/>
                  </a:lnTo>
                  <a:lnTo>
                    <a:pt x="286190" y="389630"/>
                  </a:lnTo>
                  <a:lnTo>
                    <a:pt x="297258" y="397012"/>
                  </a:lnTo>
                  <a:lnTo>
                    <a:pt x="297258" y="408080"/>
                  </a:lnTo>
                  <a:lnTo>
                    <a:pt x="297258" y="411776"/>
                  </a:lnTo>
                  <a:lnTo>
                    <a:pt x="297258" y="415462"/>
                  </a:lnTo>
                  <a:lnTo>
                    <a:pt x="297258" y="419158"/>
                  </a:lnTo>
                  <a:lnTo>
                    <a:pt x="300945" y="422844"/>
                  </a:lnTo>
                  <a:lnTo>
                    <a:pt x="304631" y="426539"/>
                  </a:lnTo>
                  <a:lnTo>
                    <a:pt x="308326" y="426539"/>
                  </a:lnTo>
                  <a:lnTo>
                    <a:pt x="308326" y="430226"/>
                  </a:lnTo>
                  <a:lnTo>
                    <a:pt x="312013" y="437607"/>
                  </a:lnTo>
                  <a:lnTo>
                    <a:pt x="312013" y="441294"/>
                  </a:lnTo>
                  <a:lnTo>
                    <a:pt x="315699" y="444989"/>
                  </a:lnTo>
                  <a:lnTo>
                    <a:pt x="312013" y="448676"/>
                  </a:lnTo>
                  <a:lnTo>
                    <a:pt x="315699" y="452371"/>
                  </a:lnTo>
                  <a:lnTo>
                    <a:pt x="315699" y="456057"/>
                  </a:lnTo>
                  <a:lnTo>
                    <a:pt x="315699" y="459753"/>
                  </a:lnTo>
                  <a:lnTo>
                    <a:pt x="312013" y="463439"/>
                  </a:lnTo>
                  <a:lnTo>
                    <a:pt x="304631" y="467135"/>
                  </a:lnTo>
                  <a:lnTo>
                    <a:pt x="297258" y="463439"/>
                  </a:lnTo>
                  <a:lnTo>
                    <a:pt x="286190" y="459753"/>
                  </a:lnTo>
                  <a:lnTo>
                    <a:pt x="278808" y="456057"/>
                  </a:lnTo>
                  <a:lnTo>
                    <a:pt x="275122" y="448676"/>
                  </a:lnTo>
                  <a:lnTo>
                    <a:pt x="271436" y="448676"/>
                  </a:lnTo>
                  <a:lnTo>
                    <a:pt x="267740" y="448676"/>
                  </a:lnTo>
                  <a:lnTo>
                    <a:pt x="264054" y="444989"/>
                  </a:lnTo>
                  <a:lnTo>
                    <a:pt x="260368" y="444989"/>
                  </a:lnTo>
                  <a:lnTo>
                    <a:pt x="252986" y="441294"/>
                  </a:lnTo>
                  <a:lnTo>
                    <a:pt x="249300" y="437607"/>
                  </a:lnTo>
                  <a:lnTo>
                    <a:pt x="245604" y="437607"/>
                  </a:lnTo>
                  <a:lnTo>
                    <a:pt x="241918" y="437607"/>
                  </a:lnTo>
                  <a:lnTo>
                    <a:pt x="230850" y="437607"/>
                  </a:lnTo>
                  <a:lnTo>
                    <a:pt x="227164" y="433921"/>
                  </a:lnTo>
                  <a:lnTo>
                    <a:pt x="223478" y="433921"/>
                  </a:lnTo>
                  <a:lnTo>
                    <a:pt x="219782" y="437607"/>
                  </a:lnTo>
                  <a:lnTo>
                    <a:pt x="216096" y="441294"/>
                  </a:lnTo>
                  <a:lnTo>
                    <a:pt x="212410" y="441294"/>
                  </a:lnTo>
                  <a:lnTo>
                    <a:pt x="205028" y="444989"/>
                  </a:lnTo>
                  <a:lnTo>
                    <a:pt x="201342" y="444989"/>
                  </a:lnTo>
                  <a:lnTo>
                    <a:pt x="197646" y="448676"/>
                  </a:lnTo>
                  <a:lnTo>
                    <a:pt x="193960" y="448676"/>
                  </a:lnTo>
                  <a:lnTo>
                    <a:pt x="186578" y="444989"/>
                  </a:lnTo>
                  <a:lnTo>
                    <a:pt x="182892" y="448676"/>
                  </a:lnTo>
                  <a:lnTo>
                    <a:pt x="179206" y="448676"/>
                  </a:lnTo>
                  <a:lnTo>
                    <a:pt x="175510" y="452371"/>
                  </a:lnTo>
                  <a:lnTo>
                    <a:pt x="175510" y="456057"/>
                  </a:lnTo>
                  <a:lnTo>
                    <a:pt x="171824" y="456057"/>
                  </a:lnTo>
                  <a:lnTo>
                    <a:pt x="168138" y="459753"/>
                  </a:lnTo>
                  <a:lnTo>
                    <a:pt x="164442" y="459753"/>
                  </a:lnTo>
                  <a:lnTo>
                    <a:pt x="160756" y="456057"/>
                  </a:lnTo>
                  <a:lnTo>
                    <a:pt x="157069" y="452371"/>
                  </a:lnTo>
                  <a:lnTo>
                    <a:pt x="146001" y="452371"/>
                  </a:lnTo>
                  <a:lnTo>
                    <a:pt x="142315" y="452371"/>
                  </a:lnTo>
                  <a:lnTo>
                    <a:pt x="134933" y="444989"/>
                  </a:lnTo>
                  <a:lnTo>
                    <a:pt x="127554" y="441294"/>
                  </a:lnTo>
                  <a:lnTo>
                    <a:pt x="123865" y="441294"/>
                  </a:lnTo>
                  <a:lnTo>
                    <a:pt x="120176" y="441294"/>
                  </a:lnTo>
                  <a:lnTo>
                    <a:pt x="120176" y="448676"/>
                  </a:lnTo>
                  <a:lnTo>
                    <a:pt x="116487" y="452371"/>
                  </a:lnTo>
                  <a:lnTo>
                    <a:pt x="112798" y="456057"/>
                  </a:lnTo>
                  <a:lnTo>
                    <a:pt x="109108" y="456057"/>
                  </a:lnTo>
                  <a:lnTo>
                    <a:pt x="105419" y="456057"/>
                  </a:lnTo>
                  <a:lnTo>
                    <a:pt x="101730" y="452371"/>
                  </a:lnTo>
                  <a:lnTo>
                    <a:pt x="98041" y="448676"/>
                  </a:lnTo>
                  <a:lnTo>
                    <a:pt x="94352" y="456057"/>
                  </a:lnTo>
                  <a:lnTo>
                    <a:pt x="90663" y="467135"/>
                  </a:lnTo>
                  <a:lnTo>
                    <a:pt x="83284" y="474517"/>
                  </a:lnTo>
                  <a:lnTo>
                    <a:pt x="79595" y="478203"/>
                  </a:lnTo>
                  <a:lnTo>
                    <a:pt x="83284" y="478203"/>
                  </a:lnTo>
                  <a:lnTo>
                    <a:pt x="79595" y="481899"/>
                  </a:lnTo>
                  <a:lnTo>
                    <a:pt x="75906" y="489271"/>
                  </a:lnTo>
                  <a:lnTo>
                    <a:pt x="72217" y="489271"/>
                  </a:lnTo>
                  <a:lnTo>
                    <a:pt x="72217" y="492967"/>
                  </a:lnTo>
                  <a:lnTo>
                    <a:pt x="68528" y="504035"/>
                  </a:lnTo>
                  <a:lnTo>
                    <a:pt x="64839" y="507730"/>
                  </a:lnTo>
                  <a:lnTo>
                    <a:pt x="64839" y="511417"/>
                  </a:lnTo>
                  <a:lnTo>
                    <a:pt x="61149" y="511417"/>
                  </a:lnTo>
                  <a:lnTo>
                    <a:pt x="53771" y="511417"/>
                  </a:lnTo>
                  <a:lnTo>
                    <a:pt x="50082" y="511417"/>
                  </a:lnTo>
                  <a:lnTo>
                    <a:pt x="50082" y="518799"/>
                  </a:lnTo>
                  <a:lnTo>
                    <a:pt x="46393" y="522494"/>
                  </a:lnTo>
                  <a:lnTo>
                    <a:pt x="42704" y="522494"/>
                  </a:lnTo>
                  <a:lnTo>
                    <a:pt x="39014" y="522494"/>
                  </a:lnTo>
                  <a:lnTo>
                    <a:pt x="35325" y="522494"/>
                  </a:lnTo>
                  <a:lnTo>
                    <a:pt x="35325" y="526180"/>
                  </a:lnTo>
                  <a:lnTo>
                    <a:pt x="35325" y="529876"/>
                  </a:lnTo>
                  <a:lnTo>
                    <a:pt x="39014" y="533562"/>
                  </a:lnTo>
                  <a:lnTo>
                    <a:pt x="39014" y="537248"/>
                  </a:lnTo>
                  <a:lnTo>
                    <a:pt x="35325" y="537248"/>
                  </a:lnTo>
                  <a:lnTo>
                    <a:pt x="31636" y="533562"/>
                  </a:lnTo>
                  <a:lnTo>
                    <a:pt x="20569" y="537248"/>
                  </a:lnTo>
                  <a:lnTo>
                    <a:pt x="16879" y="533562"/>
                  </a:lnTo>
                  <a:lnTo>
                    <a:pt x="9501" y="537248"/>
                  </a:lnTo>
                  <a:lnTo>
                    <a:pt x="5812" y="533562"/>
                  </a:lnTo>
                  <a:lnTo>
                    <a:pt x="5812" y="537248"/>
                  </a:lnTo>
                  <a:lnTo>
                    <a:pt x="5812" y="540944"/>
                  </a:lnTo>
                  <a:lnTo>
                    <a:pt x="9501" y="544630"/>
                  </a:lnTo>
                  <a:lnTo>
                    <a:pt x="5812" y="544630"/>
                  </a:lnTo>
                  <a:lnTo>
                    <a:pt x="9501" y="548326"/>
                  </a:lnTo>
                  <a:lnTo>
                    <a:pt x="13190" y="548326"/>
                  </a:lnTo>
                  <a:lnTo>
                    <a:pt x="16879" y="548326"/>
                  </a:lnTo>
                  <a:lnTo>
                    <a:pt x="24258" y="548326"/>
                  </a:lnTo>
                  <a:lnTo>
                    <a:pt x="20569" y="563090"/>
                  </a:lnTo>
                  <a:lnTo>
                    <a:pt x="20569" y="566776"/>
                  </a:lnTo>
                  <a:lnTo>
                    <a:pt x="13190" y="566776"/>
                  </a:lnTo>
                  <a:lnTo>
                    <a:pt x="13190" y="570472"/>
                  </a:lnTo>
                  <a:lnTo>
                    <a:pt x="13190" y="574158"/>
                  </a:lnTo>
                  <a:lnTo>
                    <a:pt x="16879" y="574158"/>
                  </a:lnTo>
                  <a:lnTo>
                    <a:pt x="20569" y="577854"/>
                  </a:lnTo>
                  <a:lnTo>
                    <a:pt x="27947" y="581540"/>
                  </a:lnTo>
                  <a:lnTo>
                    <a:pt x="31636" y="585226"/>
                  </a:lnTo>
                  <a:lnTo>
                    <a:pt x="35325" y="585226"/>
                  </a:lnTo>
                  <a:lnTo>
                    <a:pt x="35325" y="588922"/>
                  </a:lnTo>
                  <a:lnTo>
                    <a:pt x="39014" y="592608"/>
                  </a:lnTo>
                  <a:lnTo>
                    <a:pt x="39014" y="596303"/>
                  </a:lnTo>
                  <a:lnTo>
                    <a:pt x="42704" y="596303"/>
                  </a:lnTo>
                  <a:lnTo>
                    <a:pt x="42704" y="599990"/>
                  </a:lnTo>
                  <a:lnTo>
                    <a:pt x="46393" y="599990"/>
                  </a:lnTo>
                  <a:lnTo>
                    <a:pt x="50082" y="596303"/>
                  </a:lnTo>
                  <a:lnTo>
                    <a:pt x="53771" y="592608"/>
                  </a:lnTo>
                  <a:lnTo>
                    <a:pt x="57460" y="592608"/>
                  </a:lnTo>
                  <a:lnTo>
                    <a:pt x="61149" y="596303"/>
                  </a:lnTo>
                  <a:lnTo>
                    <a:pt x="64839" y="599990"/>
                  </a:lnTo>
                  <a:lnTo>
                    <a:pt x="75906" y="603685"/>
                  </a:lnTo>
                  <a:lnTo>
                    <a:pt x="75906" y="607372"/>
                  </a:lnTo>
                  <a:lnTo>
                    <a:pt x="75906" y="611067"/>
                  </a:lnTo>
                  <a:lnTo>
                    <a:pt x="75906" y="614753"/>
                  </a:lnTo>
                  <a:lnTo>
                    <a:pt x="79595" y="618449"/>
                  </a:lnTo>
                  <a:lnTo>
                    <a:pt x="75906" y="622135"/>
                  </a:lnTo>
                  <a:lnTo>
                    <a:pt x="72217" y="625831"/>
                  </a:lnTo>
                  <a:lnTo>
                    <a:pt x="68528" y="625831"/>
                  </a:lnTo>
                  <a:lnTo>
                    <a:pt x="68528" y="629517"/>
                  </a:lnTo>
                  <a:lnTo>
                    <a:pt x="72217" y="633203"/>
                  </a:lnTo>
                  <a:lnTo>
                    <a:pt x="79595" y="629517"/>
                  </a:lnTo>
                  <a:lnTo>
                    <a:pt x="86973" y="629517"/>
                  </a:lnTo>
                  <a:lnTo>
                    <a:pt x="94352" y="629517"/>
                  </a:lnTo>
                  <a:lnTo>
                    <a:pt x="98041" y="629517"/>
                  </a:lnTo>
                  <a:lnTo>
                    <a:pt x="105419" y="629517"/>
                  </a:lnTo>
                  <a:lnTo>
                    <a:pt x="109108" y="629517"/>
                  </a:lnTo>
                  <a:lnTo>
                    <a:pt x="112798" y="629517"/>
                  </a:lnTo>
                  <a:lnTo>
                    <a:pt x="116487" y="625831"/>
                  </a:lnTo>
                  <a:lnTo>
                    <a:pt x="120176" y="629517"/>
                  </a:lnTo>
                  <a:lnTo>
                    <a:pt x="127554" y="633203"/>
                  </a:lnTo>
                  <a:lnTo>
                    <a:pt x="131243" y="636899"/>
                  </a:lnTo>
                  <a:lnTo>
                    <a:pt x="134933" y="633203"/>
                  </a:lnTo>
                  <a:lnTo>
                    <a:pt x="138620" y="629517"/>
                  </a:lnTo>
                  <a:lnTo>
                    <a:pt x="146001" y="629517"/>
                  </a:lnTo>
                  <a:lnTo>
                    <a:pt x="153383" y="633203"/>
                  </a:lnTo>
                  <a:lnTo>
                    <a:pt x="157069" y="633203"/>
                  </a:lnTo>
                  <a:lnTo>
                    <a:pt x="157069" y="629517"/>
                  </a:lnTo>
                  <a:lnTo>
                    <a:pt x="164442" y="625831"/>
                  </a:lnTo>
                  <a:lnTo>
                    <a:pt x="182892" y="618449"/>
                  </a:lnTo>
                  <a:lnTo>
                    <a:pt x="182892" y="614753"/>
                  </a:lnTo>
                  <a:lnTo>
                    <a:pt x="186578" y="614753"/>
                  </a:lnTo>
                  <a:lnTo>
                    <a:pt x="186578" y="607372"/>
                  </a:lnTo>
                  <a:lnTo>
                    <a:pt x="186578" y="599990"/>
                  </a:lnTo>
                  <a:lnTo>
                    <a:pt x="190274" y="592608"/>
                  </a:lnTo>
                  <a:lnTo>
                    <a:pt x="190274" y="588922"/>
                  </a:lnTo>
                  <a:lnTo>
                    <a:pt x="197646" y="577854"/>
                  </a:lnTo>
                  <a:lnTo>
                    <a:pt x="201342" y="574158"/>
                  </a:lnTo>
                  <a:lnTo>
                    <a:pt x="205028" y="570472"/>
                  </a:lnTo>
                  <a:lnTo>
                    <a:pt x="205028" y="566776"/>
                  </a:lnTo>
                  <a:lnTo>
                    <a:pt x="208714" y="563090"/>
                  </a:lnTo>
                  <a:lnTo>
                    <a:pt x="212410" y="563090"/>
                  </a:lnTo>
                  <a:lnTo>
                    <a:pt x="212410" y="566776"/>
                  </a:lnTo>
                  <a:lnTo>
                    <a:pt x="216096" y="570472"/>
                  </a:lnTo>
                  <a:lnTo>
                    <a:pt x="219782" y="574158"/>
                  </a:lnTo>
                  <a:lnTo>
                    <a:pt x="223478" y="574158"/>
                  </a:lnTo>
                  <a:lnTo>
                    <a:pt x="230850" y="574158"/>
                  </a:lnTo>
                  <a:lnTo>
                    <a:pt x="238232" y="574158"/>
                  </a:lnTo>
                  <a:lnTo>
                    <a:pt x="241918" y="570472"/>
                  </a:lnTo>
                  <a:lnTo>
                    <a:pt x="245604" y="563090"/>
                  </a:lnTo>
                  <a:lnTo>
                    <a:pt x="245604" y="559394"/>
                  </a:lnTo>
                  <a:lnTo>
                    <a:pt x="249300" y="559394"/>
                  </a:lnTo>
                  <a:lnTo>
                    <a:pt x="252986" y="559394"/>
                  </a:lnTo>
                  <a:lnTo>
                    <a:pt x="256672" y="559394"/>
                  </a:lnTo>
                  <a:lnTo>
                    <a:pt x="260368" y="563090"/>
                  </a:lnTo>
                  <a:lnTo>
                    <a:pt x="260368" y="566776"/>
                  </a:lnTo>
                  <a:lnTo>
                    <a:pt x="264054" y="566776"/>
                  </a:lnTo>
                  <a:lnTo>
                    <a:pt x="267740" y="566776"/>
                  </a:lnTo>
                  <a:lnTo>
                    <a:pt x="271436" y="570472"/>
                  </a:lnTo>
                  <a:lnTo>
                    <a:pt x="275122" y="570472"/>
                  </a:lnTo>
                  <a:lnTo>
                    <a:pt x="278808" y="566776"/>
                  </a:lnTo>
                  <a:lnTo>
                    <a:pt x="278808" y="563090"/>
                  </a:lnTo>
                  <a:lnTo>
                    <a:pt x="282504" y="559394"/>
                  </a:lnTo>
                  <a:lnTo>
                    <a:pt x="286190" y="559394"/>
                  </a:lnTo>
                  <a:lnTo>
                    <a:pt x="293572" y="559394"/>
                  </a:lnTo>
                  <a:lnTo>
                    <a:pt x="297258" y="559394"/>
                  </a:lnTo>
                  <a:lnTo>
                    <a:pt x="300945" y="559394"/>
                  </a:lnTo>
                  <a:lnTo>
                    <a:pt x="308326" y="563090"/>
                  </a:lnTo>
                  <a:lnTo>
                    <a:pt x="312013" y="566776"/>
                  </a:lnTo>
                  <a:lnTo>
                    <a:pt x="315699" y="566776"/>
                  </a:lnTo>
                  <a:lnTo>
                    <a:pt x="323081" y="566776"/>
                  </a:lnTo>
                  <a:lnTo>
                    <a:pt x="326767" y="570472"/>
                  </a:lnTo>
                  <a:lnTo>
                    <a:pt x="326767" y="577854"/>
                  </a:lnTo>
                  <a:lnTo>
                    <a:pt x="330463" y="581540"/>
                  </a:lnTo>
                  <a:lnTo>
                    <a:pt x="334149" y="585226"/>
                  </a:lnTo>
                  <a:lnTo>
                    <a:pt x="337835" y="588922"/>
                  </a:lnTo>
                  <a:lnTo>
                    <a:pt x="341531" y="588922"/>
                  </a:lnTo>
                  <a:lnTo>
                    <a:pt x="345217" y="588922"/>
                  </a:lnTo>
                  <a:lnTo>
                    <a:pt x="348903" y="592608"/>
                  </a:lnTo>
                  <a:lnTo>
                    <a:pt x="352599" y="592608"/>
                  </a:lnTo>
                  <a:lnTo>
                    <a:pt x="352599" y="599990"/>
                  </a:lnTo>
                  <a:lnTo>
                    <a:pt x="356285" y="599990"/>
                  </a:lnTo>
                  <a:lnTo>
                    <a:pt x="359971" y="603685"/>
                  </a:lnTo>
                  <a:lnTo>
                    <a:pt x="363667" y="603685"/>
                  </a:lnTo>
                  <a:lnTo>
                    <a:pt x="367353" y="603685"/>
                  </a:lnTo>
                  <a:lnTo>
                    <a:pt x="371039" y="607372"/>
                  </a:lnTo>
                  <a:lnTo>
                    <a:pt x="374725" y="611067"/>
                  </a:lnTo>
                  <a:lnTo>
                    <a:pt x="374725" y="614753"/>
                  </a:lnTo>
                  <a:lnTo>
                    <a:pt x="378421" y="618449"/>
                  </a:lnTo>
                  <a:lnTo>
                    <a:pt x="382107" y="618449"/>
                  </a:lnTo>
                  <a:lnTo>
                    <a:pt x="385793" y="618449"/>
                  </a:lnTo>
                  <a:lnTo>
                    <a:pt x="393175" y="618449"/>
                  </a:lnTo>
                  <a:lnTo>
                    <a:pt x="396861" y="618449"/>
                  </a:lnTo>
                  <a:lnTo>
                    <a:pt x="407929" y="614753"/>
                  </a:lnTo>
                  <a:lnTo>
                    <a:pt x="411625" y="614753"/>
                  </a:lnTo>
                  <a:lnTo>
                    <a:pt x="422693" y="614753"/>
                  </a:lnTo>
                  <a:lnTo>
                    <a:pt x="430065" y="614753"/>
                  </a:lnTo>
                  <a:lnTo>
                    <a:pt x="433761" y="614753"/>
                  </a:lnTo>
                  <a:lnTo>
                    <a:pt x="437447" y="614753"/>
                  </a:lnTo>
                  <a:lnTo>
                    <a:pt x="437447" y="611067"/>
                  </a:lnTo>
                  <a:lnTo>
                    <a:pt x="437447" y="607372"/>
                  </a:lnTo>
                  <a:lnTo>
                    <a:pt x="433761" y="603685"/>
                  </a:lnTo>
                  <a:lnTo>
                    <a:pt x="437447" y="599990"/>
                  </a:lnTo>
                  <a:lnTo>
                    <a:pt x="444820" y="599990"/>
                  </a:lnTo>
                  <a:lnTo>
                    <a:pt x="448516" y="599990"/>
                  </a:lnTo>
                  <a:lnTo>
                    <a:pt x="452202" y="603685"/>
                  </a:lnTo>
                  <a:lnTo>
                    <a:pt x="455888" y="607372"/>
                  </a:lnTo>
                  <a:lnTo>
                    <a:pt x="455888" y="611067"/>
                  </a:lnTo>
                  <a:lnTo>
                    <a:pt x="459583" y="614753"/>
                  </a:lnTo>
                  <a:lnTo>
                    <a:pt x="459583" y="618449"/>
                  </a:lnTo>
                  <a:lnTo>
                    <a:pt x="463270" y="622135"/>
                  </a:lnTo>
                  <a:lnTo>
                    <a:pt x="466956" y="622135"/>
                  </a:lnTo>
                  <a:lnTo>
                    <a:pt x="466956" y="625831"/>
                  </a:lnTo>
                  <a:lnTo>
                    <a:pt x="470652" y="629517"/>
                  </a:lnTo>
                  <a:lnTo>
                    <a:pt x="474338" y="629517"/>
                  </a:lnTo>
                  <a:lnTo>
                    <a:pt x="478024" y="625831"/>
                  </a:lnTo>
                  <a:lnTo>
                    <a:pt x="478024" y="622135"/>
                  </a:lnTo>
                  <a:lnTo>
                    <a:pt x="481720" y="618449"/>
                  </a:lnTo>
                  <a:lnTo>
                    <a:pt x="489092" y="614753"/>
                  </a:lnTo>
                  <a:lnTo>
                    <a:pt x="492788" y="614753"/>
                  </a:lnTo>
                  <a:lnTo>
                    <a:pt x="496474" y="607372"/>
                  </a:lnTo>
                  <a:lnTo>
                    <a:pt x="496474" y="603685"/>
                  </a:lnTo>
                  <a:lnTo>
                    <a:pt x="492788" y="603685"/>
                  </a:lnTo>
                  <a:lnTo>
                    <a:pt x="492788" y="596303"/>
                  </a:lnTo>
                  <a:lnTo>
                    <a:pt x="496474" y="596303"/>
                  </a:lnTo>
                  <a:lnTo>
                    <a:pt x="492788" y="592608"/>
                  </a:lnTo>
                  <a:lnTo>
                    <a:pt x="489092" y="592608"/>
                  </a:lnTo>
                  <a:lnTo>
                    <a:pt x="489092" y="588922"/>
                  </a:lnTo>
                  <a:lnTo>
                    <a:pt x="489092" y="585226"/>
                  </a:lnTo>
                  <a:lnTo>
                    <a:pt x="489092" y="581540"/>
                  </a:lnTo>
                  <a:lnTo>
                    <a:pt x="481720" y="574158"/>
                  </a:lnTo>
                  <a:lnTo>
                    <a:pt x="478024" y="574158"/>
                  </a:lnTo>
                  <a:lnTo>
                    <a:pt x="474338" y="574158"/>
                  </a:lnTo>
                  <a:lnTo>
                    <a:pt x="474338" y="570472"/>
                  </a:lnTo>
                  <a:lnTo>
                    <a:pt x="478024" y="566776"/>
                  </a:lnTo>
                  <a:lnTo>
                    <a:pt x="481720" y="566776"/>
                  </a:lnTo>
                  <a:lnTo>
                    <a:pt x="474338" y="563090"/>
                  </a:lnTo>
                  <a:lnTo>
                    <a:pt x="481720" y="552012"/>
                  </a:lnTo>
                  <a:lnTo>
                    <a:pt x="485406" y="552012"/>
                  </a:lnTo>
                  <a:lnTo>
                    <a:pt x="485406" y="555708"/>
                  </a:lnTo>
                  <a:lnTo>
                    <a:pt x="492788" y="555708"/>
                  </a:lnTo>
                  <a:lnTo>
                    <a:pt x="496474" y="555708"/>
                  </a:lnTo>
                  <a:lnTo>
                    <a:pt x="503856" y="552012"/>
                  </a:lnTo>
                  <a:lnTo>
                    <a:pt x="507542" y="552012"/>
                  </a:lnTo>
                  <a:lnTo>
                    <a:pt x="511228" y="548326"/>
                  </a:lnTo>
                  <a:lnTo>
                    <a:pt x="514924" y="544630"/>
                  </a:lnTo>
                  <a:lnTo>
                    <a:pt x="518610" y="548326"/>
                  </a:lnTo>
                  <a:lnTo>
                    <a:pt x="522296" y="544630"/>
                  </a:lnTo>
                  <a:lnTo>
                    <a:pt x="525982" y="540944"/>
                  </a:lnTo>
                  <a:lnTo>
                    <a:pt x="529678" y="540944"/>
                  </a:lnTo>
                  <a:lnTo>
                    <a:pt x="525982" y="537248"/>
                  </a:lnTo>
                  <a:lnTo>
                    <a:pt x="529678" y="533562"/>
                  </a:lnTo>
                  <a:lnTo>
                    <a:pt x="533364" y="529876"/>
                  </a:lnTo>
                  <a:lnTo>
                    <a:pt x="537050" y="533562"/>
                  </a:lnTo>
                  <a:lnTo>
                    <a:pt x="544432" y="540944"/>
                  </a:lnTo>
                  <a:lnTo>
                    <a:pt x="548118" y="540944"/>
                  </a:lnTo>
                  <a:lnTo>
                    <a:pt x="551814" y="540944"/>
                  </a:lnTo>
                  <a:lnTo>
                    <a:pt x="566568" y="544630"/>
                  </a:lnTo>
                  <a:lnTo>
                    <a:pt x="577636" y="544630"/>
                  </a:lnTo>
                  <a:lnTo>
                    <a:pt x="581323" y="548326"/>
                  </a:lnTo>
                  <a:lnTo>
                    <a:pt x="581323" y="540944"/>
                  </a:lnTo>
                  <a:lnTo>
                    <a:pt x="581323" y="537248"/>
                  </a:lnTo>
                  <a:lnTo>
                    <a:pt x="581323" y="533562"/>
                  </a:lnTo>
                  <a:lnTo>
                    <a:pt x="581323" y="529876"/>
                  </a:lnTo>
                  <a:lnTo>
                    <a:pt x="573950" y="526180"/>
                  </a:lnTo>
                  <a:lnTo>
                    <a:pt x="570254" y="526180"/>
                  </a:lnTo>
                  <a:lnTo>
                    <a:pt x="570254" y="522494"/>
                  </a:lnTo>
                  <a:lnTo>
                    <a:pt x="570254" y="518799"/>
                  </a:lnTo>
                  <a:lnTo>
                    <a:pt x="566568" y="511417"/>
                  </a:lnTo>
                  <a:lnTo>
                    <a:pt x="562882" y="507730"/>
                  </a:lnTo>
                  <a:lnTo>
                    <a:pt x="555500" y="507730"/>
                  </a:lnTo>
                  <a:lnTo>
                    <a:pt x="551814" y="507730"/>
                  </a:lnTo>
                  <a:lnTo>
                    <a:pt x="555500" y="504035"/>
                  </a:lnTo>
                  <a:lnTo>
                    <a:pt x="555500" y="500349"/>
                  </a:lnTo>
                  <a:lnTo>
                    <a:pt x="559186" y="500349"/>
                  </a:lnTo>
                  <a:lnTo>
                    <a:pt x="562882" y="504035"/>
                  </a:lnTo>
                  <a:lnTo>
                    <a:pt x="577636" y="496653"/>
                  </a:lnTo>
                  <a:lnTo>
                    <a:pt x="581323" y="500349"/>
                  </a:lnTo>
                  <a:lnTo>
                    <a:pt x="585009" y="500349"/>
                  </a:lnTo>
                  <a:lnTo>
                    <a:pt x="588704" y="504035"/>
                  </a:lnTo>
                  <a:lnTo>
                    <a:pt x="596077" y="507730"/>
                  </a:lnTo>
                  <a:lnTo>
                    <a:pt x="596077" y="511417"/>
                  </a:lnTo>
                  <a:lnTo>
                    <a:pt x="588704" y="511417"/>
                  </a:lnTo>
                  <a:lnTo>
                    <a:pt x="592391" y="515112"/>
                  </a:lnTo>
                  <a:lnTo>
                    <a:pt x="596077" y="518799"/>
                  </a:lnTo>
                  <a:lnTo>
                    <a:pt x="599772" y="522494"/>
                  </a:lnTo>
                  <a:lnTo>
                    <a:pt x="607145" y="526180"/>
                  </a:lnTo>
                  <a:lnTo>
                    <a:pt x="614527" y="526180"/>
                  </a:lnTo>
                  <a:lnTo>
                    <a:pt x="614527" y="522494"/>
                  </a:lnTo>
                  <a:lnTo>
                    <a:pt x="621909" y="522494"/>
                  </a:lnTo>
                  <a:lnTo>
                    <a:pt x="625595" y="526180"/>
                  </a:lnTo>
                  <a:lnTo>
                    <a:pt x="629281" y="526180"/>
                  </a:lnTo>
                  <a:lnTo>
                    <a:pt x="629281" y="522494"/>
                  </a:lnTo>
                  <a:lnTo>
                    <a:pt x="632977" y="522494"/>
                  </a:lnTo>
                  <a:lnTo>
                    <a:pt x="632977" y="518799"/>
                  </a:lnTo>
                  <a:lnTo>
                    <a:pt x="636663" y="522494"/>
                  </a:lnTo>
                  <a:lnTo>
                    <a:pt x="647731" y="526180"/>
                  </a:lnTo>
                  <a:lnTo>
                    <a:pt x="647731" y="529876"/>
                  </a:lnTo>
                  <a:lnTo>
                    <a:pt x="651417" y="537248"/>
                  </a:lnTo>
                  <a:lnTo>
                    <a:pt x="651417" y="540944"/>
                  </a:lnTo>
                  <a:lnTo>
                    <a:pt x="658799" y="537248"/>
                  </a:lnTo>
                  <a:lnTo>
                    <a:pt x="666171" y="537248"/>
                  </a:lnTo>
                  <a:lnTo>
                    <a:pt x="669867" y="537248"/>
                  </a:lnTo>
                  <a:lnTo>
                    <a:pt x="673553" y="540944"/>
                  </a:lnTo>
                  <a:lnTo>
                    <a:pt x="677239" y="540944"/>
                  </a:lnTo>
                  <a:lnTo>
                    <a:pt x="680935" y="544630"/>
                  </a:lnTo>
                  <a:lnTo>
                    <a:pt x="680935" y="548326"/>
                  </a:lnTo>
                  <a:lnTo>
                    <a:pt x="680935" y="552012"/>
                  </a:lnTo>
                  <a:lnTo>
                    <a:pt x="684621" y="552012"/>
                  </a:lnTo>
                  <a:lnTo>
                    <a:pt x="688307" y="552012"/>
                  </a:lnTo>
                  <a:lnTo>
                    <a:pt x="692003" y="552012"/>
                  </a:lnTo>
                  <a:lnTo>
                    <a:pt x="699375" y="555708"/>
                  </a:lnTo>
                  <a:lnTo>
                    <a:pt x="703071" y="555708"/>
                  </a:lnTo>
                  <a:lnTo>
                    <a:pt x="699375" y="548326"/>
                  </a:lnTo>
                  <a:lnTo>
                    <a:pt x="703071" y="552012"/>
                  </a:lnTo>
                  <a:lnTo>
                    <a:pt x="699375" y="544630"/>
                  </a:lnTo>
                  <a:lnTo>
                    <a:pt x="699375" y="540944"/>
                  </a:lnTo>
                  <a:lnTo>
                    <a:pt x="703071" y="537248"/>
                  </a:lnTo>
                  <a:lnTo>
                    <a:pt x="699375" y="537248"/>
                  </a:lnTo>
                  <a:lnTo>
                    <a:pt x="699375" y="533562"/>
                  </a:lnTo>
                  <a:lnTo>
                    <a:pt x="695689" y="533562"/>
                  </a:lnTo>
                  <a:lnTo>
                    <a:pt x="692003" y="529876"/>
                  </a:lnTo>
                  <a:lnTo>
                    <a:pt x="692003" y="526180"/>
                  </a:lnTo>
                  <a:lnTo>
                    <a:pt x="692003" y="518799"/>
                  </a:lnTo>
                  <a:lnTo>
                    <a:pt x="699375" y="522494"/>
                  </a:lnTo>
                  <a:lnTo>
                    <a:pt x="703071" y="522494"/>
                  </a:lnTo>
                  <a:lnTo>
                    <a:pt x="706757" y="526180"/>
                  </a:lnTo>
                  <a:lnTo>
                    <a:pt x="710443" y="526180"/>
                  </a:lnTo>
                  <a:lnTo>
                    <a:pt x="710443" y="529876"/>
                  </a:lnTo>
                  <a:lnTo>
                    <a:pt x="714139" y="529876"/>
                  </a:lnTo>
                  <a:lnTo>
                    <a:pt x="717825" y="529876"/>
                  </a:lnTo>
                  <a:lnTo>
                    <a:pt x="721512" y="526180"/>
                  </a:lnTo>
                  <a:lnTo>
                    <a:pt x="725207" y="533562"/>
                  </a:lnTo>
                  <a:lnTo>
                    <a:pt x="728893" y="533562"/>
                  </a:lnTo>
                  <a:lnTo>
                    <a:pt x="732580" y="537248"/>
                  </a:lnTo>
                  <a:lnTo>
                    <a:pt x="736266" y="533562"/>
                  </a:lnTo>
                  <a:lnTo>
                    <a:pt x="747334" y="529876"/>
                  </a:lnTo>
                  <a:lnTo>
                    <a:pt x="747334" y="526180"/>
                  </a:lnTo>
                  <a:lnTo>
                    <a:pt x="747334" y="522494"/>
                  </a:lnTo>
                  <a:lnTo>
                    <a:pt x="751029" y="522494"/>
                  </a:lnTo>
                  <a:lnTo>
                    <a:pt x="754716" y="518799"/>
                  </a:lnTo>
                  <a:lnTo>
                    <a:pt x="758402" y="518799"/>
                  </a:lnTo>
                  <a:lnTo>
                    <a:pt x="762098" y="518799"/>
                  </a:lnTo>
                  <a:lnTo>
                    <a:pt x="765784" y="515112"/>
                  </a:lnTo>
                  <a:lnTo>
                    <a:pt x="765784" y="511417"/>
                  </a:lnTo>
                  <a:lnTo>
                    <a:pt x="769470" y="511417"/>
                  </a:lnTo>
                  <a:lnTo>
                    <a:pt x="773166" y="507730"/>
                  </a:lnTo>
                  <a:lnTo>
                    <a:pt x="773166" y="511417"/>
                  </a:lnTo>
                  <a:lnTo>
                    <a:pt x="776852" y="511417"/>
                  </a:lnTo>
                  <a:lnTo>
                    <a:pt x="780538" y="507730"/>
                  </a:lnTo>
                  <a:lnTo>
                    <a:pt x="787920" y="504035"/>
                  </a:lnTo>
                  <a:lnTo>
                    <a:pt x="806360" y="496653"/>
                  </a:lnTo>
                  <a:lnTo>
                    <a:pt x="810056" y="496653"/>
                  </a:lnTo>
                  <a:lnTo>
                    <a:pt x="813742" y="496653"/>
                  </a:lnTo>
                  <a:lnTo>
                    <a:pt x="813742" y="492967"/>
                  </a:lnTo>
                  <a:lnTo>
                    <a:pt x="821124" y="489271"/>
                  </a:lnTo>
                  <a:lnTo>
                    <a:pt x="828496" y="485585"/>
                  </a:lnTo>
                  <a:lnTo>
                    <a:pt x="832192" y="485585"/>
                  </a:lnTo>
                  <a:lnTo>
                    <a:pt x="835878" y="481899"/>
                  </a:lnTo>
                  <a:lnTo>
                    <a:pt x="835878" y="485585"/>
                  </a:lnTo>
                  <a:lnTo>
                    <a:pt x="839564" y="485585"/>
                  </a:lnTo>
                  <a:lnTo>
                    <a:pt x="843260" y="485585"/>
                  </a:lnTo>
                  <a:lnTo>
                    <a:pt x="843260" y="489271"/>
                  </a:lnTo>
                  <a:lnTo>
                    <a:pt x="846946" y="492967"/>
                  </a:lnTo>
                  <a:lnTo>
                    <a:pt x="854328" y="500349"/>
                  </a:lnTo>
                  <a:lnTo>
                    <a:pt x="861700" y="496653"/>
                  </a:lnTo>
                  <a:lnTo>
                    <a:pt x="861700" y="492967"/>
                  </a:lnTo>
                  <a:lnTo>
                    <a:pt x="865396" y="492967"/>
                  </a:lnTo>
                  <a:lnTo>
                    <a:pt x="869082" y="489271"/>
                  </a:lnTo>
                  <a:lnTo>
                    <a:pt x="872769" y="489271"/>
                  </a:lnTo>
                  <a:lnTo>
                    <a:pt x="872769" y="485585"/>
                  </a:lnTo>
                  <a:lnTo>
                    <a:pt x="876455" y="481899"/>
                  </a:lnTo>
                  <a:lnTo>
                    <a:pt x="880150" y="481899"/>
                  </a:lnTo>
                  <a:lnTo>
                    <a:pt x="887523" y="470821"/>
                  </a:lnTo>
                  <a:lnTo>
                    <a:pt x="891218" y="467135"/>
                  </a:lnTo>
                  <a:lnTo>
                    <a:pt x="891218" y="463439"/>
                  </a:lnTo>
                  <a:lnTo>
                    <a:pt x="891218" y="459753"/>
                  </a:lnTo>
                  <a:lnTo>
                    <a:pt x="891218" y="448676"/>
                  </a:lnTo>
                  <a:lnTo>
                    <a:pt x="898591" y="444989"/>
                  </a:lnTo>
                  <a:lnTo>
                    <a:pt x="905973" y="444989"/>
                  </a:lnTo>
                  <a:lnTo>
                    <a:pt x="909659" y="437607"/>
                  </a:lnTo>
                  <a:lnTo>
                    <a:pt x="905973" y="433921"/>
                  </a:lnTo>
                  <a:lnTo>
                    <a:pt x="905973" y="426539"/>
                  </a:lnTo>
                  <a:lnTo>
                    <a:pt x="905973" y="422844"/>
                  </a:lnTo>
                  <a:lnTo>
                    <a:pt x="894905" y="419158"/>
                  </a:lnTo>
                  <a:lnTo>
                    <a:pt x="898591" y="419158"/>
                  </a:lnTo>
                  <a:lnTo>
                    <a:pt x="876455" y="404394"/>
                  </a:lnTo>
                  <a:lnTo>
                    <a:pt x="872769" y="400698"/>
                  </a:lnTo>
                  <a:lnTo>
                    <a:pt x="869082" y="393316"/>
                  </a:lnTo>
                  <a:lnTo>
                    <a:pt x="850632" y="385944"/>
                  </a:lnTo>
                  <a:lnTo>
                    <a:pt x="835878" y="385944"/>
                  </a:lnTo>
                  <a:lnTo>
                    <a:pt x="835878" y="382248"/>
                  </a:lnTo>
                  <a:lnTo>
                    <a:pt x="835878" y="374866"/>
                  </a:lnTo>
                  <a:lnTo>
                    <a:pt x="835878" y="371180"/>
                  </a:lnTo>
                  <a:lnTo>
                    <a:pt x="839564" y="367484"/>
                  </a:lnTo>
                  <a:lnTo>
                    <a:pt x="839564" y="363798"/>
                  </a:lnTo>
                  <a:lnTo>
                    <a:pt x="839564" y="360103"/>
                  </a:lnTo>
                  <a:lnTo>
                    <a:pt x="850632" y="360103"/>
                  </a:lnTo>
                  <a:lnTo>
                    <a:pt x="858014" y="356416"/>
                  </a:lnTo>
                  <a:lnTo>
                    <a:pt x="865396" y="352721"/>
                  </a:lnTo>
                  <a:lnTo>
                    <a:pt x="865396" y="349035"/>
                  </a:lnTo>
                  <a:lnTo>
                    <a:pt x="865396" y="345339"/>
                  </a:lnTo>
                  <a:lnTo>
                    <a:pt x="865396" y="341653"/>
                  </a:lnTo>
                  <a:lnTo>
                    <a:pt x="869082" y="341653"/>
                  </a:lnTo>
                  <a:lnTo>
                    <a:pt x="869082" y="337966"/>
                  </a:lnTo>
                  <a:lnTo>
                    <a:pt x="872769" y="323203"/>
                  </a:lnTo>
                  <a:lnTo>
                    <a:pt x="850632" y="323203"/>
                  </a:lnTo>
                  <a:lnTo>
                    <a:pt x="846946" y="323203"/>
                  </a:lnTo>
                  <a:lnTo>
                    <a:pt x="839564" y="319507"/>
                  </a:lnTo>
                  <a:lnTo>
                    <a:pt x="832192" y="315821"/>
                  </a:lnTo>
                  <a:lnTo>
                    <a:pt x="828496" y="315821"/>
                  </a:lnTo>
                  <a:lnTo>
                    <a:pt x="821124" y="315821"/>
                  </a:lnTo>
                  <a:lnTo>
                    <a:pt x="828496" y="304743"/>
                  </a:lnTo>
                  <a:lnTo>
                    <a:pt x="828496" y="293675"/>
                  </a:lnTo>
                  <a:lnTo>
                    <a:pt x="828496" y="289989"/>
                  </a:lnTo>
                  <a:lnTo>
                    <a:pt x="828496" y="286293"/>
                  </a:lnTo>
                  <a:lnTo>
                    <a:pt x="817428" y="278911"/>
                  </a:lnTo>
                  <a:lnTo>
                    <a:pt x="813742" y="278911"/>
                  </a:lnTo>
                  <a:lnTo>
                    <a:pt x="810056" y="286293"/>
                  </a:lnTo>
                  <a:lnTo>
                    <a:pt x="810056" y="282607"/>
                  </a:lnTo>
                  <a:lnTo>
                    <a:pt x="806360" y="278911"/>
                  </a:lnTo>
                  <a:lnTo>
                    <a:pt x="802674" y="282607"/>
                  </a:lnTo>
                  <a:lnTo>
                    <a:pt x="798988" y="286293"/>
                  </a:lnTo>
                  <a:lnTo>
                    <a:pt x="798988" y="289989"/>
                  </a:lnTo>
                  <a:lnTo>
                    <a:pt x="795302" y="286293"/>
                  </a:lnTo>
                  <a:lnTo>
                    <a:pt x="791606" y="282607"/>
                  </a:lnTo>
                  <a:lnTo>
                    <a:pt x="795302" y="278911"/>
                  </a:lnTo>
                  <a:lnTo>
                    <a:pt x="787920" y="275225"/>
                  </a:lnTo>
                  <a:lnTo>
                    <a:pt x="784234" y="275225"/>
                  </a:lnTo>
                  <a:lnTo>
                    <a:pt x="769470" y="278911"/>
                  </a:lnTo>
                  <a:lnTo>
                    <a:pt x="751029" y="275225"/>
                  </a:lnTo>
                  <a:lnTo>
                    <a:pt x="747334" y="275225"/>
                  </a:lnTo>
                  <a:lnTo>
                    <a:pt x="739961" y="278911"/>
                  </a:lnTo>
                  <a:lnTo>
                    <a:pt x="736266" y="275225"/>
                  </a:lnTo>
                  <a:lnTo>
                    <a:pt x="732580" y="275225"/>
                  </a:lnTo>
                  <a:lnTo>
                    <a:pt x="732580" y="271530"/>
                  </a:lnTo>
                  <a:lnTo>
                    <a:pt x="728893" y="267843"/>
                  </a:lnTo>
                  <a:lnTo>
                    <a:pt x="728893" y="260461"/>
                  </a:lnTo>
                  <a:lnTo>
                    <a:pt x="721512" y="260461"/>
                  </a:lnTo>
                  <a:lnTo>
                    <a:pt x="721512" y="256766"/>
                  </a:lnTo>
                  <a:lnTo>
                    <a:pt x="717825" y="256766"/>
                  </a:lnTo>
                  <a:lnTo>
                    <a:pt x="717825" y="249384"/>
                  </a:lnTo>
                  <a:lnTo>
                    <a:pt x="706757" y="242012"/>
                  </a:lnTo>
                  <a:lnTo>
                    <a:pt x="703071" y="234630"/>
                  </a:lnTo>
                  <a:lnTo>
                    <a:pt x="703071" y="230934"/>
                  </a:lnTo>
                  <a:lnTo>
                    <a:pt x="703071" y="227248"/>
                  </a:lnTo>
                  <a:lnTo>
                    <a:pt x="699375" y="227248"/>
                  </a:lnTo>
                  <a:lnTo>
                    <a:pt x="692003" y="227248"/>
                  </a:lnTo>
                  <a:lnTo>
                    <a:pt x="688307" y="227248"/>
                  </a:lnTo>
                  <a:lnTo>
                    <a:pt x="684621" y="227248"/>
                  </a:lnTo>
                  <a:lnTo>
                    <a:pt x="684621" y="223552"/>
                  </a:lnTo>
                  <a:lnTo>
                    <a:pt x="680935" y="227248"/>
                  </a:lnTo>
                  <a:lnTo>
                    <a:pt x="677239" y="227248"/>
                  </a:lnTo>
                  <a:lnTo>
                    <a:pt x="669867" y="227248"/>
                  </a:lnTo>
                  <a:lnTo>
                    <a:pt x="666171" y="230934"/>
                  </a:lnTo>
                  <a:lnTo>
                    <a:pt x="662485" y="230934"/>
                  </a:lnTo>
                  <a:lnTo>
                    <a:pt x="662485" y="238316"/>
                  </a:lnTo>
                  <a:lnTo>
                    <a:pt x="655113" y="238316"/>
                  </a:lnTo>
                  <a:lnTo>
                    <a:pt x="655113" y="242012"/>
                  </a:lnTo>
                  <a:lnTo>
                    <a:pt x="644045" y="242012"/>
                  </a:lnTo>
                  <a:lnTo>
                    <a:pt x="644045" y="238316"/>
                  </a:lnTo>
                  <a:lnTo>
                    <a:pt x="640349" y="238316"/>
                  </a:lnTo>
                  <a:lnTo>
                    <a:pt x="636663" y="238316"/>
                  </a:lnTo>
                  <a:lnTo>
                    <a:pt x="632977" y="238316"/>
                  </a:lnTo>
                  <a:lnTo>
                    <a:pt x="629281" y="242012"/>
                  </a:lnTo>
                  <a:lnTo>
                    <a:pt x="625595" y="238316"/>
                  </a:lnTo>
                  <a:lnTo>
                    <a:pt x="621909" y="238316"/>
                  </a:lnTo>
                  <a:lnTo>
                    <a:pt x="614527" y="238316"/>
                  </a:lnTo>
                  <a:lnTo>
                    <a:pt x="610840" y="238316"/>
                  </a:lnTo>
                  <a:lnTo>
                    <a:pt x="607145" y="238316"/>
                  </a:lnTo>
                  <a:lnTo>
                    <a:pt x="603459" y="238316"/>
                  </a:lnTo>
                  <a:lnTo>
                    <a:pt x="603459" y="242012"/>
                  </a:lnTo>
                  <a:lnTo>
                    <a:pt x="599772" y="238316"/>
                  </a:lnTo>
                  <a:lnTo>
                    <a:pt x="596077" y="238316"/>
                  </a:lnTo>
                  <a:lnTo>
                    <a:pt x="588704" y="238316"/>
                  </a:lnTo>
                  <a:lnTo>
                    <a:pt x="588704" y="234630"/>
                  </a:lnTo>
                  <a:lnTo>
                    <a:pt x="585009" y="234630"/>
                  </a:lnTo>
                  <a:lnTo>
                    <a:pt x="577636" y="238316"/>
                  </a:lnTo>
                  <a:lnTo>
                    <a:pt x="577636" y="242012"/>
                  </a:lnTo>
                  <a:lnTo>
                    <a:pt x="581323" y="245698"/>
                  </a:lnTo>
                  <a:lnTo>
                    <a:pt x="577636" y="249384"/>
                  </a:lnTo>
                  <a:lnTo>
                    <a:pt x="577636" y="245698"/>
                  </a:lnTo>
                  <a:lnTo>
                    <a:pt x="577636" y="242012"/>
                  </a:lnTo>
                  <a:lnTo>
                    <a:pt x="573950" y="242012"/>
                  </a:lnTo>
                  <a:lnTo>
                    <a:pt x="570254" y="242012"/>
                  </a:lnTo>
                  <a:lnTo>
                    <a:pt x="566568" y="234630"/>
                  </a:lnTo>
                  <a:lnTo>
                    <a:pt x="566568" y="230934"/>
                  </a:lnTo>
                  <a:lnTo>
                    <a:pt x="570254" y="227248"/>
                  </a:lnTo>
                  <a:lnTo>
                    <a:pt x="573950" y="227248"/>
                  </a:lnTo>
                  <a:lnTo>
                    <a:pt x="573950" y="223552"/>
                  </a:lnTo>
                  <a:lnTo>
                    <a:pt x="570254" y="223552"/>
                  </a:lnTo>
                  <a:lnTo>
                    <a:pt x="566568" y="223552"/>
                  </a:lnTo>
                  <a:lnTo>
                    <a:pt x="562882" y="223552"/>
                  </a:lnTo>
                  <a:lnTo>
                    <a:pt x="559186" y="219866"/>
                  </a:lnTo>
                  <a:lnTo>
                    <a:pt x="559186" y="216170"/>
                  </a:lnTo>
                  <a:lnTo>
                    <a:pt x="559186" y="212484"/>
                  </a:lnTo>
                  <a:lnTo>
                    <a:pt x="559186" y="208788"/>
                  </a:lnTo>
                  <a:lnTo>
                    <a:pt x="555500" y="205102"/>
                  </a:lnTo>
                  <a:lnTo>
                    <a:pt x="551814" y="201407"/>
                  </a:lnTo>
                  <a:lnTo>
                    <a:pt x="551814" y="190338"/>
                  </a:lnTo>
                  <a:lnTo>
                    <a:pt x="548118" y="190338"/>
                  </a:lnTo>
                  <a:lnTo>
                    <a:pt x="548118" y="186652"/>
                  </a:lnTo>
                  <a:lnTo>
                    <a:pt x="548118" y="182957"/>
                  </a:lnTo>
                  <a:lnTo>
                    <a:pt x="544432" y="182957"/>
                  </a:lnTo>
                  <a:lnTo>
                    <a:pt x="540746" y="182957"/>
                  </a:lnTo>
                  <a:lnTo>
                    <a:pt x="537050" y="182957"/>
                  </a:lnTo>
                  <a:lnTo>
                    <a:pt x="537050" y="171889"/>
                  </a:lnTo>
                  <a:lnTo>
                    <a:pt x="537050" y="168193"/>
                  </a:lnTo>
                  <a:lnTo>
                    <a:pt x="533364" y="168193"/>
                  </a:lnTo>
                  <a:lnTo>
                    <a:pt x="529678" y="168193"/>
                  </a:lnTo>
                  <a:lnTo>
                    <a:pt x="529678" y="164507"/>
                  </a:lnTo>
                  <a:lnTo>
                    <a:pt x="533364" y="164507"/>
                  </a:lnTo>
                  <a:lnTo>
                    <a:pt x="533364" y="157125"/>
                  </a:lnTo>
                  <a:lnTo>
                    <a:pt x="533364" y="149743"/>
                  </a:lnTo>
                  <a:lnTo>
                    <a:pt x="533364" y="142361"/>
                  </a:lnTo>
                  <a:lnTo>
                    <a:pt x="537050" y="142361"/>
                  </a:lnTo>
                  <a:lnTo>
                    <a:pt x="540746" y="138675"/>
                  </a:lnTo>
                  <a:lnTo>
                    <a:pt x="544432" y="138675"/>
                  </a:lnTo>
                  <a:lnTo>
                    <a:pt x="540746" y="134979"/>
                  </a:lnTo>
                  <a:lnTo>
                    <a:pt x="537050" y="134979"/>
                  </a:lnTo>
                  <a:lnTo>
                    <a:pt x="533364" y="131293"/>
                  </a:lnTo>
                  <a:lnTo>
                    <a:pt x="533364" y="127597"/>
                  </a:lnTo>
                  <a:lnTo>
                    <a:pt x="537050" y="127597"/>
                  </a:lnTo>
                  <a:lnTo>
                    <a:pt x="537050" y="123909"/>
                  </a:lnTo>
                  <a:lnTo>
                    <a:pt x="544432" y="123909"/>
                  </a:lnTo>
                  <a:lnTo>
                    <a:pt x="551814" y="120218"/>
                  </a:lnTo>
                  <a:lnTo>
                    <a:pt x="555500" y="120218"/>
                  </a:lnTo>
                  <a:lnTo>
                    <a:pt x="555500" y="116528"/>
                  </a:lnTo>
                  <a:lnTo>
                    <a:pt x="559186" y="116528"/>
                  </a:lnTo>
                  <a:lnTo>
                    <a:pt x="559186" y="109147"/>
                  </a:lnTo>
                  <a:lnTo>
                    <a:pt x="559186" y="105456"/>
                  </a:lnTo>
                  <a:lnTo>
                    <a:pt x="559186" y="101766"/>
                  </a:lnTo>
                  <a:lnTo>
                    <a:pt x="555500" y="101766"/>
                  </a:lnTo>
                  <a:lnTo>
                    <a:pt x="551814" y="98075"/>
                  </a:lnTo>
                  <a:lnTo>
                    <a:pt x="551814" y="90695"/>
                  </a:lnTo>
                  <a:lnTo>
                    <a:pt x="551814" y="87004"/>
                  </a:lnTo>
                  <a:lnTo>
                    <a:pt x="555500" y="83313"/>
                  </a:lnTo>
                  <a:lnTo>
                    <a:pt x="555500" y="75932"/>
                  </a:lnTo>
                  <a:lnTo>
                    <a:pt x="551814" y="72242"/>
                  </a:lnTo>
                  <a:lnTo>
                    <a:pt x="548118" y="68551"/>
                  </a:lnTo>
                  <a:lnTo>
                    <a:pt x="548118" y="61170"/>
                  </a:lnTo>
                  <a:lnTo>
                    <a:pt x="544432" y="50098"/>
                  </a:lnTo>
                  <a:lnTo>
                    <a:pt x="544432" y="46407"/>
                  </a:lnTo>
                  <a:lnTo>
                    <a:pt x="540746" y="42717"/>
                  </a:lnTo>
                  <a:lnTo>
                    <a:pt x="529678" y="39026"/>
                  </a:lnTo>
                  <a:lnTo>
                    <a:pt x="525982" y="35335"/>
                  </a:lnTo>
                  <a:lnTo>
                    <a:pt x="525982" y="31645"/>
                  </a:lnTo>
                  <a:lnTo>
                    <a:pt x="525982" y="27954"/>
                  </a:lnTo>
                  <a:lnTo>
                    <a:pt x="522296" y="24264"/>
                  </a:lnTo>
                  <a:lnTo>
                    <a:pt x="518610" y="20573"/>
                  </a:lnTo>
                  <a:lnTo>
                    <a:pt x="514924" y="20573"/>
                  </a:lnTo>
                  <a:lnTo>
                    <a:pt x="511228" y="16882"/>
                  </a:lnTo>
                  <a:lnTo>
                    <a:pt x="507542" y="20573"/>
                  </a:lnTo>
                  <a:lnTo>
                    <a:pt x="503856" y="20573"/>
                  </a:lnTo>
                  <a:lnTo>
                    <a:pt x="500160" y="20573"/>
                  </a:lnTo>
                  <a:lnTo>
                    <a:pt x="496474" y="24264"/>
                  </a:lnTo>
                  <a:lnTo>
                    <a:pt x="489092" y="31645"/>
                  </a:lnTo>
                  <a:lnTo>
                    <a:pt x="481720" y="39026"/>
                  </a:lnTo>
                  <a:lnTo>
                    <a:pt x="478024" y="42717"/>
                  </a:lnTo>
                  <a:lnTo>
                    <a:pt x="474338" y="39026"/>
                  </a:lnTo>
                  <a:lnTo>
                    <a:pt x="474338" y="35335"/>
                  </a:lnTo>
                  <a:lnTo>
                    <a:pt x="470652" y="39026"/>
                  </a:lnTo>
                  <a:lnTo>
                    <a:pt x="466956" y="42717"/>
                  </a:lnTo>
                  <a:lnTo>
                    <a:pt x="459583" y="46407"/>
                  </a:lnTo>
                  <a:lnTo>
                    <a:pt x="459583" y="39026"/>
                  </a:lnTo>
                  <a:lnTo>
                    <a:pt x="452202" y="27954"/>
                  </a:lnTo>
                  <a:lnTo>
                    <a:pt x="448516" y="20573"/>
                  </a:lnTo>
                  <a:lnTo>
                    <a:pt x="441134" y="9502"/>
                  </a:lnTo>
                  <a:lnTo>
                    <a:pt x="437447" y="5812"/>
                  </a:lnTo>
                  <a:close/>
                  <a:moveTo>
                    <a:pt x="315699" y="138675"/>
                  </a:moveTo>
                  <a:lnTo>
                    <a:pt x="308326" y="134979"/>
                  </a:lnTo>
                  <a:lnTo>
                    <a:pt x="312013" y="138675"/>
                  </a:lnTo>
                  <a:lnTo>
                    <a:pt x="315699" y="138675"/>
                  </a:lnTo>
                  <a:close/>
                </a:path>
              </a:pathLst>
            </a:custGeom>
            <a:solidFill>
              <a:srgbClr val="FFBD42"/>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35</a:t>
              </a:r>
            </a:p>
          </p:txBody>
        </p:sp>
        <p:sp>
          <p:nvSpPr>
            <p:cNvPr id="291" name="Freeform: Shape 290">
              <a:extLst>
                <a:ext uri="{FF2B5EF4-FFF2-40B4-BE49-F238E27FC236}">
                  <a16:creationId xmlns:a16="http://schemas.microsoft.com/office/drawing/2014/main" id="{E4C96F8E-A47C-49E6-823B-324853BDC383}"/>
                </a:ext>
              </a:extLst>
            </p:cNvPr>
            <p:cNvSpPr/>
            <p:nvPr/>
          </p:nvSpPr>
          <p:spPr>
            <a:xfrm>
              <a:off x="8862764" y="4027472"/>
              <a:ext cx="676397" cy="476554"/>
            </a:xfrm>
            <a:custGeom>
              <a:avLst/>
              <a:gdLst>
                <a:gd name="connsiteX0" fmla="*/ 112797 w 419100"/>
                <a:gd name="connsiteY0" fmla="*/ 5812 h 295275"/>
                <a:gd name="connsiteX1" fmla="*/ 112797 w 419100"/>
                <a:gd name="connsiteY1" fmla="*/ 9507 h 295275"/>
                <a:gd name="connsiteX2" fmla="*/ 109108 w 419100"/>
                <a:gd name="connsiteY2" fmla="*/ 9507 h 295275"/>
                <a:gd name="connsiteX3" fmla="*/ 109108 w 419100"/>
                <a:gd name="connsiteY3" fmla="*/ 13193 h 295275"/>
                <a:gd name="connsiteX4" fmla="*/ 109108 w 419100"/>
                <a:gd name="connsiteY4" fmla="*/ 16889 h 295275"/>
                <a:gd name="connsiteX5" fmla="*/ 101730 w 419100"/>
                <a:gd name="connsiteY5" fmla="*/ 13193 h 295275"/>
                <a:gd name="connsiteX6" fmla="*/ 101730 w 419100"/>
                <a:gd name="connsiteY6" fmla="*/ 16889 h 295275"/>
                <a:gd name="connsiteX7" fmla="*/ 94351 w 419100"/>
                <a:gd name="connsiteY7" fmla="*/ 20575 h 295275"/>
                <a:gd name="connsiteX8" fmla="*/ 94351 w 419100"/>
                <a:gd name="connsiteY8" fmla="*/ 24262 h 295275"/>
                <a:gd name="connsiteX9" fmla="*/ 90662 w 419100"/>
                <a:gd name="connsiteY9" fmla="*/ 24262 h 295275"/>
                <a:gd name="connsiteX10" fmla="*/ 86973 w 419100"/>
                <a:gd name="connsiteY10" fmla="*/ 24262 h 295275"/>
                <a:gd name="connsiteX11" fmla="*/ 83284 w 419100"/>
                <a:gd name="connsiteY11" fmla="*/ 24262 h 295275"/>
                <a:gd name="connsiteX12" fmla="*/ 75906 w 419100"/>
                <a:gd name="connsiteY12" fmla="*/ 20575 h 295275"/>
                <a:gd name="connsiteX13" fmla="*/ 72217 w 419100"/>
                <a:gd name="connsiteY13" fmla="*/ 24262 h 295275"/>
                <a:gd name="connsiteX14" fmla="*/ 72217 w 419100"/>
                <a:gd name="connsiteY14" fmla="*/ 27957 h 295275"/>
                <a:gd name="connsiteX15" fmla="*/ 75906 w 419100"/>
                <a:gd name="connsiteY15" fmla="*/ 31643 h 295275"/>
                <a:gd name="connsiteX16" fmla="*/ 72217 w 419100"/>
                <a:gd name="connsiteY16" fmla="*/ 35339 h 295275"/>
                <a:gd name="connsiteX17" fmla="*/ 68527 w 419100"/>
                <a:gd name="connsiteY17" fmla="*/ 39025 h 295275"/>
                <a:gd name="connsiteX18" fmla="*/ 68527 w 419100"/>
                <a:gd name="connsiteY18" fmla="*/ 42721 h 295275"/>
                <a:gd name="connsiteX19" fmla="*/ 64838 w 419100"/>
                <a:gd name="connsiteY19" fmla="*/ 42721 h 295275"/>
                <a:gd name="connsiteX20" fmla="*/ 61149 w 419100"/>
                <a:gd name="connsiteY20" fmla="*/ 42721 h 295275"/>
                <a:gd name="connsiteX21" fmla="*/ 61149 w 419100"/>
                <a:gd name="connsiteY21" fmla="*/ 46407 h 295275"/>
                <a:gd name="connsiteX22" fmla="*/ 57460 w 419100"/>
                <a:gd name="connsiteY22" fmla="*/ 42721 h 295275"/>
                <a:gd name="connsiteX23" fmla="*/ 53771 w 419100"/>
                <a:gd name="connsiteY23" fmla="*/ 42721 h 295275"/>
                <a:gd name="connsiteX24" fmla="*/ 50082 w 419100"/>
                <a:gd name="connsiteY24" fmla="*/ 42721 h 295275"/>
                <a:gd name="connsiteX25" fmla="*/ 46393 w 419100"/>
                <a:gd name="connsiteY25" fmla="*/ 46407 h 295275"/>
                <a:gd name="connsiteX26" fmla="*/ 39014 w 419100"/>
                <a:gd name="connsiteY26" fmla="*/ 50103 h 295275"/>
                <a:gd name="connsiteX27" fmla="*/ 39014 w 419100"/>
                <a:gd name="connsiteY27" fmla="*/ 53789 h 295275"/>
                <a:gd name="connsiteX28" fmla="*/ 35325 w 419100"/>
                <a:gd name="connsiteY28" fmla="*/ 53789 h 295275"/>
                <a:gd name="connsiteX29" fmla="*/ 31636 w 419100"/>
                <a:gd name="connsiteY29" fmla="*/ 57485 h 295275"/>
                <a:gd name="connsiteX30" fmla="*/ 27947 w 419100"/>
                <a:gd name="connsiteY30" fmla="*/ 57485 h 295275"/>
                <a:gd name="connsiteX31" fmla="*/ 27947 w 419100"/>
                <a:gd name="connsiteY31" fmla="*/ 61171 h 295275"/>
                <a:gd name="connsiteX32" fmla="*/ 24257 w 419100"/>
                <a:gd name="connsiteY32" fmla="*/ 61171 h 295275"/>
                <a:gd name="connsiteX33" fmla="*/ 20568 w 419100"/>
                <a:gd name="connsiteY33" fmla="*/ 64867 h 295275"/>
                <a:gd name="connsiteX34" fmla="*/ 16879 w 419100"/>
                <a:gd name="connsiteY34" fmla="*/ 64867 h 295275"/>
                <a:gd name="connsiteX35" fmla="*/ 13190 w 419100"/>
                <a:gd name="connsiteY35" fmla="*/ 64867 h 295275"/>
                <a:gd name="connsiteX36" fmla="*/ 9501 w 419100"/>
                <a:gd name="connsiteY36" fmla="*/ 64867 h 295275"/>
                <a:gd name="connsiteX37" fmla="*/ 9501 w 419100"/>
                <a:gd name="connsiteY37" fmla="*/ 68553 h 295275"/>
                <a:gd name="connsiteX38" fmla="*/ 13190 w 419100"/>
                <a:gd name="connsiteY38" fmla="*/ 72239 h 295275"/>
                <a:gd name="connsiteX39" fmla="*/ 13190 w 419100"/>
                <a:gd name="connsiteY39" fmla="*/ 79621 h 295275"/>
                <a:gd name="connsiteX40" fmla="*/ 13190 w 419100"/>
                <a:gd name="connsiteY40" fmla="*/ 83316 h 295275"/>
                <a:gd name="connsiteX41" fmla="*/ 16879 w 419100"/>
                <a:gd name="connsiteY41" fmla="*/ 83316 h 295275"/>
                <a:gd name="connsiteX42" fmla="*/ 16879 w 419100"/>
                <a:gd name="connsiteY42" fmla="*/ 87003 h 295275"/>
                <a:gd name="connsiteX43" fmla="*/ 20568 w 419100"/>
                <a:gd name="connsiteY43" fmla="*/ 90698 h 295275"/>
                <a:gd name="connsiteX44" fmla="*/ 24257 w 419100"/>
                <a:gd name="connsiteY44" fmla="*/ 90698 h 295275"/>
                <a:gd name="connsiteX45" fmla="*/ 24257 w 419100"/>
                <a:gd name="connsiteY45" fmla="*/ 94385 h 295275"/>
                <a:gd name="connsiteX46" fmla="*/ 27947 w 419100"/>
                <a:gd name="connsiteY46" fmla="*/ 98080 h 295275"/>
                <a:gd name="connsiteX47" fmla="*/ 31636 w 419100"/>
                <a:gd name="connsiteY47" fmla="*/ 101766 h 295275"/>
                <a:gd name="connsiteX48" fmla="*/ 39014 w 419100"/>
                <a:gd name="connsiteY48" fmla="*/ 101766 h 295275"/>
                <a:gd name="connsiteX49" fmla="*/ 42703 w 419100"/>
                <a:gd name="connsiteY49" fmla="*/ 105462 h 295275"/>
                <a:gd name="connsiteX50" fmla="*/ 57460 w 419100"/>
                <a:gd name="connsiteY50" fmla="*/ 116530 h 295275"/>
                <a:gd name="connsiteX51" fmla="*/ 46393 w 419100"/>
                <a:gd name="connsiteY51" fmla="*/ 120216 h 295275"/>
                <a:gd name="connsiteX52" fmla="*/ 46393 w 419100"/>
                <a:gd name="connsiteY52" fmla="*/ 134980 h 295275"/>
                <a:gd name="connsiteX53" fmla="*/ 42703 w 419100"/>
                <a:gd name="connsiteY53" fmla="*/ 134980 h 295275"/>
                <a:gd name="connsiteX54" fmla="*/ 39014 w 419100"/>
                <a:gd name="connsiteY54" fmla="*/ 134980 h 295275"/>
                <a:gd name="connsiteX55" fmla="*/ 31636 w 419100"/>
                <a:gd name="connsiteY55" fmla="*/ 134980 h 295275"/>
                <a:gd name="connsiteX56" fmla="*/ 27947 w 419100"/>
                <a:gd name="connsiteY56" fmla="*/ 134980 h 295275"/>
                <a:gd name="connsiteX57" fmla="*/ 27947 w 419100"/>
                <a:gd name="connsiteY57" fmla="*/ 131294 h 295275"/>
                <a:gd name="connsiteX58" fmla="*/ 20568 w 419100"/>
                <a:gd name="connsiteY58" fmla="*/ 131294 h 295275"/>
                <a:gd name="connsiteX59" fmla="*/ 16879 w 419100"/>
                <a:gd name="connsiteY59" fmla="*/ 134980 h 295275"/>
                <a:gd name="connsiteX60" fmla="*/ 13190 w 419100"/>
                <a:gd name="connsiteY60" fmla="*/ 138676 h 295275"/>
                <a:gd name="connsiteX61" fmla="*/ 16879 w 419100"/>
                <a:gd name="connsiteY61" fmla="*/ 138676 h 295275"/>
                <a:gd name="connsiteX62" fmla="*/ 13190 w 419100"/>
                <a:gd name="connsiteY62" fmla="*/ 142362 h 295275"/>
                <a:gd name="connsiteX63" fmla="*/ 13190 w 419100"/>
                <a:gd name="connsiteY63" fmla="*/ 146058 h 295275"/>
                <a:gd name="connsiteX64" fmla="*/ 9501 w 419100"/>
                <a:gd name="connsiteY64" fmla="*/ 146058 h 295275"/>
                <a:gd name="connsiteX65" fmla="*/ 5812 w 419100"/>
                <a:gd name="connsiteY65" fmla="*/ 146058 h 295275"/>
                <a:gd name="connsiteX66" fmla="*/ 5812 w 419100"/>
                <a:gd name="connsiteY66" fmla="*/ 149744 h 295275"/>
                <a:gd name="connsiteX67" fmla="*/ 20568 w 419100"/>
                <a:gd name="connsiteY67" fmla="*/ 157126 h 295275"/>
                <a:gd name="connsiteX68" fmla="*/ 24257 w 419100"/>
                <a:gd name="connsiteY68" fmla="*/ 160821 h 295275"/>
                <a:gd name="connsiteX69" fmla="*/ 20568 w 419100"/>
                <a:gd name="connsiteY69" fmla="*/ 160821 h 295275"/>
                <a:gd name="connsiteX70" fmla="*/ 20568 w 419100"/>
                <a:gd name="connsiteY70" fmla="*/ 171890 h 295275"/>
                <a:gd name="connsiteX71" fmla="*/ 24257 w 419100"/>
                <a:gd name="connsiteY71" fmla="*/ 182958 h 295275"/>
                <a:gd name="connsiteX72" fmla="*/ 24257 w 419100"/>
                <a:gd name="connsiteY72" fmla="*/ 186653 h 295275"/>
                <a:gd name="connsiteX73" fmla="*/ 27947 w 419100"/>
                <a:gd name="connsiteY73" fmla="*/ 186653 h 295275"/>
                <a:gd name="connsiteX74" fmla="*/ 24257 w 419100"/>
                <a:gd name="connsiteY74" fmla="*/ 190339 h 295275"/>
                <a:gd name="connsiteX75" fmla="*/ 31636 w 419100"/>
                <a:gd name="connsiteY75" fmla="*/ 190339 h 295275"/>
                <a:gd name="connsiteX76" fmla="*/ 46393 w 419100"/>
                <a:gd name="connsiteY76" fmla="*/ 190339 h 295275"/>
                <a:gd name="connsiteX77" fmla="*/ 42703 w 419100"/>
                <a:gd name="connsiteY77" fmla="*/ 194035 h 295275"/>
                <a:gd name="connsiteX78" fmla="*/ 39014 w 419100"/>
                <a:gd name="connsiteY78" fmla="*/ 197721 h 295275"/>
                <a:gd name="connsiteX79" fmla="*/ 35325 w 419100"/>
                <a:gd name="connsiteY79" fmla="*/ 197721 h 295275"/>
                <a:gd name="connsiteX80" fmla="*/ 24257 w 419100"/>
                <a:gd name="connsiteY80" fmla="*/ 205103 h 295275"/>
                <a:gd name="connsiteX81" fmla="*/ 20568 w 419100"/>
                <a:gd name="connsiteY81" fmla="*/ 216171 h 295275"/>
                <a:gd name="connsiteX82" fmla="*/ 16879 w 419100"/>
                <a:gd name="connsiteY82" fmla="*/ 219867 h 295275"/>
                <a:gd name="connsiteX83" fmla="*/ 13190 w 419100"/>
                <a:gd name="connsiteY83" fmla="*/ 219867 h 295275"/>
                <a:gd name="connsiteX84" fmla="*/ 13190 w 419100"/>
                <a:gd name="connsiteY84" fmla="*/ 223553 h 295275"/>
                <a:gd name="connsiteX85" fmla="*/ 9501 w 419100"/>
                <a:gd name="connsiteY85" fmla="*/ 227249 h 295275"/>
                <a:gd name="connsiteX86" fmla="*/ 13190 w 419100"/>
                <a:gd name="connsiteY86" fmla="*/ 234631 h 295275"/>
                <a:gd name="connsiteX87" fmla="*/ 16879 w 419100"/>
                <a:gd name="connsiteY87" fmla="*/ 234631 h 295275"/>
                <a:gd name="connsiteX88" fmla="*/ 20568 w 419100"/>
                <a:gd name="connsiteY88" fmla="*/ 230935 h 295275"/>
                <a:gd name="connsiteX89" fmla="*/ 24257 w 419100"/>
                <a:gd name="connsiteY89" fmla="*/ 230935 h 295275"/>
                <a:gd name="connsiteX90" fmla="*/ 27947 w 419100"/>
                <a:gd name="connsiteY90" fmla="*/ 230935 h 295275"/>
                <a:gd name="connsiteX91" fmla="*/ 31636 w 419100"/>
                <a:gd name="connsiteY91" fmla="*/ 230935 h 295275"/>
                <a:gd name="connsiteX92" fmla="*/ 35325 w 419100"/>
                <a:gd name="connsiteY92" fmla="*/ 230935 h 295275"/>
                <a:gd name="connsiteX93" fmla="*/ 39014 w 419100"/>
                <a:gd name="connsiteY93" fmla="*/ 242013 h 295275"/>
                <a:gd name="connsiteX94" fmla="*/ 35325 w 419100"/>
                <a:gd name="connsiteY94" fmla="*/ 242013 h 295275"/>
                <a:gd name="connsiteX95" fmla="*/ 20568 w 419100"/>
                <a:gd name="connsiteY95" fmla="*/ 245699 h 295275"/>
                <a:gd name="connsiteX96" fmla="*/ 24257 w 419100"/>
                <a:gd name="connsiteY96" fmla="*/ 249394 h 295275"/>
                <a:gd name="connsiteX97" fmla="*/ 27947 w 419100"/>
                <a:gd name="connsiteY97" fmla="*/ 256776 h 295275"/>
                <a:gd name="connsiteX98" fmla="*/ 31636 w 419100"/>
                <a:gd name="connsiteY98" fmla="*/ 264149 h 295275"/>
                <a:gd name="connsiteX99" fmla="*/ 35325 w 419100"/>
                <a:gd name="connsiteY99" fmla="*/ 267844 h 295275"/>
                <a:gd name="connsiteX100" fmla="*/ 39014 w 419100"/>
                <a:gd name="connsiteY100" fmla="*/ 271531 h 295275"/>
                <a:gd name="connsiteX101" fmla="*/ 42703 w 419100"/>
                <a:gd name="connsiteY101" fmla="*/ 275226 h 295275"/>
                <a:gd name="connsiteX102" fmla="*/ 42703 w 419100"/>
                <a:gd name="connsiteY102" fmla="*/ 278912 h 295275"/>
                <a:gd name="connsiteX103" fmla="*/ 46393 w 419100"/>
                <a:gd name="connsiteY103" fmla="*/ 282608 h 295275"/>
                <a:gd name="connsiteX104" fmla="*/ 46393 w 419100"/>
                <a:gd name="connsiteY104" fmla="*/ 289990 h 295275"/>
                <a:gd name="connsiteX105" fmla="*/ 46393 w 419100"/>
                <a:gd name="connsiteY105" fmla="*/ 293676 h 295275"/>
                <a:gd name="connsiteX106" fmla="*/ 50082 w 419100"/>
                <a:gd name="connsiteY106" fmla="*/ 293676 h 295275"/>
                <a:gd name="connsiteX107" fmla="*/ 57460 w 419100"/>
                <a:gd name="connsiteY107" fmla="*/ 293676 h 295275"/>
                <a:gd name="connsiteX108" fmla="*/ 61149 w 419100"/>
                <a:gd name="connsiteY108" fmla="*/ 293676 h 295275"/>
                <a:gd name="connsiteX109" fmla="*/ 64838 w 419100"/>
                <a:gd name="connsiteY109" fmla="*/ 289990 h 295275"/>
                <a:gd name="connsiteX110" fmla="*/ 68527 w 419100"/>
                <a:gd name="connsiteY110" fmla="*/ 289990 h 295275"/>
                <a:gd name="connsiteX111" fmla="*/ 68527 w 419100"/>
                <a:gd name="connsiteY111" fmla="*/ 286294 h 295275"/>
                <a:gd name="connsiteX112" fmla="*/ 72217 w 419100"/>
                <a:gd name="connsiteY112" fmla="*/ 286294 h 295275"/>
                <a:gd name="connsiteX113" fmla="*/ 75906 w 419100"/>
                <a:gd name="connsiteY113" fmla="*/ 278912 h 295275"/>
                <a:gd name="connsiteX114" fmla="*/ 79595 w 419100"/>
                <a:gd name="connsiteY114" fmla="*/ 275226 h 295275"/>
                <a:gd name="connsiteX115" fmla="*/ 83284 w 419100"/>
                <a:gd name="connsiteY115" fmla="*/ 275226 h 295275"/>
                <a:gd name="connsiteX116" fmla="*/ 86973 w 419100"/>
                <a:gd name="connsiteY116" fmla="*/ 275226 h 295275"/>
                <a:gd name="connsiteX117" fmla="*/ 90662 w 419100"/>
                <a:gd name="connsiteY117" fmla="*/ 278912 h 295275"/>
                <a:gd name="connsiteX118" fmla="*/ 94351 w 419100"/>
                <a:gd name="connsiteY118" fmla="*/ 278912 h 295275"/>
                <a:gd name="connsiteX119" fmla="*/ 98041 w 419100"/>
                <a:gd name="connsiteY119" fmla="*/ 275226 h 295275"/>
                <a:gd name="connsiteX120" fmla="*/ 98041 w 419100"/>
                <a:gd name="connsiteY120" fmla="*/ 271531 h 295275"/>
                <a:gd name="connsiteX121" fmla="*/ 101730 w 419100"/>
                <a:gd name="connsiteY121" fmla="*/ 267844 h 295275"/>
                <a:gd name="connsiteX122" fmla="*/ 105419 w 419100"/>
                <a:gd name="connsiteY122" fmla="*/ 264149 h 295275"/>
                <a:gd name="connsiteX123" fmla="*/ 109108 w 419100"/>
                <a:gd name="connsiteY123" fmla="*/ 264149 h 295275"/>
                <a:gd name="connsiteX124" fmla="*/ 112797 w 419100"/>
                <a:gd name="connsiteY124" fmla="*/ 264149 h 295275"/>
                <a:gd name="connsiteX125" fmla="*/ 120176 w 419100"/>
                <a:gd name="connsiteY125" fmla="*/ 271531 h 295275"/>
                <a:gd name="connsiteX126" fmla="*/ 123865 w 419100"/>
                <a:gd name="connsiteY126" fmla="*/ 271531 h 295275"/>
                <a:gd name="connsiteX127" fmla="*/ 127554 w 419100"/>
                <a:gd name="connsiteY127" fmla="*/ 267844 h 295275"/>
                <a:gd name="connsiteX128" fmla="*/ 127554 w 419100"/>
                <a:gd name="connsiteY128" fmla="*/ 264149 h 295275"/>
                <a:gd name="connsiteX129" fmla="*/ 131243 w 419100"/>
                <a:gd name="connsiteY129" fmla="*/ 264149 h 295275"/>
                <a:gd name="connsiteX130" fmla="*/ 134932 w 419100"/>
                <a:gd name="connsiteY130" fmla="*/ 264149 h 295275"/>
                <a:gd name="connsiteX131" fmla="*/ 138621 w 419100"/>
                <a:gd name="connsiteY131" fmla="*/ 275226 h 295275"/>
                <a:gd name="connsiteX132" fmla="*/ 134932 w 419100"/>
                <a:gd name="connsiteY132" fmla="*/ 282608 h 295275"/>
                <a:gd name="connsiteX133" fmla="*/ 149690 w 419100"/>
                <a:gd name="connsiteY133" fmla="*/ 286294 h 295275"/>
                <a:gd name="connsiteX134" fmla="*/ 157068 w 419100"/>
                <a:gd name="connsiteY134" fmla="*/ 289990 h 295275"/>
                <a:gd name="connsiteX135" fmla="*/ 171825 w 419100"/>
                <a:gd name="connsiteY135" fmla="*/ 297372 h 295275"/>
                <a:gd name="connsiteX136" fmla="*/ 175514 w 419100"/>
                <a:gd name="connsiteY136" fmla="*/ 297372 h 295275"/>
                <a:gd name="connsiteX137" fmla="*/ 179203 w 419100"/>
                <a:gd name="connsiteY137" fmla="*/ 297372 h 295275"/>
                <a:gd name="connsiteX138" fmla="*/ 182892 w 419100"/>
                <a:gd name="connsiteY138" fmla="*/ 297372 h 295275"/>
                <a:gd name="connsiteX139" fmla="*/ 190271 w 419100"/>
                <a:gd name="connsiteY139" fmla="*/ 289990 h 295275"/>
                <a:gd name="connsiteX140" fmla="*/ 193960 w 419100"/>
                <a:gd name="connsiteY140" fmla="*/ 278912 h 295275"/>
                <a:gd name="connsiteX141" fmla="*/ 197649 w 419100"/>
                <a:gd name="connsiteY141" fmla="*/ 271531 h 295275"/>
                <a:gd name="connsiteX142" fmla="*/ 201338 w 419100"/>
                <a:gd name="connsiteY142" fmla="*/ 275226 h 295275"/>
                <a:gd name="connsiteX143" fmla="*/ 205027 w 419100"/>
                <a:gd name="connsiteY143" fmla="*/ 278912 h 295275"/>
                <a:gd name="connsiteX144" fmla="*/ 208716 w 419100"/>
                <a:gd name="connsiteY144" fmla="*/ 278912 h 295275"/>
                <a:gd name="connsiteX145" fmla="*/ 212406 w 419100"/>
                <a:gd name="connsiteY145" fmla="*/ 278912 h 295275"/>
                <a:gd name="connsiteX146" fmla="*/ 216095 w 419100"/>
                <a:gd name="connsiteY146" fmla="*/ 275226 h 295275"/>
                <a:gd name="connsiteX147" fmla="*/ 219784 w 419100"/>
                <a:gd name="connsiteY147" fmla="*/ 271531 h 295275"/>
                <a:gd name="connsiteX148" fmla="*/ 219784 w 419100"/>
                <a:gd name="connsiteY148" fmla="*/ 264149 h 295275"/>
                <a:gd name="connsiteX149" fmla="*/ 223473 w 419100"/>
                <a:gd name="connsiteY149" fmla="*/ 264149 h 295275"/>
                <a:gd name="connsiteX150" fmla="*/ 227162 w 419100"/>
                <a:gd name="connsiteY150" fmla="*/ 264149 h 295275"/>
                <a:gd name="connsiteX151" fmla="*/ 234541 w 419100"/>
                <a:gd name="connsiteY151" fmla="*/ 267844 h 295275"/>
                <a:gd name="connsiteX152" fmla="*/ 241923 w 419100"/>
                <a:gd name="connsiteY152" fmla="*/ 275226 h 295275"/>
                <a:gd name="connsiteX153" fmla="*/ 245609 w 419100"/>
                <a:gd name="connsiteY153" fmla="*/ 275226 h 295275"/>
                <a:gd name="connsiteX154" fmla="*/ 256677 w 419100"/>
                <a:gd name="connsiteY154" fmla="*/ 275226 h 295275"/>
                <a:gd name="connsiteX155" fmla="*/ 260363 w 419100"/>
                <a:gd name="connsiteY155" fmla="*/ 278912 h 295275"/>
                <a:gd name="connsiteX156" fmla="*/ 264050 w 419100"/>
                <a:gd name="connsiteY156" fmla="*/ 282608 h 295275"/>
                <a:gd name="connsiteX157" fmla="*/ 267745 w 419100"/>
                <a:gd name="connsiteY157" fmla="*/ 282608 h 295275"/>
                <a:gd name="connsiteX158" fmla="*/ 271431 w 419100"/>
                <a:gd name="connsiteY158" fmla="*/ 278912 h 295275"/>
                <a:gd name="connsiteX159" fmla="*/ 275118 w 419100"/>
                <a:gd name="connsiteY159" fmla="*/ 278912 h 295275"/>
                <a:gd name="connsiteX160" fmla="*/ 275118 w 419100"/>
                <a:gd name="connsiteY160" fmla="*/ 275226 h 295275"/>
                <a:gd name="connsiteX161" fmla="*/ 278813 w 419100"/>
                <a:gd name="connsiteY161" fmla="*/ 271531 h 295275"/>
                <a:gd name="connsiteX162" fmla="*/ 282499 w 419100"/>
                <a:gd name="connsiteY162" fmla="*/ 271531 h 295275"/>
                <a:gd name="connsiteX163" fmla="*/ 286186 w 419100"/>
                <a:gd name="connsiteY163" fmla="*/ 267844 h 295275"/>
                <a:gd name="connsiteX164" fmla="*/ 293568 w 419100"/>
                <a:gd name="connsiteY164" fmla="*/ 271531 h 295275"/>
                <a:gd name="connsiteX165" fmla="*/ 297254 w 419100"/>
                <a:gd name="connsiteY165" fmla="*/ 271531 h 295275"/>
                <a:gd name="connsiteX166" fmla="*/ 300949 w 419100"/>
                <a:gd name="connsiteY166" fmla="*/ 267844 h 295275"/>
                <a:gd name="connsiteX167" fmla="*/ 304636 w 419100"/>
                <a:gd name="connsiteY167" fmla="*/ 267844 h 295275"/>
                <a:gd name="connsiteX168" fmla="*/ 312017 w 419100"/>
                <a:gd name="connsiteY168" fmla="*/ 264149 h 295275"/>
                <a:gd name="connsiteX169" fmla="*/ 315704 w 419100"/>
                <a:gd name="connsiteY169" fmla="*/ 264149 h 295275"/>
                <a:gd name="connsiteX170" fmla="*/ 319390 w 419100"/>
                <a:gd name="connsiteY170" fmla="*/ 260462 h 295275"/>
                <a:gd name="connsiteX171" fmla="*/ 323086 w 419100"/>
                <a:gd name="connsiteY171" fmla="*/ 256776 h 295275"/>
                <a:gd name="connsiteX172" fmla="*/ 326772 w 419100"/>
                <a:gd name="connsiteY172" fmla="*/ 256776 h 295275"/>
                <a:gd name="connsiteX173" fmla="*/ 330458 w 419100"/>
                <a:gd name="connsiteY173" fmla="*/ 260462 h 295275"/>
                <a:gd name="connsiteX174" fmla="*/ 341526 w 419100"/>
                <a:gd name="connsiteY174" fmla="*/ 260462 h 295275"/>
                <a:gd name="connsiteX175" fmla="*/ 345212 w 419100"/>
                <a:gd name="connsiteY175" fmla="*/ 260462 h 295275"/>
                <a:gd name="connsiteX176" fmla="*/ 348908 w 419100"/>
                <a:gd name="connsiteY176" fmla="*/ 260462 h 295275"/>
                <a:gd name="connsiteX177" fmla="*/ 352594 w 419100"/>
                <a:gd name="connsiteY177" fmla="*/ 264149 h 295275"/>
                <a:gd name="connsiteX178" fmla="*/ 359976 w 419100"/>
                <a:gd name="connsiteY178" fmla="*/ 267844 h 295275"/>
                <a:gd name="connsiteX179" fmla="*/ 363662 w 419100"/>
                <a:gd name="connsiteY179" fmla="*/ 267844 h 295275"/>
                <a:gd name="connsiteX180" fmla="*/ 367348 w 419100"/>
                <a:gd name="connsiteY180" fmla="*/ 271531 h 295275"/>
                <a:gd name="connsiteX181" fmla="*/ 371044 w 419100"/>
                <a:gd name="connsiteY181" fmla="*/ 271531 h 295275"/>
                <a:gd name="connsiteX182" fmla="*/ 374730 w 419100"/>
                <a:gd name="connsiteY182" fmla="*/ 271531 h 295275"/>
                <a:gd name="connsiteX183" fmla="*/ 378416 w 419100"/>
                <a:gd name="connsiteY183" fmla="*/ 278912 h 295275"/>
                <a:gd name="connsiteX184" fmla="*/ 385798 w 419100"/>
                <a:gd name="connsiteY184" fmla="*/ 282608 h 295275"/>
                <a:gd name="connsiteX185" fmla="*/ 396866 w 419100"/>
                <a:gd name="connsiteY185" fmla="*/ 286294 h 295275"/>
                <a:gd name="connsiteX186" fmla="*/ 404239 w 419100"/>
                <a:gd name="connsiteY186" fmla="*/ 289990 h 295275"/>
                <a:gd name="connsiteX187" fmla="*/ 411620 w 419100"/>
                <a:gd name="connsiteY187" fmla="*/ 286294 h 295275"/>
                <a:gd name="connsiteX188" fmla="*/ 415307 w 419100"/>
                <a:gd name="connsiteY188" fmla="*/ 282608 h 295275"/>
                <a:gd name="connsiteX189" fmla="*/ 415307 w 419100"/>
                <a:gd name="connsiteY189" fmla="*/ 278912 h 295275"/>
                <a:gd name="connsiteX190" fmla="*/ 415307 w 419100"/>
                <a:gd name="connsiteY190" fmla="*/ 275226 h 295275"/>
                <a:gd name="connsiteX191" fmla="*/ 411620 w 419100"/>
                <a:gd name="connsiteY191" fmla="*/ 271531 h 295275"/>
                <a:gd name="connsiteX192" fmla="*/ 415307 w 419100"/>
                <a:gd name="connsiteY192" fmla="*/ 267844 h 295275"/>
                <a:gd name="connsiteX193" fmla="*/ 411620 w 419100"/>
                <a:gd name="connsiteY193" fmla="*/ 264149 h 295275"/>
                <a:gd name="connsiteX194" fmla="*/ 411620 w 419100"/>
                <a:gd name="connsiteY194" fmla="*/ 260462 h 295275"/>
                <a:gd name="connsiteX195" fmla="*/ 407934 w 419100"/>
                <a:gd name="connsiteY195" fmla="*/ 253081 h 295275"/>
                <a:gd name="connsiteX196" fmla="*/ 407934 w 419100"/>
                <a:gd name="connsiteY196" fmla="*/ 249394 h 295275"/>
                <a:gd name="connsiteX197" fmla="*/ 404239 w 419100"/>
                <a:gd name="connsiteY197" fmla="*/ 249394 h 295275"/>
                <a:gd name="connsiteX198" fmla="*/ 400552 w 419100"/>
                <a:gd name="connsiteY198" fmla="*/ 245699 h 295275"/>
                <a:gd name="connsiteX199" fmla="*/ 396866 w 419100"/>
                <a:gd name="connsiteY199" fmla="*/ 242013 h 295275"/>
                <a:gd name="connsiteX200" fmla="*/ 396866 w 419100"/>
                <a:gd name="connsiteY200" fmla="*/ 238317 h 295275"/>
                <a:gd name="connsiteX201" fmla="*/ 396866 w 419100"/>
                <a:gd name="connsiteY201" fmla="*/ 234631 h 295275"/>
                <a:gd name="connsiteX202" fmla="*/ 396866 w 419100"/>
                <a:gd name="connsiteY202" fmla="*/ 230935 h 295275"/>
                <a:gd name="connsiteX203" fmla="*/ 396866 w 419100"/>
                <a:gd name="connsiteY203" fmla="*/ 219867 h 295275"/>
                <a:gd name="connsiteX204" fmla="*/ 385798 w 419100"/>
                <a:gd name="connsiteY204" fmla="*/ 212485 h 295275"/>
                <a:gd name="connsiteX205" fmla="*/ 389484 w 419100"/>
                <a:gd name="connsiteY205" fmla="*/ 212485 h 295275"/>
                <a:gd name="connsiteX206" fmla="*/ 389484 w 419100"/>
                <a:gd name="connsiteY206" fmla="*/ 208799 h 295275"/>
                <a:gd name="connsiteX207" fmla="*/ 382112 w 419100"/>
                <a:gd name="connsiteY207" fmla="*/ 208799 h 295275"/>
                <a:gd name="connsiteX208" fmla="*/ 382112 w 419100"/>
                <a:gd name="connsiteY208" fmla="*/ 190339 h 295275"/>
                <a:gd name="connsiteX209" fmla="*/ 382112 w 419100"/>
                <a:gd name="connsiteY209" fmla="*/ 186653 h 295275"/>
                <a:gd name="connsiteX210" fmla="*/ 385798 w 419100"/>
                <a:gd name="connsiteY210" fmla="*/ 182958 h 295275"/>
                <a:gd name="connsiteX211" fmla="*/ 382112 w 419100"/>
                <a:gd name="connsiteY211" fmla="*/ 179271 h 295275"/>
                <a:gd name="connsiteX212" fmla="*/ 382112 w 419100"/>
                <a:gd name="connsiteY212" fmla="*/ 175576 h 295275"/>
                <a:gd name="connsiteX213" fmla="*/ 382112 w 419100"/>
                <a:gd name="connsiteY213" fmla="*/ 171890 h 295275"/>
                <a:gd name="connsiteX214" fmla="*/ 382112 w 419100"/>
                <a:gd name="connsiteY214" fmla="*/ 168194 h 295275"/>
                <a:gd name="connsiteX215" fmla="*/ 378416 w 419100"/>
                <a:gd name="connsiteY215" fmla="*/ 160821 h 295275"/>
                <a:gd name="connsiteX216" fmla="*/ 367348 w 419100"/>
                <a:gd name="connsiteY216" fmla="*/ 164508 h 295275"/>
                <a:gd name="connsiteX217" fmla="*/ 371044 w 419100"/>
                <a:gd name="connsiteY217" fmla="*/ 168194 h 295275"/>
                <a:gd name="connsiteX218" fmla="*/ 371044 w 419100"/>
                <a:gd name="connsiteY218" fmla="*/ 171890 h 295275"/>
                <a:gd name="connsiteX219" fmla="*/ 371044 w 419100"/>
                <a:gd name="connsiteY219" fmla="*/ 175576 h 295275"/>
                <a:gd name="connsiteX220" fmla="*/ 367348 w 419100"/>
                <a:gd name="connsiteY220" fmla="*/ 175576 h 295275"/>
                <a:gd name="connsiteX221" fmla="*/ 367348 w 419100"/>
                <a:gd name="connsiteY221" fmla="*/ 179271 h 295275"/>
                <a:gd name="connsiteX222" fmla="*/ 363662 w 419100"/>
                <a:gd name="connsiteY222" fmla="*/ 182958 h 295275"/>
                <a:gd name="connsiteX223" fmla="*/ 359976 w 419100"/>
                <a:gd name="connsiteY223" fmla="*/ 182958 h 295275"/>
                <a:gd name="connsiteX224" fmla="*/ 356280 w 419100"/>
                <a:gd name="connsiteY224" fmla="*/ 186653 h 295275"/>
                <a:gd name="connsiteX225" fmla="*/ 352594 w 419100"/>
                <a:gd name="connsiteY225" fmla="*/ 190339 h 295275"/>
                <a:gd name="connsiteX226" fmla="*/ 348908 w 419100"/>
                <a:gd name="connsiteY226" fmla="*/ 190339 h 295275"/>
                <a:gd name="connsiteX227" fmla="*/ 345212 w 419100"/>
                <a:gd name="connsiteY227" fmla="*/ 190339 h 295275"/>
                <a:gd name="connsiteX228" fmla="*/ 337840 w 419100"/>
                <a:gd name="connsiteY228" fmla="*/ 186653 h 295275"/>
                <a:gd name="connsiteX229" fmla="*/ 334144 w 419100"/>
                <a:gd name="connsiteY229" fmla="*/ 182958 h 295275"/>
                <a:gd name="connsiteX230" fmla="*/ 334144 w 419100"/>
                <a:gd name="connsiteY230" fmla="*/ 179271 h 295275"/>
                <a:gd name="connsiteX231" fmla="*/ 337840 w 419100"/>
                <a:gd name="connsiteY231" fmla="*/ 179271 h 295275"/>
                <a:gd name="connsiteX232" fmla="*/ 341526 w 419100"/>
                <a:gd name="connsiteY232" fmla="*/ 175576 h 295275"/>
                <a:gd name="connsiteX233" fmla="*/ 345212 w 419100"/>
                <a:gd name="connsiteY233" fmla="*/ 171890 h 295275"/>
                <a:gd name="connsiteX234" fmla="*/ 345212 w 419100"/>
                <a:gd name="connsiteY234" fmla="*/ 168194 h 295275"/>
                <a:gd name="connsiteX235" fmla="*/ 345212 w 419100"/>
                <a:gd name="connsiteY235" fmla="*/ 160821 h 295275"/>
                <a:gd name="connsiteX236" fmla="*/ 348908 w 419100"/>
                <a:gd name="connsiteY236" fmla="*/ 157126 h 295275"/>
                <a:gd name="connsiteX237" fmla="*/ 348908 w 419100"/>
                <a:gd name="connsiteY237" fmla="*/ 153440 h 295275"/>
                <a:gd name="connsiteX238" fmla="*/ 352594 w 419100"/>
                <a:gd name="connsiteY238" fmla="*/ 153440 h 295275"/>
                <a:gd name="connsiteX239" fmla="*/ 356280 w 419100"/>
                <a:gd name="connsiteY239" fmla="*/ 153440 h 295275"/>
                <a:gd name="connsiteX240" fmla="*/ 356280 w 419100"/>
                <a:gd name="connsiteY240" fmla="*/ 149744 h 295275"/>
                <a:gd name="connsiteX241" fmla="*/ 352594 w 419100"/>
                <a:gd name="connsiteY241" fmla="*/ 149744 h 295275"/>
                <a:gd name="connsiteX242" fmla="*/ 352594 w 419100"/>
                <a:gd name="connsiteY242" fmla="*/ 146058 h 295275"/>
                <a:gd name="connsiteX243" fmla="*/ 352594 w 419100"/>
                <a:gd name="connsiteY243" fmla="*/ 142362 h 295275"/>
                <a:gd name="connsiteX244" fmla="*/ 359976 w 419100"/>
                <a:gd name="connsiteY244" fmla="*/ 142362 h 295275"/>
                <a:gd name="connsiteX245" fmla="*/ 359976 w 419100"/>
                <a:gd name="connsiteY245" fmla="*/ 138676 h 295275"/>
                <a:gd name="connsiteX246" fmla="*/ 359976 w 419100"/>
                <a:gd name="connsiteY246" fmla="*/ 134980 h 295275"/>
                <a:gd name="connsiteX247" fmla="*/ 352594 w 419100"/>
                <a:gd name="connsiteY247" fmla="*/ 134980 h 295275"/>
                <a:gd name="connsiteX248" fmla="*/ 352594 w 419100"/>
                <a:gd name="connsiteY248" fmla="*/ 127598 h 295275"/>
                <a:gd name="connsiteX249" fmla="*/ 348908 w 419100"/>
                <a:gd name="connsiteY249" fmla="*/ 127598 h 295275"/>
                <a:gd name="connsiteX250" fmla="*/ 345212 w 419100"/>
                <a:gd name="connsiteY250" fmla="*/ 127598 h 295275"/>
                <a:gd name="connsiteX251" fmla="*/ 345212 w 419100"/>
                <a:gd name="connsiteY251" fmla="*/ 123912 h 295275"/>
                <a:gd name="connsiteX252" fmla="*/ 345212 w 419100"/>
                <a:gd name="connsiteY252" fmla="*/ 120216 h 295275"/>
                <a:gd name="connsiteX253" fmla="*/ 341526 w 419100"/>
                <a:gd name="connsiteY253" fmla="*/ 116530 h 295275"/>
                <a:gd name="connsiteX254" fmla="*/ 345212 w 419100"/>
                <a:gd name="connsiteY254" fmla="*/ 116530 h 295275"/>
                <a:gd name="connsiteX255" fmla="*/ 345212 w 419100"/>
                <a:gd name="connsiteY255" fmla="*/ 112844 h 295275"/>
                <a:gd name="connsiteX256" fmla="*/ 326772 w 419100"/>
                <a:gd name="connsiteY256" fmla="*/ 112844 h 295275"/>
                <a:gd name="connsiteX257" fmla="*/ 323086 w 419100"/>
                <a:gd name="connsiteY257" fmla="*/ 109148 h 295275"/>
                <a:gd name="connsiteX258" fmla="*/ 323086 w 419100"/>
                <a:gd name="connsiteY258" fmla="*/ 98080 h 295275"/>
                <a:gd name="connsiteX259" fmla="*/ 323086 w 419100"/>
                <a:gd name="connsiteY259" fmla="*/ 94385 h 295275"/>
                <a:gd name="connsiteX260" fmla="*/ 323086 w 419100"/>
                <a:gd name="connsiteY260" fmla="*/ 90698 h 295275"/>
                <a:gd name="connsiteX261" fmla="*/ 323086 w 419100"/>
                <a:gd name="connsiteY261" fmla="*/ 87003 h 295275"/>
                <a:gd name="connsiteX262" fmla="*/ 323086 w 419100"/>
                <a:gd name="connsiteY262" fmla="*/ 83316 h 295275"/>
                <a:gd name="connsiteX263" fmla="*/ 308322 w 419100"/>
                <a:gd name="connsiteY263" fmla="*/ 72239 h 295275"/>
                <a:gd name="connsiteX264" fmla="*/ 308322 w 419100"/>
                <a:gd name="connsiteY264" fmla="*/ 75935 h 295275"/>
                <a:gd name="connsiteX265" fmla="*/ 300949 w 419100"/>
                <a:gd name="connsiteY265" fmla="*/ 72239 h 295275"/>
                <a:gd name="connsiteX266" fmla="*/ 300949 w 419100"/>
                <a:gd name="connsiteY266" fmla="*/ 68553 h 295275"/>
                <a:gd name="connsiteX267" fmla="*/ 304636 w 419100"/>
                <a:gd name="connsiteY267" fmla="*/ 50103 h 295275"/>
                <a:gd name="connsiteX268" fmla="*/ 300949 w 419100"/>
                <a:gd name="connsiteY268" fmla="*/ 46407 h 295275"/>
                <a:gd name="connsiteX269" fmla="*/ 297254 w 419100"/>
                <a:gd name="connsiteY269" fmla="*/ 42721 h 295275"/>
                <a:gd name="connsiteX270" fmla="*/ 293568 w 419100"/>
                <a:gd name="connsiteY270" fmla="*/ 39025 h 295275"/>
                <a:gd name="connsiteX271" fmla="*/ 289881 w 419100"/>
                <a:gd name="connsiteY271" fmla="*/ 39025 h 295275"/>
                <a:gd name="connsiteX272" fmla="*/ 289881 w 419100"/>
                <a:gd name="connsiteY272" fmla="*/ 35339 h 295275"/>
                <a:gd name="connsiteX273" fmla="*/ 286186 w 419100"/>
                <a:gd name="connsiteY273" fmla="*/ 31643 h 295275"/>
                <a:gd name="connsiteX274" fmla="*/ 282499 w 419100"/>
                <a:gd name="connsiteY274" fmla="*/ 31643 h 295275"/>
                <a:gd name="connsiteX275" fmla="*/ 278813 w 419100"/>
                <a:gd name="connsiteY275" fmla="*/ 31643 h 295275"/>
                <a:gd name="connsiteX276" fmla="*/ 275118 w 419100"/>
                <a:gd name="connsiteY276" fmla="*/ 31643 h 295275"/>
                <a:gd name="connsiteX277" fmla="*/ 271431 w 419100"/>
                <a:gd name="connsiteY277" fmla="*/ 27957 h 295275"/>
                <a:gd name="connsiteX278" fmla="*/ 264050 w 419100"/>
                <a:gd name="connsiteY278" fmla="*/ 27957 h 295275"/>
                <a:gd name="connsiteX279" fmla="*/ 260363 w 419100"/>
                <a:gd name="connsiteY279" fmla="*/ 24262 h 295275"/>
                <a:gd name="connsiteX280" fmla="*/ 245609 w 419100"/>
                <a:gd name="connsiteY280" fmla="*/ 24262 h 295275"/>
                <a:gd name="connsiteX281" fmla="*/ 238227 w 419100"/>
                <a:gd name="connsiteY281" fmla="*/ 20575 h 295275"/>
                <a:gd name="connsiteX282" fmla="*/ 227162 w 419100"/>
                <a:gd name="connsiteY282" fmla="*/ 42721 h 295275"/>
                <a:gd name="connsiteX283" fmla="*/ 227162 w 419100"/>
                <a:gd name="connsiteY283" fmla="*/ 46407 h 295275"/>
                <a:gd name="connsiteX284" fmla="*/ 227162 w 419100"/>
                <a:gd name="connsiteY284" fmla="*/ 50103 h 295275"/>
                <a:gd name="connsiteX285" fmla="*/ 223473 w 419100"/>
                <a:gd name="connsiteY285" fmla="*/ 57485 h 295275"/>
                <a:gd name="connsiteX286" fmla="*/ 219784 w 419100"/>
                <a:gd name="connsiteY286" fmla="*/ 68553 h 295275"/>
                <a:gd name="connsiteX287" fmla="*/ 216095 w 419100"/>
                <a:gd name="connsiteY287" fmla="*/ 75935 h 295275"/>
                <a:gd name="connsiteX288" fmla="*/ 216095 w 419100"/>
                <a:gd name="connsiteY288" fmla="*/ 83316 h 295275"/>
                <a:gd name="connsiteX289" fmla="*/ 212406 w 419100"/>
                <a:gd name="connsiteY289" fmla="*/ 87003 h 295275"/>
                <a:gd name="connsiteX290" fmla="*/ 212406 w 419100"/>
                <a:gd name="connsiteY290" fmla="*/ 90698 h 295275"/>
                <a:gd name="connsiteX291" fmla="*/ 205027 w 419100"/>
                <a:gd name="connsiteY291" fmla="*/ 105462 h 295275"/>
                <a:gd name="connsiteX292" fmla="*/ 197649 w 419100"/>
                <a:gd name="connsiteY292" fmla="*/ 105462 h 295275"/>
                <a:gd name="connsiteX293" fmla="*/ 193960 w 419100"/>
                <a:gd name="connsiteY293" fmla="*/ 105462 h 295275"/>
                <a:gd name="connsiteX294" fmla="*/ 190271 w 419100"/>
                <a:gd name="connsiteY294" fmla="*/ 105462 h 295275"/>
                <a:gd name="connsiteX295" fmla="*/ 168136 w 419100"/>
                <a:gd name="connsiteY295" fmla="*/ 101766 h 295275"/>
                <a:gd name="connsiteX296" fmla="*/ 164447 w 419100"/>
                <a:gd name="connsiteY296" fmla="*/ 101766 h 295275"/>
                <a:gd name="connsiteX297" fmla="*/ 146001 w 419100"/>
                <a:gd name="connsiteY297" fmla="*/ 109148 h 295275"/>
                <a:gd name="connsiteX298" fmla="*/ 131243 w 419100"/>
                <a:gd name="connsiteY298" fmla="*/ 112844 h 295275"/>
                <a:gd name="connsiteX299" fmla="*/ 131243 w 419100"/>
                <a:gd name="connsiteY299" fmla="*/ 98080 h 295275"/>
                <a:gd name="connsiteX300" fmla="*/ 127554 w 419100"/>
                <a:gd name="connsiteY300" fmla="*/ 98080 h 295275"/>
                <a:gd name="connsiteX301" fmla="*/ 127554 w 419100"/>
                <a:gd name="connsiteY301" fmla="*/ 90698 h 295275"/>
                <a:gd name="connsiteX302" fmla="*/ 127554 w 419100"/>
                <a:gd name="connsiteY302" fmla="*/ 87003 h 295275"/>
                <a:gd name="connsiteX303" fmla="*/ 123865 w 419100"/>
                <a:gd name="connsiteY303" fmla="*/ 87003 h 295275"/>
                <a:gd name="connsiteX304" fmla="*/ 120176 w 419100"/>
                <a:gd name="connsiteY304" fmla="*/ 83316 h 295275"/>
                <a:gd name="connsiteX305" fmla="*/ 127554 w 419100"/>
                <a:gd name="connsiteY305" fmla="*/ 83316 h 295275"/>
                <a:gd name="connsiteX306" fmla="*/ 127554 w 419100"/>
                <a:gd name="connsiteY306" fmla="*/ 79621 h 295275"/>
                <a:gd name="connsiteX307" fmla="*/ 127554 w 419100"/>
                <a:gd name="connsiteY307" fmla="*/ 75935 h 295275"/>
                <a:gd name="connsiteX308" fmla="*/ 127554 w 419100"/>
                <a:gd name="connsiteY308" fmla="*/ 68553 h 295275"/>
                <a:gd name="connsiteX309" fmla="*/ 127554 w 419100"/>
                <a:gd name="connsiteY309" fmla="*/ 61171 h 295275"/>
                <a:gd name="connsiteX310" fmla="*/ 131243 w 419100"/>
                <a:gd name="connsiteY310" fmla="*/ 61171 h 295275"/>
                <a:gd name="connsiteX311" fmla="*/ 138621 w 419100"/>
                <a:gd name="connsiteY311" fmla="*/ 57485 h 295275"/>
                <a:gd name="connsiteX312" fmla="*/ 131243 w 419100"/>
                <a:gd name="connsiteY312" fmla="*/ 53789 h 295275"/>
                <a:gd name="connsiteX313" fmla="*/ 131243 w 419100"/>
                <a:gd name="connsiteY313" fmla="*/ 46407 h 295275"/>
                <a:gd name="connsiteX314" fmla="*/ 131243 w 419100"/>
                <a:gd name="connsiteY314" fmla="*/ 42721 h 295275"/>
                <a:gd name="connsiteX315" fmla="*/ 127554 w 419100"/>
                <a:gd name="connsiteY315" fmla="*/ 42721 h 295275"/>
                <a:gd name="connsiteX316" fmla="*/ 127554 w 419100"/>
                <a:gd name="connsiteY316" fmla="*/ 46407 h 295275"/>
                <a:gd name="connsiteX317" fmla="*/ 123865 w 419100"/>
                <a:gd name="connsiteY317" fmla="*/ 42721 h 295275"/>
                <a:gd name="connsiteX318" fmla="*/ 120176 w 419100"/>
                <a:gd name="connsiteY318" fmla="*/ 31643 h 295275"/>
                <a:gd name="connsiteX319" fmla="*/ 120176 w 419100"/>
                <a:gd name="connsiteY319" fmla="*/ 27957 h 295275"/>
                <a:gd name="connsiteX320" fmla="*/ 123865 w 419100"/>
                <a:gd name="connsiteY320" fmla="*/ 27957 h 295275"/>
                <a:gd name="connsiteX321" fmla="*/ 127554 w 419100"/>
                <a:gd name="connsiteY321" fmla="*/ 27957 h 295275"/>
                <a:gd name="connsiteX322" fmla="*/ 127554 w 419100"/>
                <a:gd name="connsiteY322" fmla="*/ 24262 h 295275"/>
                <a:gd name="connsiteX323" fmla="*/ 131243 w 419100"/>
                <a:gd name="connsiteY323" fmla="*/ 24262 h 295275"/>
                <a:gd name="connsiteX324" fmla="*/ 134932 w 419100"/>
                <a:gd name="connsiteY324" fmla="*/ 24262 h 295275"/>
                <a:gd name="connsiteX325" fmla="*/ 134932 w 419100"/>
                <a:gd name="connsiteY325" fmla="*/ 20575 h 295275"/>
                <a:gd name="connsiteX326" fmla="*/ 138621 w 419100"/>
                <a:gd name="connsiteY326" fmla="*/ 20575 h 295275"/>
                <a:gd name="connsiteX327" fmla="*/ 142312 w 419100"/>
                <a:gd name="connsiteY327" fmla="*/ 20575 h 295275"/>
                <a:gd name="connsiteX328" fmla="*/ 138621 w 419100"/>
                <a:gd name="connsiteY328" fmla="*/ 16889 h 295275"/>
                <a:gd name="connsiteX329" fmla="*/ 134932 w 419100"/>
                <a:gd name="connsiteY329" fmla="*/ 16889 h 295275"/>
                <a:gd name="connsiteX330" fmla="*/ 131243 w 419100"/>
                <a:gd name="connsiteY330" fmla="*/ 20575 h 295275"/>
                <a:gd name="connsiteX331" fmla="*/ 127554 w 419100"/>
                <a:gd name="connsiteY331" fmla="*/ 20575 h 295275"/>
                <a:gd name="connsiteX332" fmla="*/ 123865 w 419100"/>
                <a:gd name="connsiteY332" fmla="*/ 16889 h 295275"/>
                <a:gd name="connsiteX333" fmla="*/ 120176 w 419100"/>
                <a:gd name="connsiteY333" fmla="*/ 20575 h 295275"/>
                <a:gd name="connsiteX334" fmla="*/ 120176 w 419100"/>
                <a:gd name="connsiteY334" fmla="*/ 5812 h 295275"/>
                <a:gd name="connsiteX335" fmla="*/ 116486 w 419100"/>
                <a:gd name="connsiteY335" fmla="*/ 5812 h 295275"/>
                <a:gd name="connsiteX336" fmla="*/ 112797 w 419100"/>
                <a:gd name="connsiteY336" fmla="*/ 5812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419100" h="295275">
                  <a:moveTo>
                    <a:pt x="112797" y="5812"/>
                  </a:moveTo>
                  <a:lnTo>
                    <a:pt x="112797" y="9507"/>
                  </a:lnTo>
                  <a:lnTo>
                    <a:pt x="109108" y="9507"/>
                  </a:lnTo>
                  <a:lnTo>
                    <a:pt x="109108" y="13193"/>
                  </a:lnTo>
                  <a:lnTo>
                    <a:pt x="109108" y="16889"/>
                  </a:lnTo>
                  <a:lnTo>
                    <a:pt x="101730" y="13193"/>
                  </a:lnTo>
                  <a:lnTo>
                    <a:pt x="101730" y="16889"/>
                  </a:lnTo>
                  <a:lnTo>
                    <a:pt x="94351" y="20575"/>
                  </a:lnTo>
                  <a:lnTo>
                    <a:pt x="94351" y="24262"/>
                  </a:lnTo>
                  <a:lnTo>
                    <a:pt x="90662" y="24262"/>
                  </a:lnTo>
                  <a:lnTo>
                    <a:pt x="86973" y="24262"/>
                  </a:lnTo>
                  <a:lnTo>
                    <a:pt x="83284" y="24262"/>
                  </a:lnTo>
                  <a:lnTo>
                    <a:pt x="75906" y="20575"/>
                  </a:lnTo>
                  <a:lnTo>
                    <a:pt x="72217" y="24262"/>
                  </a:lnTo>
                  <a:lnTo>
                    <a:pt x="72217" y="27957"/>
                  </a:lnTo>
                  <a:lnTo>
                    <a:pt x="75906" y="31643"/>
                  </a:lnTo>
                  <a:lnTo>
                    <a:pt x="72217" y="35339"/>
                  </a:lnTo>
                  <a:lnTo>
                    <a:pt x="68527" y="39025"/>
                  </a:lnTo>
                  <a:lnTo>
                    <a:pt x="68527" y="42721"/>
                  </a:lnTo>
                  <a:lnTo>
                    <a:pt x="64838" y="42721"/>
                  </a:lnTo>
                  <a:lnTo>
                    <a:pt x="61149" y="42721"/>
                  </a:lnTo>
                  <a:lnTo>
                    <a:pt x="61149" y="46407"/>
                  </a:lnTo>
                  <a:lnTo>
                    <a:pt x="57460" y="42721"/>
                  </a:lnTo>
                  <a:lnTo>
                    <a:pt x="53771" y="42721"/>
                  </a:lnTo>
                  <a:lnTo>
                    <a:pt x="50082" y="42721"/>
                  </a:lnTo>
                  <a:lnTo>
                    <a:pt x="46393" y="46407"/>
                  </a:lnTo>
                  <a:lnTo>
                    <a:pt x="39014" y="50103"/>
                  </a:lnTo>
                  <a:lnTo>
                    <a:pt x="39014" y="53789"/>
                  </a:lnTo>
                  <a:lnTo>
                    <a:pt x="35325" y="53789"/>
                  </a:lnTo>
                  <a:lnTo>
                    <a:pt x="31636" y="57485"/>
                  </a:lnTo>
                  <a:lnTo>
                    <a:pt x="27947" y="57485"/>
                  </a:lnTo>
                  <a:lnTo>
                    <a:pt x="27947" y="61171"/>
                  </a:lnTo>
                  <a:lnTo>
                    <a:pt x="24257" y="61171"/>
                  </a:lnTo>
                  <a:lnTo>
                    <a:pt x="20568" y="64867"/>
                  </a:lnTo>
                  <a:lnTo>
                    <a:pt x="16879" y="64867"/>
                  </a:lnTo>
                  <a:lnTo>
                    <a:pt x="13190" y="64867"/>
                  </a:lnTo>
                  <a:lnTo>
                    <a:pt x="9501" y="64867"/>
                  </a:lnTo>
                  <a:lnTo>
                    <a:pt x="9501" y="68553"/>
                  </a:lnTo>
                  <a:lnTo>
                    <a:pt x="13190" y="72239"/>
                  </a:lnTo>
                  <a:lnTo>
                    <a:pt x="13190" y="79621"/>
                  </a:lnTo>
                  <a:lnTo>
                    <a:pt x="13190" y="83316"/>
                  </a:lnTo>
                  <a:lnTo>
                    <a:pt x="16879" y="83316"/>
                  </a:lnTo>
                  <a:lnTo>
                    <a:pt x="16879" y="87003"/>
                  </a:lnTo>
                  <a:lnTo>
                    <a:pt x="20568" y="90698"/>
                  </a:lnTo>
                  <a:lnTo>
                    <a:pt x="24257" y="90698"/>
                  </a:lnTo>
                  <a:lnTo>
                    <a:pt x="24257" y="94385"/>
                  </a:lnTo>
                  <a:lnTo>
                    <a:pt x="27947" y="98080"/>
                  </a:lnTo>
                  <a:lnTo>
                    <a:pt x="31636" y="101766"/>
                  </a:lnTo>
                  <a:lnTo>
                    <a:pt x="39014" y="101766"/>
                  </a:lnTo>
                  <a:lnTo>
                    <a:pt x="42703" y="105462"/>
                  </a:lnTo>
                  <a:lnTo>
                    <a:pt x="57460" y="116530"/>
                  </a:lnTo>
                  <a:lnTo>
                    <a:pt x="46393" y="120216"/>
                  </a:lnTo>
                  <a:lnTo>
                    <a:pt x="46393" y="134980"/>
                  </a:lnTo>
                  <a:lnTo>
                    <a:pt x="42703" y="134980"/>
                  </a:lnTo>
                  <a:lnTo>
                    <a:pt x="39014" y="134980"/>
                  </a:lnTo>
                  <a:lnTo>
                    <a:pt x="31636" y="134980"/>
                  </a:lnTo>
                  <a:lnTo>
                    <a:pt x="27947" y="134980"/>
                  </a:lnTo>
                  <a:lnTo>
                    <a:pt x="27947" y="131294"/>
                  </a:lnTo>
                  <a:lnTo>
                    <a:pt x="20568" y="131294"/>
                  </a:lnTo>
                  <a:lnTo>
                    <a:pt x="16879" y="134980"/>
                  </a:lnTo>
                  <a:lnTo>
                    <a:pt x="13190" y="138676"/>
                  </a:lnTo>
                  <a:lnTo>
                    <a:pt x="16879" y="138676"/>
                  </a:lnTo>
                  <a:lnTo>
                    <a:pt x="13190" y="142362"/>
                  </a:lnTo>
                  <a:lnTo>
                    <a:pt x="13190" y="146058"/>
                  </a:lnTo>
                  <a:lnTo>
                    <a:pt x="9501" y="146058"/>
                  </a:lnTo>
                  <a:lnTo>
                    <a:pt x="5812" y="146058"/>
                  </a:lnTo>
                  <a:lnTo>
                    <a:pt x="5812" y="149744"/>
                  </a:lnTo>
                  <a:lnTo>
                    <a:pt x="20568" y="157126"/>
                  </a:lnTo>
                  <a:lnTo>
                    <a:pt x="24257" y="160821"/>
                  </a:lnTo>
                  <a:lnTo>
                    <a:pt x="20568" y="160821"/>
                  </a:lnTo>
                  <a:lnTo>
                    <a:pt x="20568" y="171890"/>
                  </a:lnTo>
                  <a:lnTo>
                    <a:pt x="24257" y="182958"/>
                  </a:lnTo>
                  <a:lnTo>
                    <a:pt x="24257" y="186653"/>
                  </a:lnTo>
                  <a:lnTo>
                    <a:pt x="27947" y="186653"/>
                  </a:lnTo>
                  <a:lnTo>
                    <a:pt x="24257" y="190339"/>
                  </a:lnTo>
                  <a:lnTo>
                    <a:pt x="31636" y="190339"/>
                  </a:lnTo>
                  <a:lnTo>
                    <a:pt x="46393" y="190339"/>
                  </a:lnTo>
                  <a:lnTo>
                    <a:pt x="42703" y="194035"/>
                  </a:lnTo>
                  <a:lnTo>
                    <a:pt x="39014" y="197721"/>
                  </a:lnTo>
                  <a:lnTo>
                    <a:pt x="35325" y="197721"/>
                  </a:lnTo>
                  <a:lnTo>
                    <a:pt x="24257" y="205103"/>
                  </a:lnTo>
                  <a:lnTo>
                    <a:pt x="20568" y="216171"/>
                  </a:lnTo>
                  <a:lnTo>
                    <a:pt x="16879" y="219867"/>
                  </a:lnTo>
                  <a:lnTo>
                    <a:pt x="13190" y="219867"/>
                  </a:lnTo>
                  <a:lnTo>
                    <a:pt x="13190" y="223553"/>
                  </a:lnTo>
                  <a:lnTo>
                    <a:pt x="9501" y="227249"/>
                  </a:lnTo>
                  <a:lnTo>
                    <a:pt x="13190" y="234631"/>
                  </a:lnTo>
                  <a:lnTo>
                    <a:pt x="16879" y="234631"/>
                  </a:lnTo>
                  <a:lnTo>
                    <a:pt x="20568" y="230935"/>
                  </a:lnTo>
                  <a:lnTo>
                    <a:pt x="24257" y="230935"/>
                  </a:lnTo>
                  <a:lnTo>
                    <a:pt x="27947" y="230935"/>
                  </a:lnTo>
                  <a:lnTo>
                    <a:pt x="31636" y="230935"/>
                  </a:lnTo>
                  <a:lnTo>
                    <a:pt x="35325" y="230935"/>
                  </a:lnTo>
                  <a:lnTo>
                    <a:pt x="39014" y="242013"/>
                  </a:lnTo>
                  <a:lnTo>
                    <a:pt x="35325" y="242013"/>
                  </a:lnTo>
                  <a:lnTo>
                    <a:pt x="20568" y="245699"/>
                  </a:lnTo>
                  <a:lnTo>
                    <a:pt x="24257" y="249394"/>
                  </a:lnTo>
                  <a:lnTo>
                    <a:pt x="27947" y="256776"/>
                  </a:lnTo>
                  <a:lnTo>
                    <a:pt x="31636" y="264149"/>
                  </a:lnTo>
                  <a:lnTo>
                    <a:pt x="35325" y="267844"/>
                  </a:lnTo>
                  <a:lnTo>
                    <a:pt x="39014" y="271531"/>
                  </a:lnTo>
                  <a:lnTo>
                    <a:pt x="42703" y="275226"/>
                  </a:lnTo>
                  <a:lnTo>
                    <a:pt x="42703" y="278912"/>
                  </a:lnTo>
                  <a:lnTo>
                    <a:pt x="46393" y="282608"/>
                  </a:lnTo>
                  <a:lnTo>
                    <a:pt x="46393" y="289990"/>
                  </a:lnTo>
                  <a:lnTo>
                    <a:pt x="46393" y="293676"/>
                  </a:lnTo>
                  <a:lnTo>
                    <a:pt x="50082" y="293676"/>
                  </a:lnTo>
                  <a:lnTo>
                    <a:pt x="57460" y="293676"/>
                  </a:lnTo>
                  <a:lnTo>
                    <a:pt x="61149" y="293676"/>
                  </a:lnTo>
                  <a:lnTo>
                    <a:pt x="64838" y="289990"/>
                  </a:lnTo>
                  <a:lnTo>
                    <a:pt x="68527" y="289990"/>
                  </a:lnTo>
                  <a:lnTo>
                    <a:pt x="68527" y="286294"/>
                  </a:lnTo>
                  <a:lnTo>
                    <a:pt x="72217" y="286294"/>
                  </a:lnTo>
                  <a:lnTo>
                    <a:pt x="75906" y="278912"/>
                  </a:lnTo>
                  <a:lnTo>
                    <a:pt x="79595" y="275226"/>
                  </a:lnTo>
                  <a:lnTo>
                    <a:pt x="83284" y="275226"/>
                  </a:lnTo>
                  <a:lnTo>
                    <a:pt x="86973" y="275226"/>
                  </a:lnTo>
                  <a:lnTo>
                    <a:pt x="90662" y="278912"/>
                  </a:lnTo>
                  <a:lnTo>
                    <a:pt x="94351" y="278912"/>
                  </a:lnTo>
                  <a:lnTo>
                    <a:pt x="98041" y="275226"/>
                  </a:lnTo>
                  <a:lnTo>
                    <a:pt x="98041" y="271531"/>
                  </a:lnTo>
                  <a:lnTo>
                    <a:pt x="101730" y="267844"/>
                  </a:lnTo>
                  <a:lnTo>
                    <a:pt x="105419" y="264149"/>
                  </a:lnTo>
                  <a:lnTo>
                    <a:pt x="109108" y="264149"/>
                  </a:lnTo>
                  <a:lnTo>
                    <a:pt x="112797" y="264149"/>
                  </a:lnTo>
                  <a:lnTo>
                    <a:pt x="120176" y="271531"/>
                  </a:lnTo>
                  <a:lnTo>
                    <a:pt x="123865" y="271531"/>
                  </a:lnTo>
                  <a:lnTo>
                    <a:pt x="127554" y="267844"/>
                  </a:lnTo>
                  <a:lnTo>
                    <a:pt x="127554" y="264149"/>
                  </a:lnTo>
                  <a:lnTo>
                    <a:pt x="131243" y="264149"/>
                  </a:lnTo>
                  <a:lnTo>
                    <a:pt x="134932" y="264149"/>
                  </a:lnTo>
                  <a:lnTo>
                    <a:pt x="138621" y="275226"/>
                  </a:lnTo>
                  <a:lnTo>
                    <a:pt x="134932" y="282608"/>
                  </a:lnTo>
                  <a:lnTo>
                    <a:pt x="149690" y="286294"/>
                  </a:lnTo>
                  <a:lnTo>
                    <a:pt x="157068" y="289990"/>
                  </a:lnTo>
                  <a:lnTo>
                    <a:pt x="171825" y="297372"/>
                  </a:lnTo>
                  <a:lnTo>
                    <a:pt x="175514" y="297372"/>
                  </a:lnTo>
                  <a:lnTo>
                    <a:pt x="179203" y="297372"/>
                  </a:lnTo>
                  <a:lnTo>
                    <a:pt x="182892" y="297372"/>
                  </a:lnTo>
                  <a:lnTo>
                    <a:pt x="190271" y="289990"/>
                  </a:lnTo>
                  <a:lnTo>
                    <a:pt x="193960" y="278912"/>
                  </a:lnTo>
                  <a:lnTo>
                    <a:pt x="197649" y="271531"/>
                  </a:lnTo>
                  <a:lnTo>
                    <a:pt x="201338" y="275226"/>
                  </a:lnTo>
                  <a:lnTo>
                    <a:pt x="205027" y="278912"/>
                  </a:lnTo>
                  <a:lnTo>
                    <a:pt x="208716" y="278912"/>
                  </a:lnTo>
                  <a:lnTo>
                    <a:pt x="212406" y="278912"/>
                  </a:lnTo>
                  <a:lnTo>
                    <a:pt x="216095" y="275226"/>
                  </a:lnTo>
                  <a:lnTo>
                    <a:pt x="219784" y="271531"/>
                  </a:lnTo>
                  <a:lnTo>
                    <a:pt x="219784" y="264149"/>
                  </a:lnTo>
                  <a:lnTo>
                    <a:pt x="223473" y="264149"/>
                  </a:lnTo>
                  <a:lnTo>
                    <a:pt x="227162" y="264149"/>
                  </a:lnTo>
                  <a:lnTo>
                    <a:pt x="234541" y="267844"/>
                  </a:lnTo>
                  <a:lnTo>
                    <a:pt x="241923" y="275226"/>
                  </a:lnTo>
                  <a:lnTo>
                    <a:pt x="245609" y="275226"/>
                  </a:lnTo>
                  <a:lnTo>
                    <a:pt x="256677" y="275226"/>
                  </a:lnTo>
                  <a:lnTo>
                    <a:pt x="260363" y="278912"/>
                  </a:lnTo>
                  <a:lnTo>
                    <a:pt x="264050" y="282608"/>
                  </a:lnTo>
                  <a:lnTo>
                    <a:pt x="267745" y="282608"/>
                  </a:lnTo>
                  <a:lnTo>
                    <a:pt x="271431" y="278912"/>
                  </a:lnTo>
                  <a:lnTo>
                    <a:pt x="275118" y="278912"/>
                  </a:lnTo>
                  <a:lnTo>
                    <a:pt x="275118" y="275226"/>
                  </a:lnTo>
                  <a:lnTo>
                    <a:pt x="278813" y="271531"/>
                  </a:lnTo>
                  <a:lnTo>
                    <a:pt x="282499" y="271531"/>
                  </a:lnTo>
                  <a:lnTo>
                    <a:pt x="286186" y="267844"/>
                  </a:lnTo>
                  <a:lnTo>
                    <a:pt x="293568" y="271531"/>
                  </a:lnTo>
                  <a:lnTo>
                    <a:pt x="297254" y="271531"/>
                  </a:lnTo>
                  <a:lnTo>
                    <a:pt x="300949" y="267844"/>
                  </a:lnTo>
                  <a:lnTo>
                    <a:pt x="304636" y="267844"/>
                  </a:lnTo>
                  <a:lnTo>
                    <a:pt x="312017" y="264149"/>
                  </a:lnTo>
                  <a:lnTo>
                    <a:pt x="315704" y="264149"/>
                  </a:lnTo>
                  <a:lnTo>
                    <a:pt x="319390" y="260462"/>
                  </a:lnTo>
                  <a:lnTo>
                    <a:pt x="323086" y="256776"/>
                  </a:lnTo>
                  <a:lnTo>
                    <a:pt x="326772" y="256776"/>
                  </a:lnTo>
                  <a:lnTo>
                    <a:pt x="330458" y="260462"/>
                  </a:lnTo>
                  <a:lnTo>
                    <a:pt x="341526" y="260462"/>
                  </a:lnTo>
                  <a:lnTo>
                    <a:pt x="345212" y="260462"/>
                  </a:lnTo>
                  <a:lnTo>
                    <a:pt x="348908" y="260462"/>
                  </a:lnTo>
                  <a:lnTo>
                    <a:pt x="352594" y="264149"/>
                  </a:lnTo>
                  <a:lnTo>
                    <a:pt x="359976" y="267844"/>
                  </a:lnTo>
                  <a:lnTo>
                    <a:pt x="363662" y="267844"/>
                  </a:lnTo>
                  <a:lnTo>
                    <a:pt x="367348" y="271531"/>
                  </a:lnTo>
                  <a:lnTo>
                    <a:pt x="371044" y="271531"/>
                  </a:lnTo>
                  <a:lnTo>
                    <a:pt x="374730" y="271531"/>
                  </a:lnTo>
                  <a:lnTo>
                    <a:pt x="378416" y="278912"/>
                  </a:lnTo>
                  <a:lnTo>
                    <a:pt x="385798" y="282608"/>
                  </a:lnTo>
                  <a:lnTo>
                    <a:pt x="396866" y="286294"/>
                  </a:lnTo>
                  <a:lnTo>
                    <a:pt x="404239" y="289990"/>
                  </a:lnTo>
                  <a:lnTo>
                    <a:pt x="411620" y="286294"/>
                  </a:lnTo>
                  <a:lnTo>
                    <a:pt x="415307" y="282608"/>
                  </a:lnTo>
                  <a:lnTo>
                    <a:pt x="415307" y="278912"/>
                  </a:lnTo>
                  <a:lnTo>
                    <a:pt x="415307" y="275226"/>
                  </a:lnTo>
                  <a:lnTo>
                    <a:pt x="411620" y="271531"/>
                  </a:lnTo>
                  <a:lnTo>
                    <a:pt x="415307" y="267844"/>
                  </a:lnTo>
                  <a:lnTo>
                    <a:pt x="411620" y="264149"/>
                  </a:lnTo>
                  <a:lnTo>
                    <a:pt x="411620" y="260462"/>
                  </a:lnTo>
                  <a:lnTo>
                    <a:pt x="407934" y="253081"/>
                  </a:lnTo>
                  <a:lnTo>
                    <a:pt x="407934" y="249394"/>
                  </a:lnTo>
                  <a:lnTo>
                    <a:pt x="404239" y="249394"/>
                  </a:lnTo>
                  <a:lnTo>
                    <a:pt x="400552" y="245699"/>
                  </a:lnTo>
                  <a:lnTo>
                    <a:pt x="396866" y="242013"/>
                  </a:lnTo>
                  <a:lnTo>
                    <a:pt x="396866" y="238317"/>
                  </a:lnTo>
                  <a:lnTo>
                    <a:pt x="396866" y="234631"/>
                  </a:lnTo>
                  <a:lnTo>
                    <a:pt x="396866" y="230935"/>
                  </a:lnTo>
                  <a:lnTo>
                    <a:pt x="396866" y="219867"/>
                  </a:lnTo>
                  <a:lnTo>
                    <a:pt x="385798" y="212485"/>
                  </a:lnTo>
                  <a:lnTo>
                    <a:pt x="389484" y="212485"/>
                  </a:lnTo>
                  <a:lnTo>
                    <a:pt x="389484" y="208799"/>
                  </a:lnTo>
                  <a:lnTo>
                    <a:pt x="382112" y="208799"/>
                  </a:lnTo>
                  <a:lnTo>
                    <a:pt x="382112" y="190339"/>
                  </a:lnTo>
                  <a:lnTo>
                    <a:pt x="382112" y="186653"/>
                  </a:lnTo>
                  <a:lnTo>
                    <a:pt x="385798" y="182958"/>
                  </a:lnTo>
                  <a:lnTo>
                    <a:pt x="382112" y="179271"/>
                  </a:lnTo>
                  <a:lnTo>
                    <a:pt x="382112" y="175576"/>
                  </a:lnTo>
                  <a:lnTo>
                    <a:pt x="382112" y="171890"/>
                  </a:lnTo>
                  <a:lnTo>
                    <a:pt x="382112" y="168194"/>
                  </a:lnTo>
                  <a:lnTo>
                    <a:pt x="378416" y="160821"/>
                  </a:lnTo>
                  <a:lnTo>
                    <a:pt x="367348" y="164508"/>
                  </a:lnTo>
                  <a:lnTo>
                    <a:pt x="371044" y="168194"/>
                  </a:lnTo>
                  <a:lnTo>
                    <a:pt x="371044" y="171890"/>
                  </a:lnTo>
                  <a:lnTo>
                    <a:pt x="371044" y="175576"/>
                  </a:lnTo>
                  <a:lnTo>
                    <a:pt x="367348" y="175576"/>
                  </a:lnTo>
                  <a:lnTo>
                    <a:pt x="367348" y="179271"/>
                  </a:lnTo>
                  <a:lnTo>
                    <a:pt x="363662" y="182958"/>
                  </a:lnTo>
                  <a:lnTo>
                    <a:pt x="359976" y="182958"/>
                  </a:lnTo>
                  <a:lnTo>
                    <a:pt x="356280" y="186653"/>
                  </a:lnTo>
                  <a:lnTo>
                    <a:pt x="352594" y="190339"/>
                  </a:lnTo>
                  <a:lnTo>
                    <a:pt x="348908" y="190339"/>
                  </a:lnTo>
                  <a:lnTo>
                    <a:pt x="345212" y="190339"/>
                  </a:lnTo>
                  <a:lnTo>
                    <a:pt x="337840" y="186653"/>
                  </a:lnTo>
                  <a:lnTo>
                    <a:pt x="334144" y="182958"/>
                  </a:lnTo>
                  <a:lnTo>
                    <a:pt x="334144" y="179271"/>
                  </a:lnTo>
                  <a:lnTo>
                    <a:pt x="337840" y="179271"/>
                  </a:lnTo>
                  <a:lnTo>
                    <a:pt x="341526" y="175576"/>
                  </a:lnTo>
                  <a:lnTo>
                    <a:pt x="345212" y="171890"/>
                  </a:lnTo>
                  <a:lnTo>
                    <a:pt x="345212" y="168194"/>
                  </a:lnTo>
                  <a:lnTo>
                    <a:pt x="345212" y="160821"/>
                  </a:lnTo>
                  <a:lnTo>
                    <a:pt x="348908" y="157126"/>
                  </a:lnTo>
                  <a:lnTo>
                    <a:pt x="348908" y="153440"/>
                  </a:lnTo>
                  <a:lnTo>
                    <a:pt x="352594" y="153440"/>
                  </a:lnTo>
                  <a:lnTo>
                    <a:pt x="356280" y="153440"/>
                  </a:lnTo>
                  <a:lnTo>
                    <a:pt x="356280" y="149744"/>
                  </a:lnTo>
                  <a:lnTo>
                    <a:pt x="352594" y="149744"/>
                  </a:lnTo>
                  <a:lnTo>
                    <a:pt x="352594" y="146058"/>
                  </a:lnTo>
                  <a:lnTo>
                    <a:pt x="352594" y="142362"/>
                  </a:lnTo>
                  <a:lnTo>
                    <a:pt x="359976" y="142362"/>
                  </a:lnTo>
                  <a:lnTo>
                    <a:pt x="359976" y="138676"/>
                  </a:lnTo>
                  <a:lnTo>
                    <a:pt x="359976" y="134980"/>
                  </a:lnTo>
                  <a:lnTo>
                    <a:pt x="352594" y="134980"/>
                  </a:lnTo>
                  <a:lnTo>
                    <a:pt x="352594" y="127598"/>
                  </a:lnTo>
                  <a:lnTo>
                    <a:pt x="348908" y="127598"/>
                  </a:lnTo>
                  <a:lnTo>
                    <a:pt x="345212" y="127598"/>
                  </a:lnTo>
                  <a:lnTo>
                    <a:pt x="345212" y="123912"/>
                  </a:lnTo>
                  <a:lnTo>
                    <a:pt x="345212" y="120216"/>
                  </a:lnTo>
                  <a:lnTo>
                    <a:pt x="341526" y="116530"/>
                  </a:lnTo>
                  <a:lnTo>
                    <a:pt x="345212" y="116530"/>
                  </a:lnTo>
                  <a:lnTo>
                    <a:pt x="345212" y="112844"/>
                  </a:lnTo>
                  <a:lnTo>
                    <a:pt x="326772" y="112844"/>
                  </a:lnTo>
                  <a:lnTo>
                    <a:pt x="323086" y="109148"/>
                  </a:lnTo>
                  <a:lnTo>
                    <a:pt x="323086" y="98080"/>
                  </a:lnTo>
                  <a:lnTo>
                    <a:pt x="323086" y="94385"/>
                  </a:lnTo>
                  <a:lnTo>
                    <a:pt x="323086" y="90698"/>
                  </a:lnTo>
                  <a:lnTo>
                    <a:pt x="323086" y="87003"/>
                  </a:lnTo>
                  <a:lnTo>
                    <a:pt x="323086" y="83316"/>
                  </a:lnTo>
                  <a:lnTo>
                    <a:pt x="308322" y="72239"/>
                  </a:lnTo>
                  <a:lnTo>
                    <a:pt x="308322" y="75935"/>
                  </a:lnTo>
                  <a:lnTo>
                    <a:pt x="300949" y="72239"/>
                  </a:lnTo>
                  <a:lnTo>
                    <a:pt x="300949" y="68553"/>
                  </a:lnTo>
                  <a:lnTo>
                    <a:pt x="304636" y="50103"/>
                  </a:lnTo>
                  <a:lnTo>
                    <a:pt x="300949" y="46407"/>
                  </a:lnTo>
                  <a:lnTo>
                    <a:pt x="297254" y="42721"/>
                  </a:lnTo>
                  <a:lnTo>
                    <a:pt x="293568" y="39025"/>
                  </a:lnTo>
                  <a:lnTo>
                    <a:pt x="289881" y="39025"/>
                  </a:lnTo>
                  <a:lnTo>
                    <a:pt x="289881" y="35339"/>
                  </a:lnTo>
                  <a:lnTo>
                    <a:pt x="286186" y="31643"/>
                  </a:lnTo>
                  <a:lnTo>
                    <a:pt x="282499" y="31643"/>
                  </a:lnTo>
                  <a:lnTo>
                    <a:pt x="278813" y="31643"/>
                  </a:lnTo>
                  <a:lnTo>
                    <a:pt x="275118" y="31643"/>
                  </a:lnTo>
                  <a:lnTo>
                    <a:pt x="271431" y="27957"/>
                  </a:lnTo>
                  <a:lnTo>
                    <a:pt x="264050" y="27957"/>
                  </a:lnTo>
                  <a:lnTo>
                    <a:pt x="260363" y="24262"/>
                  </a:lnTo>
                  <a:lnTo>
                    <a:pt x="245609" y="24262"/>
                  </a:lnTo>
                  <a:lnTo>
                    <a:pt x="238227" y="20575"/>
                  </a:lnTo>
                  <a:lnTo>
                    <a:pt x="227162" y="42721"/>
                  </a:lnTo>
                  <a:lnTo>
                    <a:pt x="227162" y="46407"/>
                  </a:lnTo>
                  <a:lnTo>
                    <a:pt x="227162" y="50103"/>
                  </a:lnTo>
                  <a:lnTo>
                    <a:pt x="223473" y="57485"/>
                  </a:lnTo>
                  <a:lnTo>
                    <a:pt x="219784" y="68553"/>
                  </a:lnTo>
                  <a:lnTo>
                    <a:pt x="216095" y="75935"/>
                  </a:lnTo>
                  <a:lnTo>
                    <a:pt x="216095" y="83316"/>
                  </a:lnTo>
                  <a:lnTo>
                    <a:pt x="212406" y="87003"/>
                  </a:lnTo>
                  <a:lnTo>
                    <a:pt x="212406" y="90698"/>
                  </a:lnTo>
                  <a:lnTo>
                    <a:pt x="205027" y="105462"/>
                  </a:lnTo>
                  <a:lnTo>
                    <a:pt x="197649" y="105462"/>
                  </a:lnTo>
                  <a:lnTo>
                    <a:pt x="193960" y="105462"/>
                  </a:lnTo>
                  <a:lnTo>
                    <a:pt x="190271" y="105462"/>
                  </a:lnTo>
                  <a:lnTo>
                    <a:pt x="168136" y="101766"/>
                  </a:lnTo>
                  <a:lnTo>
                    <a:pt x="164447" y="101766"/>
                  </a:lnTo>
                  <a:lnTo>
                    <a:pt x="146001" y="109148"/>
                  </a:lnTo>
                  <a:lnTo>
                    <a:pt x="131243" y="112844"/>
                  </a:lnTo>
                  <a:lnTo>
                    <a:pt x="131243" y="98080"/>
                  </a:lnTo>
                  <a:lnTo>
                    <a:pt x="127554" y="98080"/>
                  </a:lnTo>
                  <a:lnTo>
                    <a:pt x="127554" y="90698"/>
                  </a:lnTo>
                  <a:lnTo>
                    <a:pt x="127554" y="87003"/>
                  </a:lnTo>
                  <a:lnTo>
                    <a:pt x="123865" y="87003"/>
                  </a:lnTo>
                  <a:lnTo>
                    <a:pt x="120176" y="83316"/>
                  </a:lnTo>
                  <a:lnTo>
                    <a:pt x="127554" y="83316"/>
                  </a:lnTo>
                  <a:lnTo>
                    <a:pt x="127554" y="79621"/>
                  </a:lnTo>
                  <a:lnTo>
                    <a:pt x="127554" y="75935"/>
                  </a:lnTo>
                  <a:lnTo>
                    <a:pt x="127554" y="68553"/>
                  </a:lnTo>
                  <a:lnTo>
                    <a:pt x="127554" y="61171"/>
                  </a:lnTo>
                  <a:lnTo>
                    <a:pt x="131243" y="61171"/>
                  </a:lnTo>
                  <a:lnTo>
                    <a:pt x="138621" y="57485"/>
                  </a:lnTo>
                  <a:lnTo>
                    <a:pt x="131243" y="53789"/>
                  </a:lnTo>
                  <a:lnTo>
                    <a:pt x="131243" y="46407"/>
                  </a:lnTo>
                  <a:lnTo>
                    <a:pt x="131243" y="42721"/>
                  </a:lnTo>
                  <a:lnTo>
                    <a:pt x="127554" y="42721"/>
                  </a:lnTo>
                  <a:lnTo>
                    <a:pt x="127554" y="46407"/>
                  </a:lnTo>
                  <a:lnTo>
                    <a:pt x="123865" y="42721"/>
                  </a:lnTo>
                  <a:lnTo>
                    <a:pt x="120176" y="31643"/>
                  </a:lnTo>
                  <a:lnTo>
                    <a:pt x="120176" y="27957"/>
                  </a:lnTo>
                  <a:lnTo>
                    <a:pt x="123865" y="27957"/>
                  </a:lnTo>
                  <a:lnTo>
                    <a:pt x="127554" y="27957"/>
                  </a:lnTo>
                  <a:lnTo>
                    <a:pt x="127554" y="24262"/>
                  </a:lnTo>
                  <a:lnTo>
                    <a:pt x="131243" y="24262"/>
                  </a:lnTo>
                  <a:lnTo>
                    <a:pt x="134932" y="24262"/>
                  </a:lnTo>
                  <a:lnTo>
                    <a:pt x="134932" y="20575"/>
                  </a:lnTo>
                  <a:lnTo>
                    <a:pt x="138621" y="20575"/>
                  </a:lnTo>
                  <a:lnTo>
                    <a:pt x="142312" y="20575"/>
                  </a:lnTo>
                  <a:lnTo>
                    <a:pt x="138621" y="16889"/>
                  </a:lnTo>
                  <a:lnTo>
                    <a:pt x="134932" y="16889"/>
                  </a:lnTo>
                  <a:lnTo>
                    <a:pt x="131243" y="20575"/>
                  </a:lnTo>
                  <a:lnTo>
                    <a:pt x="127554" y="20575"/>
                  </a:lnTo>
                  <a:lnTo>
                    <a:pt x="123865" y="16889"/>
                  </a:lnTo>
                  <a:lnTo>
                    <a:pt x="120176" y="20575"/>
                  </a:lnTo>
                  <a:lnTo>
                    <a:pt x="120176" y="5812"/>
                  </a:lnTo>
                  <a:lnTo>
                    <a:pt x="116486" y="5812"/>
                  </a:lnTo>
                  <a:lnTo>
                    <a:pt x="112797" y="5812"/>
                  </a:lnTo>
                  <a:close/>
                </a:path>
              </a:pathLst>
            </a:custGeom>
            <a:solidFill>
              <a:srgbClr val="DBDBDB"/>
            </a:solidFill>
            <a:ln w="12821" cap="flat">
              <a:solidFill>
                <a:schemeClr val="bg1"/>
              </a:solidFill>
              <a:prstDash val="solid"/>
              <a:round/>
            </a:ln>
          </p:spPr>
          <p:txBody>
            <a:bodyPr rot="0" spcFirstLastPara="0" vertOverflow="overflow" horzOverflow="overflow" vert="horz" wrap="square" lIns="91440" tIns="144000" rIns="91440" bIns="4572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66</a:t>
              </a:r>
            </a:p>
          </p:txBody>
        </p:sp>
        <p:sp>
          <p:nvSpPr>
            <p:cNvPr id="292" name="Freeform: Shape 291">
              <a:extLst>
                <a:ext uri="{FF2B5EF4-FFF2-40B4-BE49-F238E27FC236}">
                  <a16:creationId xmlns:a16="http://schemas.microsoft.com/office/drawing/2014/main" id="{5670C287-3894-49A2-A139-22D1E3820229}"/>
                </a:ext>
              </a:extLst>
            </p:cNvPr>
            <p:cNvSpPr/>
            <p:nvPr/>
          </p:nvSpPr>
          <p:spPr>
            <a:xfrm>
              <a:off x="8761543" y="3151897"/>
              <a:ext cx="61491" cy="46118"/>
            </a:xfrm>
            <a:custGeom>
              <a:avLst/>
              <a:gdLst>
                <a:gd name="connsiteX0" fmla="*/ 27947 w 38100"/>
                <a:gd name="connsiteY0" fmla="*/ 13192 h 28575"/>
                <a:gd name="connsiteX1" fmla="*/ 20569 w 38100"/>
                <a:gd name="connsiteY1" fmla="*/ 16883 h 28575"/>
                <a:gd name="connsiteX2" fmla="*/ 20569 w 38100"/>
                <a:gd name="connsiteY2" fmla="*/ 16883 h 28575"/>
                <a:gd name="connsiteX3" fmla="*/ 20569 w 38100"/>
                <a:gd name="connsiteY3" fmla="*/ 16883 h 28575"/>
                <a:gd name="connsiteX4" fmla="*/ 20569 w 38100"/>
                <a:gd name="connsiteY4" fmla="*/ 16883 h 28575"/>
                <a:gd name="connsiteX5" fmla="*/ 16879 w 38100"/>
                <a:gd name="connsiteY5" fmla="*/ 20573 h 28575"/>
                <a:gd name="connsiteX6" fmla="*/ 13190 w 38100"/>
                <a:gd name="connsiteY6" fmla="*/ 20573 h 28575"/>
                <a:gd name="connsiteX7" fmla="*/ 13190 w 38100"/>
                <a:gd name="connsiteY7" fmla="*/ 24264 h 28575"/>
                <a:gd name="connsiteX8" fmla="*/ 13190 w 38100"/>
                <a:gd name="connsiteY8" fmla="*/ 24264 h 28575"/>
                <a:gd name="connsiteX9" fmla="*/ 9501 w 38100"/>
                <a:gd name="connsiteY9" fmla="*/ 24264 h 28575"/>
                <a:gd name="connsiteX10" fmla="*/ 9501 w 38100"/>
                <a:gd name="connsiteY10" fmla="*/ 24264 h 28575"/>
                <a:gd name="connsiteX11" fmla="*/ 5812 w 38100"/>
                <a:gd name="connsiteY11" fmla="*/ 20573 h 28575"/>
                <a:gd name="connsiteX12" fmla="*/ 5812 w 38100"/>
                <a:gd name="connsiteY12" fmla="*/ 20573 h 28575"/>
                <a:gd name="connsiteX13" fmla="*/ 5812 w 38100"/>
                <a:gd name="connsiteY13" fmla="*/ 16883 h 28575"/>
                <a:gd name="connsiteX14" fmla="*/ 5812 w 38100"/>
                <a:gd name="connsiteY14" fmla="*/ 13192 h 28575"/>
                <a:gd name="connsiteX15" fmla="*/ 5812 w 38100"/>
                <a:gd name="connsiteY15" fmla="*/ 9503 h 28575"/>
                <a:gd name="connsiteX16" fmla="*/ 9501 w 38100"/>
                <a:gd name="connsiteY16" fmla="*/ 9503 h 28575"/>
                <a:gd name="connsiteX17" fmla="*/ 9501 w 38100"/>
                <a:gd name="connsiteY17" fmla="*/ 9503 h 28575"/>
                <a:gd name="connsiteX18" fmla="*/ 9501 w 38100"/>
                <a:gd name="connsiteY18" fmla="*/ 9503 h 28575"/>
                <a:gd name="connsiteX19" fmla="*/ 9501 w 38100"/>
                <a:gd name="connsiteY19" fmla="*/ 9503 h 28575"/>
                <a:gd name="connsiteX20" fmla="*/ 13190 w 38100"/>
                <a:gd name="connsiteY20" fmla="*/ 9503 h 28575"/>
                <a:gd name="connsiteX21" fmla="*/ 16879 w 38100"/>
                <a:gd name="connsiteY21" fmla="*/ 9503 h 28575"/>
                <a:gd name="connsiteX22" fmla="*/ 27947 w 38100"/>
                <a:gd name="connsiteY22" fmla="*/ 5812 h 28575"/>
                <a:gd name="connsiteX23" fmla="*/ 27947 w 38100"/>
                <a:gd name="connsiteY23" fmla="*/ 5812 h 28575"/>
                <a:gd name="connsiteX24" fmla="*/ 35325 w 38100"/>
                <a:gd name="connsiteY24" fmla="*/ 5812 h 28575"/>
                <a:gd name="connsiteX25" fmla="*/ 35325 w 38100"/>
                <a:gd name="connsiteY25" fmla="*/ 9503 h 28575"/>
                <a:gd name="connsiteX26" fmla="*/ 35325 w 38100"/>
                <a:gd name="connsiteY26" fmla="*/ 9503 h 28575"/>
                <a:gd name="connsiteX27" fmla="*/ 27947 w 38100"/>
                <a:gd name="connsiteY27" fmla="*/ 13192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8100" h="28575">
                  <a:moveTo>
                    <a:pt x="27947" y="13192"/>
                  </a:moveTo>
                  <a:lnTo>
                    <a:pt x="20569" y="16883"/>
                  </a:lnTo>
                  <a:lnTo>
                    <a:pt x="20569" y="16883"/>
                  </a:lnTo>
                  <a:lnTo>
                    <a:pt x="20569" y="16883"/>
                  </a:lnTo>
                  <a:lnTo>
                    <a:pt x="20569" y="16883"/>
                  </a:lnTo>
                  <a:lnTo>
                    <a:pt x="16879" y="20573"/>
                  </a:lnTo>
                  <a:lnTo>
                    <a:pt x="13190" y="20573"/>
                  </a:lnTo>
                  <a:lnTo>
                    <a:pt x="13190" y="24264"/>
                  </a:lnTo>
                  <a:lnTo>
                    <a:pt x="13190" y="24264"/>
                  </a:lnTo>
                  <a:lnTo>
                    <a:pt x="9501" y="24264"/>
                  </a:lnTo>
                  <a:lnTo>
                    <a:pt x="9501" y="24264"/>
                  </a:lnTo>
                  <a:lnTo>
                    <a:pt x="5812" y="20573"/>
                  </a:lnTo>
                  <a:lnTo>
                    <a:pt x="5812" y="20573"/>
                  </a:lnTo>
                  <a:lnTo>
                    <a:pt x="5812" y="16883"/>
                  </a:lnTo>
                  <a:lnTo>
                    <a:pt x="5812" y="13192"/>
                  </a:lnTo>
                  <a:lnTo>
                    <a:pt x="5812" y="9503"/>
                  </a:lnTo>
                  <a:lnTo>
                    <a:pt x="9501" y="9503"/>
                  </a:lnTo>
                  <a:lnTo>
                    <a:pt x="9501" y="9503"/>
                  </a:lnTo>
                  <a:lnTo>
                    <a:pt x="9501" y="9503"/>
                  </a:lnTo>
                  <a:lnTo>
                    <a:pt x="9501" y="9503"/>
                  </a:lnTo>
                  <a:lnTo>
                    <a:pt x="13190" y="9503"/>
                  </a:lnTo>
                  <a:lnTo>
                    <a:pt x="16879" y="9503"/>
                  </a:lnTo>
                  <a:lnTo>
                    <a:pt x="27947" y="5812"/>
                  </a:lnTo>
                  <a:lnTo>
                    <a:pt x="27947" y="5812"/>
                  </a:lnTo>
                  <a:lnTo>
                    <a:pt x="35325" y="5812"/>
                  </a:lnTo>
                  <a:lnTo>
                    <a:pt x="35325" y="9503"/>
                  </a:lnTo>
                  <a:lnTo>
                    <a:pt x="35325" y="9503"/>
                  </a:lnTo>
                  <a:lnTo>
                    <a:pt x="27947" y="13192"/>
                  </a:lnTo>
                  <a:close/>
                </a:path>
              </a:pathLst>
            </a:custGeom>
            <a:solidFill>
              <a:schemeClr val="accent3">
                <a:lumMod val="20000"/>
                <a:lumOff val="80000"/>
              </a:schemeClr>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93" name="Freeform: Shape 292">
              <a:extLst>
                <a:ext uri="{FF2B5EF4-FFF2-40B4-BE49-F238E27FC236}">
                  <a16:creationId xmlns:a16="http://schemas.microsoft.com/office/drawing/2014/main" id="{00DDD17F-411C-4F3D-9AD1-5FDCFAF030A3}"/>
                </a:ext>
              </a:extLst>
            </p:cNvPr>
            <p:cNvSpPr/>
            <p:nvPr/>
          </p:nvSpPr>
          <p:spPr>
            <a:xfrm>
              <a:off x="8630552" y="3175722"/>
              <a:ext cx="661025" cy="1029969"/>
            </a:xfrm>
            <a:custGeom>
              <a:avLst/>
              <a:gdLst>
                <a:gd name="connsiteX0" fmla="*/ 127555 w 409575"/>
                <a:gd name="connsiteY0" fmla="*/ 5812 h 638175"/>
                <a:gd name="connsiteX1" fmla="*/ 120176 w 409575"/>
                <a:gd name="connsiteY1" fmla="*/ 16883 h 638175"/>
                <a:gd name="connsiteX2" fmla="*/ 120176 w 409575"/>
                <a:gd name="connsiteY2" fmla="*/ 20574 h 638175"/>
                <a:gd name="connsiteX3" fmla="*/ 120176 w 409575"/>
                <a:gd name="connsiteY3" fmla="*/ 24264 h 638175"/>
                <a:gd name="connsiteX4" fmla="*/ 120176 w 409575"/>
                <a:gd name="connsiteY4" fmla="*/ 31646 h 638175"/>
                <a:gd name="connsiteX5" fmla="*/ 116487 w 409575"/>
                <a:gd name="connsiteY5" fmla="*/ 42718 h 638175"/>
                <a:gd name="connsiteX6" fmla="*/ 116487 w 409575"/>
                <a:gd name="connsiteY6" fmla="*/ 53789 h 638175"/>
                <a:gd name="connsiteX7" fmla="*/ 116487 w 409575"/>
                <a:gd name="connsiteY7" fmla="*/ 68552 h 638175"/>
                <a:gd name="connsiteX8" fmla="*/ 109109 w 409575"/>
                <a:gd name="connsiteY8" fmla="*/ 90695 h 638175"/>
                <a:gd name="connsiteX9" fmla="*/ 105420 w 409575"/>
                <a:gd name="connsiteY9" fmla="*/ 112838 h 638175"/>
                <a:gd name="connsiteX10" fmla="*/ 98041 w 409575"/>
                <a:gd name="connsiteY10" fmla="*/ 134982 h 638175"/>
                <a:gd name="connsiteX11" fmla="*/ 98041 w 409575"/>
                <a:gd name="connsiteY11" fmla="*/ 142363 h 638175"/>
                <a:gd name="connsiteX12" fmla="*/ 94352 w 409575"/>
                <a:gd name="connsiteY12" fmla="*/ 142363 h 638175"/>
                <a:gd name="connsiteX13" fmla="*/ 94352 w 409575"/>
                <a:gd name="connsiteY13" fmla="*/ 149744 h 638175"/>
                <a:gd name="connsiteX14" fmla="*/ 86974 w 409575"/>
                <a:gd name="connsiteY14" fmla="*/ 164507 h 638175"/>
                <a:gd name="connsiteX15" fmla="*/ 86974 w 409575"/>
                <a:gd name="connsiteY15" fmla="*/ 171888 h 638175"/>
                <a:gd name="connsiteX16" fmla="*/ 79596 w 409575"/>
                <a:gd name="connsiteY16" fmla="*/ 194031 h 638175"/>
                <a:gd name="connsiteX17" fmla="*/ 79596 w 409575"/>
                <a:gd name="connsiteY17" fmla="*/ 197721 h 638175"/>
                <a:gd name="connsiteX18" fmla="*/ 79596 w 409575"/>
                <a:gd name="connsiteY18" fmla="*/ 201412 h 638175"/>
                <a:gd name="connsiteX19" fmla="*/ 79596 w 409575"/>
                <a:gd name="connsiteY19" fmla="*/ 205102 h 638175"/>
                <a:gd name="connsiteX20" fmla="*/ 79596 w 409575"/>
                <a:gd name="connsiteY20" fmla="*/ 208793 h 638175"/>
                <a:gd name="connsiteX21" fmla="*/ 79596 w 409575"/>
                <a:gd name="connsiteY21" fmla="*/ 219865 h 638175"/>
                <a:gd name="connsiteX22" fmla="*/ 75906 w 409575"/>
                <a:gd name="connsiteY22" fmla="*/ 234627 h 638175"/>
                <a:gd name="connsiteX23" fmla="*/ 75906 w 409575"/>
                <a:gd name="connsiteY23" fmla="*/ 242009 h 638175"/>
                <a:gd name="connsiteX24" fmla="*/ 75906 w 409575"/>
                <a:gd name="connsiteY24" fmla="*/ 249390 h 638175"/>
                <a:gd name="connsiteX25" fmla="*/ 72217 w 409575"/>
                <a:gd name="connsiteY25" fmla="*/ 264151 h 638175"/>
                <a:gd name="connsiteX26" fmla="*/ 72217 w 409575"/>
                <a:gd name="connsiteY26" fmla="*/ 271532 h 638175"/>
                <a:gd name="connsiteX27" fmla="*/ 72217 w 409575"/>
                <a:gd name="connsiteY27" fmla="*/ 275223 h 638175"/>
                <a:gd name="connsiteX28" fmla="*/ 72217 w 409575"/>
                <a:gd name="connsiteY28" fmla="*/ 282604 h 638175"/>
                <a:gd name="connsiteX29" fmla="*/ 68528 w 409575"/>
                <a:gd name="connsiteY29" fmla="*/ 286295 h 638175"/>
                <a:gd name="connsiteX30" fmla="*/ 68528 w 409575"/>
                <a:gd name="connsiteY30" fmla="*/ 289986 h 638175"/>
                <a:gd name="connsiteX31" fmla="*/ 64839 w 409575"/>
                <a:gd name="connsiteY31" fmla="*/ 315820 h 638175"/>
                <a:gd name="connsiteX32" fmla="*/ 61150 w 409575"/>
                <a:gd name="connsiteY32" fmla="*/ 349034 h 638175"/>
                <a:gd name="connsiteX33" fmla="*/ 57461 w 409575"/>
                <a:gd name="connsiteY33" fmla="*/ 367487 h 638175"/>
                <a:gd name="connsiteX34" fmla="*/ 53772 w 409575"/>
                <a:gd name="connsiteY34" fmla="*/ 374869 h 638175"/>
                <a:gd name="connsiteX35" fmla="*/ 50082 w 409575"/>
                <a:gd name="connsiteY35" fmla="*/ 382250 h 638175"/>
                <a:gd name="connsiteX36" fmla="*/ 46393 w 409575"/>
                <a:gd name="connsiteY36" fmla="*/ 389631 h 638175"/>
                <a:gd name="connsiteX37" fmla="*/ 42704 w 409575"/>
                <a:gd name="connsiteY37" fmla="*/ 400703 h 638175"/>
                <a:gd name="connsiteX38" fmla="*/ 50082 w 409575"/>
                <a:gd name="connsiteY38" fmla="*/ 397012 h 638175"/>
                <a:gd name="connsiteX39" fmla="*/ 53772 w 409575"/>
                <a:gd name="connsiteY39" fmla="*/ 397012 h 638175"/>
                <a:gd name="connsiteX40" fmla="*/ 61150 w 409575"/>
                <a:gd name="connsiteY40" fmla="*/ 393322 h 638175"/>
                <a:gd name="connsiteX41" fmla="*/ 64839 w 409575"/>
                <a:gd name="connsiteY41" fmla="*/ 397012 h 638175"/>
                <a:gd name="connsiteX42" fmla="*/ 61150 w 409575"/>
                <a:gd name="connsiteY42" fmla="*/ 397012 h 638175"/>
                <a:gd name="connsiteX43" fmla="*/ 61150 w 409575"/>
                <a:gd name="connsiteY43" fmla="*/ 400703 h 638175"/>
                <a:gd name="connsiteX44" fmla="*/ 53772 w 409575"/>
                <a:gd name="connsiteY44" fmla="*/ 400703 h 638175"/>
                <a:gd name="connsiteX45" fmla="*/ 50082 w 409575"/>
                <a:gd name="connsiteY45" fmla="*/ 404394 h 638175"/>
                <a:gd name="connsiteX46" fmla="*/ 57461 w 409575"/>
                <a:gd name="connsiteY46" fmla="*/ 404394 h 638175"/>
                <a:gd name="connsiteX47" fmla="*/ 57461 w 409575"/>
                <a:gd name="connsiteY47" fmla="*/ 408084 h 638175"/>
                <a:gd name="connsiteX48" fmla="*/ 50082 w 409575"/>
                <a:gd name="connsiteY48" fmla="*/ 404394 h 638175"/>
                <a:gd name="connsiteX49" fmla="*/ 46393 w 409575"/>
                <a:gd name="connsiteY49" fmla="*/ 404394 h 638175"/>
                <a:gd name="connsiteX50" fmla="*/ 46393 w 409575"/>
                <a:gd name="connsiteY50" fmla="*/ 408084 h 638175"/>
                <a:gd name="connsiteX51" fmla="*/ 39015 w 409575"/>
                <a:gd name="connsiteY51" fmla="*/ 404394 h 638175"/>
                <a:gd name="connsiteX52" fmla="*/ 39015 w 409575"/>
                <a:gd name="connsiteY52" fmla="*/ 411775 h 638175"/>
                <a:gd name="connsiteX53" fmla="*/ 42704 w 409575"/>
                <a:gd name="connsiteY53" fmla="*/ 419156 h 638175"/>
                <a:gd name="connsiteX54" fmla="*/ 39015 w 409575"/>
                <a:gd name="connsiteY54" fmla="*/ 422847 h 638175"/>
                <a:gd name="connsiteX55" fmla="*/ 39015 w 409575"/>
                <a:gd name="connsiteY55" fmla="*/ 430227 h 638175"/>
                <a:gd name="connsiteX56" fmla="*/ 35326 w 409575"/>
                <a:gd name="connsiteY56" fmla="*/ 437608 h 638175"/>
                <a:gd name="connsiteX57" fmla="*/ 31637 w 409575"/>
                <a:gd name="connsiteY57" fmla="*/ 452370 h 638175"/>
                <a:gd name="connsiteX58" fmla="*/ 27947 w 409575"/>
                <a:gd name="connsiteY58" fmla="*/ 463442 h 638175"/>
                <a:gd name="connsiteX59" fmla="*/ 20569 w 409575"/>
                <a:gd name="connsiteY59" fmla="*/ 481898 h 638175"/>
                <a:gd name="connsiteX60" fmla="*/ 5812 w 409575"/>
                <a:gd name="connsiteY60" fmla="*/ 511416 h 638175"/>
                <a:gd name="connsiteX61" fmla="*/ 31637 w 409575"/>
                <a:gd name="connsiteY61" fmla="*/ 522493 h 638175"/>
                <a:gd name="connsiteX62" fmla="*/ 42704 w 409575"/>
                <a:gd name="connsiteY62" fmla="*/ 526179 h 638175"/>
                <a:gd name="connsiteX63" fmla="*/ 42704 w 409575"/>
                <a:gd name="connsiteY63" fmla="*/ 518798 h 638175"/>
                <a:gd name="connsiteX64" fmla="*/ 46393 w 409575"/>
                <a:gd name="connsiteY64" fmla="*/ 522493 h 638175"/>
                <a:gd name="connsiteX65" fmla="*/ 50082 w 409575"/>
                <a:gd name="connsiteY65" fmla="*/ 518798 h 638175"/>
                <a:gd name="connsiteX66" fmla="*/ 53772 w 409575"/>
                <a:gd name="connsiteY66" fmla="*/ 518798 h 638175"/>
                <a:gd name="connsiteX67" fmla="*/ 57461 w 409575"/>
                <a:gd name="connsiteY67" fmla="*/ 518798 h 638175"/>
                <a:gd name="connsiteX68" fmla="*/ 64839 w 409575"/>
                <a:gd name="connsiteY68" fmla="*/ 522493 h 638175"/>
                <a:gd name="connsiteX69" fmla="*/ 61150 w 409575"/>
                <a:gd name="connsiteY69" fmla="*/ 529875 h 638175"/>
                <a:gd name="connsiteX70" fmla="*/ 57461 w 409575"/>
                <a:gd name="connsiteY70" fmla="*/ 533561 h 638175"/>
                <a:gd name="connsiteX71" fmla="*/ 57461 w 409575"/>
                <a:gd name="connsiteY71" fmla="*/ 540943 h 638175"/>
                <a:gd name="connsiteX72" fmla="*/ 53772 w 409575"/>
                <a:gd name="connsiteY72" fmla="*/ 540943 h 638175"/>
                <a:gd name="connsiteX73" fmla="*/ 53772 w 409575"/>
                <a:gd name="connsiteY73" fmla="*/ 544639 h 638175"/>
                <a:gd name="connsiteX74" fmla="*/ 53772 w 409575"/>
                <a:gd name="connsiteY74" fmla="*/ 548325 h 638175"/>
                <a:gd name="connsiteX75" fmla="*/ 50082 w 409575"/>
                <a:gd name="connsiteY75" fmla="*/ 552011 h 638175"/>
                <a:gd name="connsiteX76" fmla="*/ 46393 w 409575"/>
                <a:gd name="connsiteY76" fmla="*/ 555707 h 638175"/>
                <a:gd name="connsiteX77" fmla="*/ 42704 w 409575"/>
                <a:gd name="connsiteY77" fmla="*/ 559393 h 638175"/>
                <a:gd name="connsiteX78" fmla="*/ 42704 w 409575"/>
                <a:gd name="connsiteY78" fmla="*/ 563089 h 638175"/>
                <a:gd name="connsiteX79" fmla="*/ 42704 w 409575"/>
                <a:gd name="connsiteY79" fmla="*/ 566775 h 638175"/>
                <a:gd name="connsiteX80" fmla="*/ 42704 w 409575"/>
                <a:gd name="connsiteY80" fmla="*/ 570471 h 638175"/>
                <a:gd name="connsiteX81" fmla="*/ 42704 w 409575"/>
                <a:gd name="connsiteY81" fmla="*/ 577853 h 638175"/>
                <a:gd name="connsiteX82" fmla="*/ 39015 w 409575"/>
                <a:gd name="connsiteY82" fmla="*/ 581539 h 638175"/>
                <a:gd name="connsiteX83" fmla="*/ 39015 w 409575"/>
                <a:gd name="connsiteY83" fmla="*/ 585234 h 638175"/>
                <a:gd name="connsiteX84" fmla="*/ 35326 w 409575"/>
                <a:gd name="connsiteY84" fmla="*/ 585234 h 638175"/>
                <a:gd name="connsiteX85" fmla="*/ 35326 w 409575"/>
                <a:gd name="connsiteY85" fmla="*/ 588921 h 638175"/>
                <a:gd name="connsiteX86" fmla="*/ 35326 w 409575"/>
                <a:gd name="connsiteY86" fmla="*/ 592616 h 638175"/>
                <a:gd name="connsiteX87" fmla="*/ 35326 w 409575"/>
                <a:gd name="connsiteY87" fmla="*/ 596303 h 638175"/>
                <a:gd name="connsiteX88" fmla="*/ 39015 w 409575"/>
                <a:gd name="connsiteY88" fmla="*/ 596303 h 638175"/>
                <a:gd name="connsiteX89" fmla="*/ 42704 w 409575"/>
                <a:gd name="connsiteY89" fmla="*/ 599989 h 638175"/>
                <a:gd name="connsiteX90" fmla="*/ 46393 w 409575"/>
                <a:gd name="connsiteY90" fmla="*/ 599989 h 638175"/>
                <a:gd name="connsiteX91" fmla="*/ 50082 w 409575"/>
                <a:gd name="connsiteY91" fmla="*/ 596303 h 638175"/>
                <a:gd name="connsiteX92" fmla="*/ 57461 w 409575"/>
                <a:gd name="connsiteY92" fmla="*/ 599989 h 638175"/>
                <a:gd name="connsiteX93" fmla="*/ 68528 w 409575"/>
                <a:gd name="connsiteY93" fmla="*/ 599989 h 638175"/>
                <a:gd name="connsiteX94" fmla="*/ 72217 w 409575"/>
                <a:gd name="connsiteY94" fmla="*/ 599989 h 638175"/>
                <a:gd name="connsiteX95" fmla="*/ 75906 w 409575"/>
                <a:gd name="connsiteY95" fmla="*/ 599989 h 638175"/>
                <a:gd name="connsiteX96" fmla="*/ 79596 w 409575"/>
                <a:gd name="connsiteY96" fmla="*/ 596303 h 638175"/>
                <a:gd name="connsiteX97" fmla="*/ 86974 w 409575"/>
                <a:gd name="connsiteY97" fmla="*/ 592616 h 638175"/>
                <a:gd name="connsiteX98" fmla="*/ 90663 w 409575"/>
                <a:gd name="connsiteY98" fmla="*/ 592616 h 638175"/>
                <a:gd name="connsiteX99" fmla="*/ 90663 w 409575"/>
                <a:gd name="connsiteY99" fmla="*/ 588921 h 638175"/>
                <a:gd name="connsiteX100" fmla="*/ 94352 w 409575"/>
                <a:gd name="connsiteY100" fmla="*/ 592616 h 638175"/>
                <a:gd name="connsiteX101" fmla="*/ 98041 w 409575"/>
                <a:gd name="connsiteY101" fmla="*/ 592616 h 638175"/>
                <a:gd name="connsiteX102" fmla="*/ 101731 w 409575"/>
                <a:gd name="connsiteY102" fmla="*/ 592616 h 638175"/>
                <a:gd name="connsiteX103" fmla="*/ 105420 w 409575"/>
                <a:gd name="connsiteY103" fmla="*/ 588921 h 638175"/>
                <a:gd name="connsiteX104" fmla="*/ 109109 w 409575"/>
                <a:gd name="connsiteY104" fmla="*/ 585234 h 638175"/>
                <a:gd name="connsiteX105" fmla="*/ 120176 w 409575"/>
                <a:gd name="connsiteY105" fmla="*/ 588921 h 638175"/>
                <a:gd name="connsiteX106" fmla="*/ 116487 w 409575"/>
                <a:gd name="connsiteY106" fmla="*/ 599989 h 638175"/>
                <a:gd name="connsiteX107" fmla="*/ 120176 w 409575"/>
                <a:gd name="connsiteY107" fmla="*/ 603684 h 638175"/>
                <a:gd name="connsiteX108" fmla="*/ 123866 w 409575"/>
                <a:gd name="connsiteY108" fmla="*/ 607371 h 638175"/>
                <a:gd name="connsiteX109" fmla="*/ 127555 w 409575"/>
                <a:gd name="connsiteY109" fmla="*/ 599989 h 638175"/>
                <a:gd name="connsiteX110" fmla="*/ 131244 w 409575"/>
                <a:gd name="connsiteY110" fmla="*/ 599989 h 638175"/>
                <a:gd name="connsiteX111" fmla="*/ 138622 w 409575"/>
                <a:gd name="connsiteY111" fmla="*/ 599989 h 638175"/>
                <a:gd name="connsiteX112" fmla="*/ 142312 w 409575"/>
                <a:gd name="connsiteY112" fmla="*/ 596303 h 638175"/>
                <a:gd name="connsiteX113" fmla="*/ 142312 w 409575"/>
                <a:gd name="connsiteY113" fmla="*/ 592616 h 638175"/>
                <a:gd name="connsiteX114" fmla="*/ 146001 w 409575"/>
                <a:gd name="connsiteY114" fmla="*/ 592616 h 638175"/>
                <a:gd name="connsiteX115" fmla="*/ 149690 w 409575"/>
                <a:gd name="connsiteY115" fmla="*/ 592616 h 638175"/>
                <a:gd name="connsiteX116" fmla="*/ 153380 w 409575"/>
                <a:gd name="connsiteY116" fmla="*/ 592616 h 638175"/>
                <a:gd name="connsiteX117" fmla="*/ 157069 w 409575"/>
                <a:gd name="connsiteY117" fmla="*/ 592616 h 638175"/>
                <a:gd name="connsiteX118" fmla="*/ 160758 w 409575"/>
                <a:gd name="connsiteY118" fmla="*/ 592616 h 638175"/>
                <a:gd name="connsiteX119" fmla="*/ 164447 w 409575"/>
                <a:gd name="connsiteY119" fmla="*/ 592616 h 638175"/>
                <a:gd name="connsiteX120" fmla="*/ 168136 w 409575"/>
                <a:gd name="connsiteY120" fmla="*/ 588921 h 638175"/>
                <a:gd name="connsiteX121" fmla="*/ 171826 w 409575"/>
                <a:gd name="connsiteY121" fmla="*/ 588921 h 638175"/>
                <a:gd name="connsiteX122" fmla="*/ 171826 w 409575"/>
                <a:gd name="connsiteY122" fmla="*/ 585234 h 638175"/>
                <a:gd name="connsiteX123" fmla="*/ 175515 w 409575"/>
                <a:gd name="connsiteY123" fmla="*/ 585234 h 638175"/>
                <a:gd name="connsiteX124" fmla="*/ 179204 w 409575"/>
                <a:gd name="connsiteY124" fmla="*/ 581539 h 638175"/>
                <a:gd name="connsiteX125" fmla="*/ 182893 w 409575"/>
                <a:gd name="connsiteY125" fmla="*/ 581539 h 638175"/>
                <a:gd name="connsiteX126" fmla="*/ 182893 w 409575"/>
                <a:gd name="connsiteY126" fmla="*/ 577853 h 638175"/>
                <a:gd name="connsiteX127" fmla="*/ 190272 w 409575"/>
                <a:gd name="connsiteY127" fmla="*/ 574157 h 638175"/>
                <a:gd name="connsiteX128" fmla="*/ 193961 w 409575"/>
                <a:gd name="connsiteY128" fmla="*/ 570471 h 638175"/>
                <a:gd name="connsiteX129" fmla="*/ 197650 w 409575"/>
                <a:gd name="connsiteY129" fmla="*/ 570471 h 638175"/>
                <a:gd name="connsiteX130" fmla="*/ 201339 w 409575"/>
                <a:gd name="connsiteY130" fmla="*/ 570471 h 638175"/>
                <a:gd name="connsiteX131" fmla="*/ 205028 w 409575"/>
                <a:gd name="connsiteY131" fmla="*/ 574157 h 638175"/>
                <a:gd name="connsiteX132" fmla="*/ 205028 w 409575"/>
                <a:gd name="connsiteY132" fmla="*/ 570471 h 638175"/>
                <a:gd name="connsiteX133" fmla="*/ 208717 w 409575"/>
                <a:gd name="connsiteY133" fmla="*/ 570471 h 638175"/>
                <a:gd name="connsiteX134" fmla="*/ 212406 w 409575"/>
                <a:gd name="connsiteY134" fmla="*/ 570471 h 638175"/>
                <a:gd name="connsiteX135" fmla="*/ 212406 w 409575"/>
                <a:gd name="connsiteY135" fmla="*/ 566775 h 638175"/>
                <a:gd name="connsiteX136" fmla="*/ 216096 w 409575"/>
                <a:gd name="connsiteY136" fmla="*/ 563089 h 638175"/>
                <a:gd name="connsiteX137" fmla="*/ 219785 w 409575"/>
                <a:gd name="connsiteY137" fmla="*/ 559393 h 638175"/>
                <a:gd name="connsiteX138" fmla="*/ 216096 w 409575"/>
                <a:gd name="connsiteY138" fmla="*/ 555707 h 638175"/>
                <a:gd name="connsiteX139" fmla="*/ 216096 w 409575"/>
                <a:gd name="connsiteY139" fmla="*/ 552011 h 638175"/>
                <a:gd name="connsiteX140" fmla="*/ 219785 w 409575"/>
                <a:gd name="connsiteY140" fmla="*/ 548325 h 638175"/>
                <a:gd name="connsiteX141" fmla="*/ 227163 w 409575"/>
                <a:gd name="connsiteY141" fmla="*/ 552011 h 638175"/>
                <a:gd name="connsiteX142" fmla="*/ 230852 w 409575"/>
                <a:gd name="connsiteY142" fmla="*/ 552011 h 638175"/>
                <a:gd name="connsiteX143" fmla="*/ 234541 w 409575"/>
                <a:gd name="connsiteY143" fmla="*/ 552011 h 638175"/>
                <a:gd name="connsiteX144" fmla="*/ 238230 w 409575"/>
                <a:gd name="connsiteY144" fmla="*/ 552011 h 638175"/>
                <a:gd name="connsiteX145" fmla="*/ 238230 w 409575"/>
                <a:gd name="connsiteY145" fmla="*/ 548325 h 638175"/>
                <a:gd name="connsiteX146" fmla="*/ 245609 w 409575"/>
                <a:gd name="connsiteY146" fmla="*/ 544639 h 638175"/>
                <a:gd name="connsiteX147" fmla="*/ 245609 w 409575"/>
                <a:gd name="connsiteY147" fmla="*/ 540943 h 638175"/>
                <a:gd name="connsiteX148" fmla="*/ 252987 w 409575"/>
                <a:gd name="connsiteY148" fmla="*/ 544639 h 638175"/>
                <a:gd name="connsiteX149" fmla="*/ 252987 w 409575"/>
                <a:gd name="connsiteY149" fmla="*/ 540943 h 638175"/>
                <a:gd name="connsiteX150" fmla="*/ 252987 w 409575"/>
                <a:gd name="connsiteY150" fmla="*/ 537257 h 638175"/>
                <a:gd name="connsiteX151" fmla="*/ 256676 w 409575"/>
                <a:gd name="connsiteY151" fmla="*/ 537257 h 638175"/>
                <a:gd name="connsiteX152" fmla="*/ 256676 w 409575"/>
                <a:gd name="connsiteY152" fmla="*/ 533561 h 638175"/>
                <a:gd name="connsiteX153" fmla="*/ 260365 w 409575"/>
                <a:gd name="connsiteY153" fmla="*/ 533561 h 638175"/>
                <a:gd name="connsiteX154" fmla="*/ 264055 w 409575"/>
                <a:gd name="connsiteY154" fmla="*/ 533561 h 638175"/>
                <a:gd name="connsiteX155" fmla="*/ 264055 w 409575"/>
                <a:gd name="connsiteY155" fmla="*/ 548325 h 638175"/>
                <a:gd name="connsiteX156" fmla="*/ 267744 w 409575"/>
                <a:gd name="connsiteY156" fmla="*/ 544639 h 638175"/>
                <a:gd name="connsiteX157" fmla="*/ 271433 w 409575"/>
                <a:gd name="connsiteY157" fmla="*/ 548325 h 638175"/>
                <a:gd name="connsiteX158" fmla="*/ 275122 w 409575"/>
                <a:gd name="connsiteY158" fmla="*/ 548325 h 638175"/>
                <a:gd name="connsiteX159" fmla="*/ 278811 w 409575"/>
                <a:gd name="connsiteY159" fmla="*/ 544639 h 638175"/>
                <a:gd name="connsiteX160" fmla="*/ 282500 w 409575"/>
                <a:gd name="connsiteY160" fmla="*/ 544639 h 638175"/>
                <a:gd name="connsiteX161" fmla="*/ 286190 w 409575"/>
                <a:gd name="connsiteY161" fmla="*/ 548325 h 638175"/>
                <a:gd name="connsiteX162" fmla="*/ 282500 w 409575"/>
                <a:gd name="connsiteY162" fmla="*/ 548325 h 638175"/>
                <a:gd name="connsiteX163" fmla="*/ 278811 w 409575"/>
                <a:gd name="connsiteY163" fmla="*/ 548325 h 638175"/>
                <a:gd name="connsiteX164" fmla="*/ 278811 w 409575"/>
                <a:gd name="connsiteY164" fmla="*/ 552011 h 638175"/>
                <a:gd name="connsiteX165" fmla="*/ 275122 w 409575"/>
                <a:gd name="connsiteY165" fmla="*/ 552011 h 638175"/>
                <a:gd name="connsiteX166" fmla="*/ 271433 w 409575"/>
                <a:gd name="connsiteY166" fmla="*/ 552011 h 638175"/>
                <a:gd name="connsiteX167" fmla="*/ 271433 w 409575"/>
                <a:gd name="connsiteY167" fmla="*/ 555707 h 638175"/>
                <a:gd name="connsiteX168" fmla="*/ 267744 w 409575"/>
                <a:gd name="connsiteY168" fmla="*/ 555707 h 638175"/>
                <a:gd name="connsiteX169" fmla="*/ 264055 w 409575"/>
                <a:gd name="connsiteY169" fmla="*/ 555707 h 638175"/>
                <a:gd name="connsiteX170" fmla="*/ 264055 w 409575"/>
                <a:gd name="connsiteY170" fmla="*/ 559393 h 638175"/>
                <a:gd name="connsiteX171" fmla="*/ 267744 w 409575"/>
                <a:gd name="connsiteY171" fmla="*/ 570471 h 638175"/>
                <a:gd name="connsiteX172" fmla="*/ 271433 w 409575"/>
                <a:gd name="connsiteY172" fmla="*/ 574157 h 638175"/>
                <a:gd name="connsiteX173" fmla="*/ 271433 w 409575"/>
                <a:gd name="connsiteY173" fmla="*/ 570471 h 638175"/>
                <a:gd name="connsiteX174" fmla="*/ 275122 w 409575"/>
                <a:gd name="connsiteY174" fmla="*/ 570471 h 638175"/>
                <a:gd name="connsiteX175" fmla="*/ 275122 w 409575"/>
                <a:gd name="connsiteY175" fmla="*/ 574157 h 638175"/>
                <a:gd name="connsiteX176" fmla="*/ 275122 w 409575"/>
                <a:gd name="connsiteY176" fmla="*/ 581539 h 638175"/>
                <a:gd name="connsiteX177" fmla="*/ 282500 w 409575"/>
                <a:gd name="connsiteY177" fmla="*/ 585234 h 638175"/>
                <a:gd name="connsiteX178" fmla="*/ 275122 w 409575"/>
                <a:gd name="connsiteY178" fmla="*/ 588921 h 638175"/>
                <a:gd name="connsiteX179" fmla="*/ 271433 w 409575"/>
                <a:gd name="connsiteY179" fmla="*/ 588921 h 638175"/>
                <a:gd name="connsiteX180" fmla="*/ 271433 w 409575"/>
                <a:gd name="connsiteY180" fmla="*/ 596303 h 638175"/>
                <a:gd name="connsiteX181" fmla="*/ 271433 w 409575"/>
                <a:gd name="connsiteY181" fmla="*/ 603684 h 638175"/>
                <a:gd name="connsiteX182" fmla="*/ 271433 w 409575"/>
                <a:gd name="connsiteY182" fmla="*/ 607371 h 638175"/>
                <a:gd name="connsiteX183" fmla="*/ 271433 w 409575"/>
                <a:gd name="connsiteY183" fmla="*/ 611066 h 638175"/>
                <a:gd name="connsiteX184" fmla="*/ 264055 w 409575"/>
                <a:gd name="connsiteY184" fmla="*/ 611066 h 638175"/>
                <a:gd name="connsiteX185" fmla="*/ 267744 w 409575"/>
                <a:gd name="connsiteY185" fmla="*/ 614752 h 638175"/>
                <a:gd name="connsiteX186" fmla="*/ 271433 w 409575"/>
                <a:gd name="connsiteY186" fmla="*/ 614752 h 638175"/>
                <a:gd name="connsiteX187" fmla="*/ 271433 w 409575"/>
                <a:gd name="connsiteY187" fmla="*/ 618448 h 638175"/>
                <a:gd name="connsiteX188" fmla="*/ 271433 w 409575"/>
                <a:gd name="connsiteY188" fmla="*/ 625830 h 638175"/>
                <a:gd name="connsiteX189" fmla="*/ 275122 w 409575"/>
                <a:gd name="connsiteY189" fmla="*/ 625830 h 638175"/>
                <a:gd name="connsiteX190" fmla="*/ 275122 w 409575"/>
                <a:gd name="connsiteY190" fmla="*/ 640594 h 638175"/>
                <a:gd name="connsiteX191" fmla="*/ 289879 w 409575"/>
                <a:gd name="connsiteY191" fmla="*/ 636898 h 638175"/>
                <a:gd name="connsiteX192" fmla="*/ 308326 w 409575"/>
                <a:gd name="connsiteY192" fmla="*/ 629516 h 638175"/>
                <a:gd name="connsiteX193" fmla="*/ 312015 w 409575"/>
                <a:gd name="connsiteY193" fmla="*/ 629516 h 638175"/>
                <a:gd name="connsiteX194" fmla="*/ 334150 w 409575"/>
                <a:gd name="connsiteY194" fmla="*/ 633212 h 638175"/>
                <a:gd name="connsiteX195" fmla="*/ 337839 w 409575"/>
                <a:gd name="connsiteY195" fmla="*/ 633212 h 638175"/>
                <a:gd name="connsiteX196" fmla="*/ 341528 w 409575"/>
                <a:gd name="connsiteY196" fmla="*/ 633212 h 638175"/>
                <a:gd name="connsiteX197" fmla="*/ 348906 w 409575"/>
                <a:gd name="connsiteY197" fmla="*/ 633212 h 638175"/>
                <a:gd name="connsiteX198" fmla="*/ 359974 w 409575"/>
                <a:gd name="connsiteY198" fmla="*/ 611066 h 638175"/>
                <a:gd name="connsiteX199" fmla="*/ 359974 w 409575"/>
                <a:gd name="connsiteY199" fmla="*/ 603684 h 638175"/>
                <a:gd name="connsiteX200" fmla="*/ 363663 w 409575"/>
                <a:gd name="connsiteY200" fmla="*/ 596303 h 638175"/>
                <a:gd name="connsiteX201" fmla="*/ 367352 w 409575"/>
                <a:gd name="connsiteY201" fmla="*/ 585234 h 638175"/>
                <a:gd name="connsiteX202" fmla="*/ 371041 w 409575"/>
                <a:gd name="connsiteY202" fmla="*/ 577853 h 638175"/>
                <a:gd name="connsiteX203" fmla="*/ 371041 w 409575"/>
                <a:gd name="connsiteY203" fmla="*/ 574157 h 638175"/>
                <a:gd name="connsiteX204" fmla="*/ 371041 w 409575"/>
                <a:gd name="connsiteY204" fmla="*/ 570471 h 638175"/>
                <a:gd name="connsiteX205" fmla="*/ 382106 w 409575"/>
                <a:gd name="connsiteY205" fmla="*/ 548325 h 638175"/>
                <a:gd name="connsiteX206" fmla="*/ 389488 w 409575"/>
                <a:gd name="connsiteY206" fmla="*/ 552011 h 638175"/>
                <a:gd name="connsiteX207" fmla="*/ 404242 w 409575"/>
                <a:gd name="connsiteY207" fmla="*/ 552011 h 638175"/>
                <a:gd name="connsiteX208" fmla="*/ 396870 w 409575"/>
                <a:gd name="connsiteY208" fmla="*/ 544639 h 638175"/>
                <a:gd name="connsiteX209" fmla="*/ 396870 w 409575"/>
                <a:gd name="connsiteY209" fmla="*/ 540943 h 638175"/>
                <a:gd name="connsiteX210" fmla="*/ 400556 w 409575"/>
                <a:gd name="connsiteY210" fmla="*/ 537257 h 638175"/>
                <a:gd name="connsiteX211" fmla="*/ 396870 w 409575"/>
                <a:gd name="connsiteY211" fmla="*/ 537257 h 638175"/>
                <a:gd name="connsiteX212" fmla="*/ 393174 w 409575"/>
                <a:gd name="connsiteY212" fmla="*/ 537257 h 638175"/>
                <a:gd name="connsiteX213" fmla="*/ 389488 w 409575"/>
                <a:gd name="connsiteY213" fmla="*/ 533561 h 638175"/>
                <a:gd name="connsiteX214" fmla="*/ 385802 w 409575"/>
                <a:gd name="connsiteY214" fmla="*/ 533561 h 638175"/>
                <a:gd name="connsiteX215" fmla="*/ 382106 w 409575"/>
                <a:gd name="connsiteY215" fmla="*/ 529875 h 638175"/>
                <a:gd name="connsiteX216" fmla="*/ 378420 w 409575"/>
                <a:gd name="connsiteY216" fmla="*/ 529875 h 638175"/>
                <a:gd name="connsiteX217" fmla="*/ 378420 w 409575"/>
                <a:gd name="connsiteY217" fmla="*/ 526179 h 638175"/>
                <a:gd name="connsiteX218" fmla="*/ 374730 w 409575"/>
                <a:gd name="connsiteY218" fmla="*/ 522493 h 638175"/>
                <a:gd name="connsiteX219" fmla="*/ 371041 w 409575"/>
                <a:gd name="connsiteY219" fmla="*/ 526179 h 638175"/>
                <a:gd name="connsiteX220" fmla="*/ 367352 w 409575"/>
                <a:gd name="connsiteY220" fmla="*/ 526179 h 638175"/>
                <a:gd name="connsiteX221" fmla="*/ 363663 w 409575"/>
                <a:gd name="connsiteY221" fmla="*/ 526179 h 638175"/>
                <a:gd name="connsiteX222" fmla="*/ 348906 w 409575"/>
                <a:gd name="connsiteY222" fmla="*/ 526179 h 638175"/>
                <a:gd name="connsiteX223" fmla="*/ 345217 w 409575"/>
                <a:gd name="connsiteY223" fmla="*/ 529875 h 638175"/>
                <a:gd name="connsiteX224" fmla="*/ 341528 w 409575"/>
                <a:gd name="connsiteY224" fmla="*/ 529875 h 638175"/>
                <a:gd name="connsiteX225" fmla="*/ 337839 w 409575"/>
                <a:gd name="connsiteY225" fmla="*/ 533561 h 638175"/>
                <a:gd name="connsiteX226" fmla="*/ 334150 w 409575"/>
                <a:gd name="connsiteY226" fmla="*/ 533561 h 638175"/>
                <a:gd name="connsiteX227" fmla="*/ 334150 w 409575"/>
                <a:gd name="connsiteY227" fmla="*/ 529875 h 638175"/>
                <a:gd name="connsiteX228" fmla="*/ 330460 w 409575"/>
                <a:gd name="connsiteY228" fmla="*/ 529875 h 638175"/>
                <a:gd name="connsiteX229" fmla="*/ 326771 w 409575"/>
                <a:gd name="connsiteY229" fmla="*/ 526179 h 638175"/>
                <a:gd name="connsiteX230" fmla="*/ 323082 w 409575"/>
                <a:gd name="connsiteY230" fmla="*/ 522493 h 638175"/>
                <a:gd name="connsiteX231" fmla="*/ 319393 w 409575"/>
                <a:gd name="connsiteY231" fmla="*/ 515111 h 638175"/>
                <a:gd name="connsiteX232" fmla="*/ 315704 w 409575"/>
                <a:gd name="connsiteY232" fmla="*/ 515111 h 638175"/>
                <a:gd name="connsiteX233" fmla="*/ 315704 w 409575"/>
                <a:gd name="connsiteY233" fmla="*/ 511416 h 638175"/>
                <a:gd name="connsiteX234" fmla="*/ 308326 w 409575"/>
                <a:gd name="connsiteY234" fmla="*/ 511416 h 638175"/>
                <a:gd name="connsiteX235" fmla="*/ 304636 w 409575"/>
                <a:gd name="connsiteY235" fmla="*/ 511416 h 638175"/>
                <a:gd name="connsiteX236" fmla="*/ 300947 w 409575"/>
                <a:gd name="connsiteY236" fmla="*/ 504043 h 638175"/>
                <a:gd name="connsiteX237" fmla="*/ 289879 w 409575"/>
                <a:gd name="connsiteY237" fmla="*/ 504043 h 638175"/>
                <a:gd name="connsiteX238" fmla="*/ 286190 w 409575"/>
                <a:gd name="connsiteY238" fmla="*/ 504043 h 638175"/>
                <a:gd name="connsiteX239" fmla="*/ 282500 w 409575"/>
                <a:gd name="connsiteY239" fmla="*/ 504043 h 638175"/>
                <a:gd name="connsiteX240" fmla="*/ 275122 w 409575"/>
                <a:gd name="connsiteY240" fmla="*/ 507730 h 638175"/>
                <a:gd name="connsiteX241" fmla="*/ 271433 w 409575"/>
                <a:gd name="connsiteY241" fmla="*/ 504043 h 638175"/>
                <a:gd name="connsiteX242" fmla="*/ 271433 w 409575"/>
                <a:gd name="connsiteY242" fmla="*/ 507730 h 638175"/>
                <a:gd name="connsiteX243" fmla="*/ 267744 w 409575"/>
                <a:gd name="connsiteY243" fmla="*/ 507730 h 638175"/>
                <a:gd name="connsiteX244" fmla="*/ 267744 w 409575"/>
                <a:gd name="connsiteY244" fmla="*/ 504043 h 638175"/>
                <a:gd name="connsiteX245" fmla="*/ 271433 w 409575"/>
                <a:gd name="connsiteY245" fmla="*/ 504043 h 638175"/>
                <a:gd name="connsiteX246" fmla="*/ 271433 w 409575"/>
                <a:gd name="connsiteY246" fmla="*/ 500348 h 638175"/>
                <a:gd name="connsiteX247" fmla="*/ 267744 w 409575"/>
                <a:gd name="connsiteY247" fmla="*/ 496662 h 638175"/>
                <a:gd name="connsiteX248" fmla="*/ 264055 w 409575"/>
                <a:gd name="connsiteY248" fmla="*/ 496662 h 638175"/>
                <a:gd name="connsiteX249" fmla="*/ 260365 w 409575"/>
                <a:gd name="connsiteY249" fmla="*/ 500348 h 638175"/>
                <a:gd name="connsiteX250" fmla="*/ 256676 w 409575"/>
                <a:gd name="connsiteY250" fmla="*/ 500348 h 638175"/>
                <a:gd name="connsiteX251" fmla="*/ 252987 w 409575"/>
                <a:gd name="connsiteY251" fmla="*/ 500348 h 638175"/>
                <a:gd name="connsiteX252" fmla="*/ 252987 w 409575"/>
                <a:gd name="connsiteY252" fmla="*/ 496662 h 638175"/>
                <a:gd name="connsiteX253" fmla="*/ 256676 w 409575"/>
                <a:gd name="connsiteY253" fmla="*/ 496662 h 638175"/>
                <a:gd name="connsiteX254" fmla="*/ 256676 w 409575"/>
                <a:gd name="connsiteY254" fmla="*/ 492966 h 638175"/>
                <a:gd name="connsiteX255" fmla="*/ 256676 w 409575"/>
                <a:gd name="connsiteY255" fmla="*/ 489280 h 638175"/>
                <a:gd name="connsiteX256" fmla="*/ 249298 w 409575"/>
                <a:gd name="connsiteY256" fmla="*/ 485584 h 638175"/>
                <a:gd name="connsiteX257" fmla="*/ 245609 w 409575"/>
                <a:gd name="connsiteY257" fmla="*/ 485584 h 638175"/>
                <a:gd name="connsiteX258" fmla="*/ 245609 w 409575"/>
                <a:gd name="connsiteY258" fmla="*/ 489280 h 638175"/>
                <a:gd name="connsiteX259" fmla="*/ 241920 w 409575"/>
                <a:gd name="connsiteY259" fmla="*/ 489280 h 638175"/>
                <a:gd name="connsiteX260" fmla="*/ 238230 w 409575"/>
                <a:gd name="connsiteY260" fmla="*/ 485584 h 638175"/>
                <a:gd name="connsiteX261" fmla="*/ 234541 w 409575"/>
                <a:gd name="connsiteY261" fmla="*/ 485584 h 638175"/>
                <a:gd name="connsiteX262" fmla="*/ 234541 w 409575"/>
                <a:gd name="connsiteY262" fmla="*/ 481898 h 638175"/>
                <a:gd name="connsiteX263" fmla="*/ 238230 w 409575"/>
                <a:gd name="connsiteY263" fmla="*/ 481898 h 638175"/>
                <a:gd name="connsiteX264" fmla="*/ 241920 w 409575"/>
                <a:gd name="connsiteY264" fmla="*/ 481898 h 638175"/>
                <a:gd name="connsiteX265" fmla="*/ 245609 w 409575"/>
                <a:gd name="connsiteY265" fmla="*/ 478202 h 638175"/>
                <a:gd name="connsiteX266" fmla="*/ 234541 w 409575"/>
                <a:gd name="connsiteY266" fmla="*/ 470823 h 638175"/>
                <a:gd name="connsiteX267" fmla="*/ 234541 w 409575"/>
                <a:gd name="connsiteY267" fmla="*/ 467133 h 638175"/>
                <a:gd name="connsiteX268" fmla="*/ 241920 w 409575"/>
                <a:gd name="connsiteY268" fmla="*/ 470823 h 638175"/>
                <a:gd name="connsiteX269" fmla="*/ 245609 w 409575"/>
                <a:gd name="connsiteY269" fmla="*/ 474514 h 638175"/>
                <a:gd name="connsiteX270" fmla="*/ 249298 w 409575"/>
                <a:gd name="connsiteY270" fmla="*/ 474514 h 638175"/>
                <a:gd name="connsiteX271" fmla="*/ 252987 w 409575"/>
                <a:gd name="connsiteY271" fmla="*/ 470823 h 638175"/>
                <a:gd name="connsiteX272" fmla="*/ 252987 w 409575"/>
                <a:gd name="connsiteY272" fmla="*/ 474514 h 638175"/>
                <a:gd name="connsiteX273" fmla="*/ 256676 w 409575"/>
                <a:gd name="connsiteY273" fmla="*/ 478202 h 638175"/>
                <a:gd name="connsiteX274" fmla="*/ 260365 w 409575"/>
                <a:gd name="connsiteY274" fmla="*/ 474514 h 638175"/>
                <a:gd name="connsiteX275" fmla="*/ 260365 w 409575"/>
                <a:gd name="connsiteY275" fmla="*/ 470823 h 638175"/>
                <a:gd name="connsiteX276" fmla="*/ 260365 w 409575"/>
                <a:gd name="connsiteY276" fmla="*/ 467133 h 638175"/>
                <a:gd name="connsiteX277" fmla="*/ 264055 w 409575"/>
                <a:gd name="connsiteY277" fmla="*/ 467133 h 638175"/>
                <a:gd name="connsiteX278" fmla="*/ 267744 w 409575"/>
                <a:gd name="connsiteY278" fmla="*/ 463442 h 638175"/>
                <a:gd name="connsiteX279" fmla="*/ 267744 w 409575"/>
                <a:gd name="connsiteY279" fmla="*/ 456061 h 638175"/>
                <a:gd name="connsiteX280" fmla="*/ 271433 w 409575"/>
                <a:gd name="connsiteY280" fmla="*/ 452370 h 638175"/>
                <a:gd name="connsiteX281" fmla="*/ 275122 w 409575"/>
                <a:gd name="connsiteY281" fmla="*/ 448680 h 638175"/>
                <a:gd name="connsiteX282" fmla="*/ 278811 w 409575"/>
                <a:gd name="connsiteY282" fmla="*/ 444989 h 638175"/>
                <a:gd name="connsiteX283" fmla="*/ 282500 w 409575"/>
                <a:gd name="connsiteY283" fmla="*/ 444989 h 638175"/>
                <a:gd name="connsiteX284" fmla="*/ 286190 w 409575"/>
                <a:gd name="connsiteY284" fmla="*/ 444989 h 638175"/>
                <a:gd name="connsiteX285" fmla="*/ 286190 w 409575"/>
                <a:gd name="connsiteY285" fmla="*/ 441299 h 638175"/>
                <a:gd name="connsiteX286" fmla="*/ 289879 w 409575"/>
                <a:gd name="connsiteY286" fmla="*/ 437608 h 638175"/>
                <a:gd name="connsiteX287" fmla="*/ 289879 w 409575"/>
                <a:gd name="connsiteY287" fmla="*/ 433917 h 638175"/>
                <a:gd name="connsiteX288" fmla="*/ 297258 w 409575"/>
                <a:gd name="connsiteY288" fmla="*/ 426537 h 638175"/>
                <a:gd name="connsiteX289" fmla="*/ 293568 w 409575"/>
                <a:gd name="connsiteY289" fmla="*/ 426537 h 638175"/>
                <a:gd name="connsiteX290" fmla="*/ 289879 w 409575"/>
                <a:gd name="connsiteY290" fmla="*/ 426537 h 638175"/>
                <a:gd name="connsiteX291" fmla="*/ 286190 w 409575"/>
                <a:gd name="connsiteY291" fmla="*/ 422847 h 638175"/>
                <a:gd name="connsiteX292" fmla="*/ 286190 w 409575"/>
                <a:gd name="connsiteY292" fmla="*/ 426537 h 638175"/>
                <a:gd name="connsiteX293" fmla="*/ 278811 w 409575"/>
                <a:gd name="connsiteY293" fmla="*/ 422847 h 638175"/>
                <a:gd name="connsiteX294" fmla="*/ 278811 w 409575"/>
                <a:gd name="connsiteY294" fmla="*/ 419156 h 638175"/>
                <a:gd name="connsiteX295" fmla="*/ 278811 w 409575"/>
                <a:gd name="connsiteY295" fmla="*/ 415465 h 638175"/>
                <a:gd name="connsiteX296" fmla="*/ 278811 w 409575"/>
                <a:gd name="connsiteY296" fmla="*/ 411775 h 638175"/>
                <a:gd name="connsiteX297" fmla="*/ 282500 w 409575"/>
                <a:gd name="connsiteY297" fmla="*/ 408084 h 638175"/>
                <a:gd name="connsiteX298" fmla="*/ 282500 w 409575"/>
                <a:gd name="connsiteY298" fmla="*/ 404394 h 638175"/>
                <a:gd name="connsiteX299" fmla="*/ 278811 w 409575"/>
                <a:gd name="connsiteY299" fmla="*/ 404394 h 638175"/>
                <a:gd name="connsiteX300" fmla="*/ 275122 w 409575"/>
                <a:gd name="connsiteY300" fmla="*/ 408084 h 638175"/>
                <a:gd name="connsiteX301" fmla="*/ 271433 w 409575"/>
                <a:gd name="connsiteY301" fmla="*/ 404394 h 638175"/>
                <a:gd name="connsiteX302" fmla="*/ 278811 w 409575"/>
                <a:gd name="connsiteY302" fmla="*/ 400703 h 638175"/>
                <a:gd name="connsiteX303" fmla="*/ 286190 w 409575"/>
                <a:gd name="connsiteY303" fmla="*/ 400703 h 638175"/>
                <a:gd name="connsiteX304" fmla="*/ 286190 w 409575"/>
                <a:gd name="connsiteY304" fmla="*/ 397012 h 638175"/>
                <a:gd name="connsiteX305" fmla="*/ 282500 w 409575"/>
                <a:gd name="connsiteY305" fmla="*/ 393322 h 638175"/>
                <a:gd name="connsiteX306" fmla="*/ 282500 w 409575"/>
                <a:gd name="connsiteY306" fmla="*/ 389631 h 638175"/>
                <a:gd name="connsiteX307" fmla="*/ 282500 w 409575"/>
                <a:gd name="connsiteY307" fmla="*/ 385940 h 638175"/>
                <a:gd name="connsiteX308" fmla="*/ 286190 w 409575"/>
                <a:gd name="connsiteY308" fmla="*/ 382250 h 638175"/>
                <a:gd name="connsiteX309" fmla="*/ 289879 w 409575"/>
                <a:gd name="connsiteY309" fmla="*/ 385940 h 638175"/>
                <a:gd name="connsiteX310" fmla="*/ 289879 w 409575"/>
                <a:gd name="connsiteY310" fmla="*/ 382250 h 638175"/>
                <a:gd name="connsiteX311" fmla="*/ 293568 w 409575"/>
                <a:gd name="connsiteY311" fmla="*/ 378559 h 638175"/>
                <a:gd name="connsiteX312" fmla="*/ 297258 w 409575"/>
                <a:gd name="connsiteY312" fmla="*/ 371178 h 638175"/>
                <a:gd name="connsiteX313" fmla="*/ 293568 w 409575"/>
                <a:gd name="connsiteY313" fmla="*/ 371178 h 638175"/>
                <a:gd name="connsiteX314" fmla="*/ 293568 w 409575"/>
                <a:gd name="connsiteY314" fmla="*/ 363797 h 638175"/>
                <a:gd name="connsiteX315" fmla="*/ 289879 w 409575"/>
                <a:gd name="connsiteY315" fmla="*/ 363797 h 638175"/>
                <a:gd name="connsiteX316" fmla="*/ 289879 w 409575"/>
                <a:gd name="connsiteY316" fmla="*/ 360106 h 638175"/>
                <a:gd name="connsiteX317" fmla="*/ 286190 w 409575"/>
                <a:gd name="connsiteY317" fmla="*/ 356416 h 638175"/>
                <a:gd name="connsiteX318" fmla="*/ 286190 w 409575"/>
                <a:gd name="connsiteY318" fmla="*/ 352725 h 638175"/>
                <a:gd name="connsiteX319" fmla="*/ 282500 w 409575"/>
                <a:gd name="connsiteY319" fmla="*/ 345344 h 638175"/>
                <a:gd name="connsiteX320" fmla="*/ 282500 w 409575"/>
                <a:gd name="connsiteY320" fmla="*/ 341654 h 638175"/>
                <a:gd name="connsiteX321" fmla="*/ 275122 w 409575"/>
                <a:gd name="connsiteY321" fmla="*/ 330582 h 638175"/>
                <a:gd name="connsiteX322" fmla="*/ 275122 w 409575"/>
                <a:gd name="connsiteY322" fmla="*/ 326892 h 638175"/>
                <a:gd name="connsiteX323" fmla="*/ 271433 w 409575"/>
                <a:gd name="connsiteY323" fmla="*/ 323201 h 638175"/>
                <a:gd name="connsiteX324" fmla="*/ 271433 w 409575"/>
                <a:gd name="connsiteY324" fmla="*/ 315820 h 638175"/>
                <a:gd name="connsiteX325" fmla="*/ 267744 w 409575"/>
                <a:gd name="connsiteY325" fmla="*/ 308439 h 638175"/>
                <a:gd name="connsiteX326" fmla="*/ 267744 w 409575"/>
                <a:gd name="connsiteY326" fmla="*/ 304748 h 638175"/>
                <a:gd name="connsiteX327" fmla="*/ 264055 w 409575"/>
                <a:gd name="connsiteY327" fmla="*/ 301057 h 638175"/>
                <a:gd name="connsiteX328" fmla="*/ 267744 w 409575"/>
                <a:gd name="connsiteY328" fmla="*/ 297367 h 638175"/>
                <a:gd name="connsiteX329" fmla="*/ 264055 w 409575"/>
                <a:gd name="connsiteY329" fmla="*/ 293676 h 638175"/>
                <a:gd name="connsiteX330" fmla="*/ 264055 w 409575"/>
                <a:gd name="connsiteY330" fmla="*/ 289986 h 638175"/>
                <a:gd name="connsiteX331" fmla="*/ 264055 w 409575"/>
                <a:gd name="connsiteY331" fmla="*/ 286295 h 638175"/>
                <a:gd name="connsiteX332" fmla="*/ 264055 w 409575"/>
                <a:gd name="connsiteY332" fmla="*/ 282604 h 638175"/>
                <a:gd name="connsiteX333" fmla="*/ 264055 w 409575"/>
                <a:gd name="connsiteY333" fmla="*/ 275223 h 638175"/>
                <a:gd name="connsiteX334" fmla="*/ 264055 w 409575"/>
                <a:gd name="connsiteY334" fmla="*/ 271532 h 638175"/>
                <a:gd name="connsiteX335" fmla="*/ 267744 w 409575"/>
                <a:gd name="connsiteY335" fmla="*/ 271532 h 638175"/>
                <a:gd name="connsiteX336" fmla="*/ 267744 w 409575"/>
                <a:gd name="connsiteY336" fmla="*/ 267842 h 638175"/>
                <a:gd name="connsiteX337" fmla="*/ 271433 w 409575"/>
                <a:gd name="connsiteY337" fmla="*/ 267842 h 638175"/>
                <a:gd name="connsiteX338" fmla="*/ 275122 w 409575"/>
                <a:gd name="connsiteY338" fmla="*/ 264151 h 638175"/>
                <a:gd name="connsiteX339" fmla="*/ 278811 w 409575"/>
                <a:gd name="connsiteY339" fmla="*/ 264151 h 638175"/>
                <a:gd name="connsiteX340" fmla="*/ 282500 w 409575"/>
                <a:gd name="connsiteY340" fmla="*/ 264151 h 638175"/>
                <a:gd name="connsiteX341" fmla="*/ 282500 w 409575"/>
                <a:gd name="connsiteY341" fmla="*/ 267842 h 638175"/>
                <a:gd name="connsiteX342" fmla="*/ 286190 w 409575"/>
                <a:gd name="connsiteY342" fmla="*/ 271532 h 638175"/>
                <a:gd name="connsiteX343" fmla="*/ 286190 w 409575"/>
                <a:gd name="connsiteY343" fmla="*/ 267842 h 638175"/>
                <a:gd name="connsiteX344" fmla="*/ 289879 w 409575"/>
                <a:gd name="connsiteY344" fmla="*/ 264151 h 638175"/>
                <a:gd name="connsiteX345" fmla="*/ 293568 w 409575"/>
                <a:gd name="connsiteY345" fmla="*/ 264151 h 638175"/>
                <a:gd name="connsiteX346" fmla="*/ 297258 w 409575"/>
                <a:gd name="connsiteY346" fmla="*/ 264151 h 638175"/>
                <a:gd name="connsiteX347" fmla="*/ 300947 w 409575"/>
                <a:gd name="connsiteY347" fmla="*/ 264151 h 638175"/>
                <a:gd name="connsiteX348" fmla="*/ 304636 w 409575"/>
                <a:gd name="connsiteY348" fmla="*/ 267842 h 638175"/>
                <a:gd name="connsiteX349" fmla="*/ 308326 w 409575"/>
                <a:gd name="connsiteY349" fmla="*/ 271532 h 638175"/>
                <a:gd name="connsiteX350" fmla="*/ 312015 w 409575"/>
                <a:gd name="connsiteY350" fmla="*/ 271532 h 638175"/>
                <a:gd name="connsiteX351" fmla="*/ 315704 w 409575"/>
                <a:gd name="connsiteY351" fmla="*/ 275223 h 638175"/>
                <a:gd name="connsiteX352" fmla="*/ 315704 w 409575"/>
                <a:gd name="connsiteY352" fmla="*/ 278914 h 638175"/>
                <a:gd name="connsiteX353" fmla="*/ 323082 w 409575"/>
                <a:gd name="connsiteY353" fmla="*/ 278914 h 638175"/>
                <a:gd name="connsiteX354" fmla="*/ 326771 w 409575"/>
                <a:gd name="connsiteY354" fmla="*/ 278914 h 638175"/>
                <a:gd name="connsiteX355" fmla="*/ 330460 w 409575"/>
                <a:gd name="connsiteY355" fmla="*/ 278914 h 638175"/>
                <a:gd name="connsiteX356" fmla="*/ 334150 w 409575"/>
                <a:gd name="connsiteY356" fmla="*/ 275223 h 638175"/>
                <a:gd name="connsiteX357" fmla="*/ 341528 w 409575"/>
                <a:gd name="connsiteY357" fmla="*/ 267842 h 638175"/>
                <a:gd name="connsiteX358" fmla="*/ 345217 w 409575"/>
                <a:gd name="connsiteY358" fmla="*/ 267842 h 638175"/>
                <a:gd name="connsiteX359" fmla="*/ 352595 w 409575"/>
                <a:gd name="connsiteY359" fmla="*/ 267842 h 638175"/>
                <a:gd name="connsiteX360" fmla="*/ 352595 w 409575"/>
                <a:gd name="connsiteY360" fmla="*/ 264151 h 638175"/>
                <a:gd name="connsiteX361" fmla="*/ 356285 w 409575"/>
                <a:gd name="connsiteY361" fmla="*/ 260461 h 638175"/>
                <a:gd name="connsiteX362" fmla="*/ 359974 w 409575"/>
                <a:gd name="connsiteY362" fmla="*/ 260461 h 638175"/>
                <a:gd name="connsiteX363" fmla="*/ 359974 w 409575"/>
                <a:gd name="connsiteY363" fmla="*/ 256771 h 638175"/>
                <a:gd name="connsiteX364" fmla="*/ 367352 w 409575"/>
                <a:gd name="connsiteY364" fmla="*/ 253080 h 638175"/>
                <a:gd name="connsiteX365" fmla="*/ 367352 w 409575"/>
                <a:gd name="connsiteY365" fmla="*/ 249390 h 638175"/>
                <a:gd name="connsiteX366" fmla="*/ 371041 w 409575"/>
                <a:gd name="connsiteY366" fmla="*/ 245699 h 638175"/>
                <a:gd name="connsiteX367" fmla="*/ 371041 w 409575"/>
                <a:gd name="connsiteY367" fmla="*/ 238318 h 638175"/>
                <a:gd name="connsiteX368" fmla="*/ 371041 w 409575"/>
                <a:gd name="connsiteY368" fmla="*/ 234627 h 638175"/>
                <a:gd name="connsiteX369" fmla="*/ 374730 w 409575"/>
                <a:gd name="connsiteY369" fmla="*/ 227246 h 638175"/>
                <a:gd name="connsiteX370" fmla="*/ 378420 w 409575"/>
                <a:gd name="connsiteY370" fmla="*/ 227246 h 638175"/>
                <a:gd name="connsiteX371" fmla="*/ 382106 w 409575"/>
                <a:gd name="connsiteY371" fmla="*/ 227246 h 638175"/>
                <a:gd name="connsiteX372" fmla="*/ 385802 w 409575"/>
                <a:gd name="connsiteY372" fmla="*/ 227246 h 638175"/>
                <a:gd name="connsiteX373" fmla="*/ 389488 w 409575"/>
                <a:gd name="connsiteY373" fmla="*/ 223555 h 638175"/>
                <a:gd name="connsiteX374" fmla="*/ 393174 w 409575"/>
                <a:gd name="connsiteY374" fmla="*/ 223555 h 638175"/>
                <a:gd name="connsiteX375" fmla="*/ 389488 w 409575"/>
                <a:gd name="connsiteY375" fmla="*/ 219865 h 638175"/>
                <a:gd name="connsiteX376" fmla="*/ 393174 w 409575"/>
                <a:gd name="connsiteY376" fmla="*/ 219865 h 638175"/>
                <a:gd name="connsiteX377" fmla="*/ 396870 w 409575"/>
                <a:gd name="connsiteY377" fmla="*/ 216174 h 638175"/>
                <a:gd name="connsiteX378" fmla="*/ 400556 w 409575"/>
                <a:gd name="connsiteY378" fmla="*/ 212484 h 638175"/>
                <a:gd name="connsiteX379" fmla="*/ 396870 w 409575"/>
                <a:gd name="connsiteY379" fmla="*/ 208793 h 638175"/>
                <a:gd name="connsiteX380" fmla="*/ 393174 w 409575"/>
                <a:gd name="connsiteY380" fmla="*/ 205102 h 638175"/>
                <a:gd name="connsiteX381" fmla="*/ 393174 w 409575"/>
                <a:gd name="connsiteY381" fmla="*/ 201412 h 638175"/>
                <a:gd name="connsiteX382" fmla="*/ 393174 w 409575"/>
                <a:gd name="connsiteY382" fmla="*/ 197721 h 638175"/>
                <a:gd name="connsiteX383" fmla="*/ 393174 w 409575"/>
                <a:gd name="connsiteY383" fmla="*/ 194031 h 638175"/>
                <a:gd name="connsiteX384" fmla="*/ 393174 w 409575"/>
                <a:gd name="connsiteY384" fmla="*/ 190340 h 638175"/>
                <a:gd name="connsiteX385" fmla="*/ 393174 w 409575"/>
                <a:gd name="connsiteY385" fmla="*/ 186649 h 638175"/>
                <a:gd name="connsiteX386" fmla="*/ 393174 w 409575"/>
                <a:gd name="connsiteY386" fmla="*/ 182959 h 638175"/>
                <a:gd name="connsiteX387" fmla="*/ 389488 w 409575"/>
                <a:gd name="connsiteY387" fmla="*/ 182959 h 638175"/>
                <a:gd name="connsiteX388" fmla="*/ 385802 w 409575"/>
                <a:gd name="connsiteY388" fmla="*/ 179268 h 638175"/>
                <a:gd name="connsiteX389" fmla="*/ 378420 w 409575"/>
                <a:gd name="connsiteY389" fmla="*/ 175578 h 638175"/>
                <a:gd name="connsiteX390" fmla="*/ 367352 w 409575"/>
                <a:gd name="connsiteY390" fmla="*/ 175578 h 638175"/>
                <a:gd name="connsiteX391" fmla="*/ 363663 w 409575"/>
                <a:gd name="connsiteY391" fmla="*/ 175578 h 638175"/>
                <a:gd name="connsiteX392" fmla="*/ 359974 w 409575"/>
                <a:gd name="connsiteY392" fmla="*/ 171888 h 638175"/>
                <a:gd name="connsiteX393" fmla="*/ 352595 w 409575"/>
                <a:gd name="connsiteY393" fmla="*/ 171888 h 638175"/>
                <a:gd name="connsiteX394" fmla="*/ 348906 w 409575"/>
                <a:gd name="connsiteY394" fmla="*/ 171888 h 638175"/>
                <a:gd name="connsiteX395" fmla="*/ 345217 w 409575"/>
                <a:gd name="connsiteY395" fmla="*/ 179268 h 638175"/>
                <a:gd name="connsiteX396" fmla="*/ 341528 w 409575"/>
                <a:gd name="connsiteY396" fmla="*/ 182959 h 638175"/>
                <a:gd name="connsiteX397" fmla="*/ 341528 w 409575"/>
                <a:gd name="connsiteY397" fmla="*/ 186649 h 638175"/>
                <a:gd name="connsiteX398" fmla="*/ 337839 w 409575"/>
                <a:gd name="connsiteY398" fmla="*/ 182959 h 638175"/>
                <a:gd name="connsiteX399" fmla="*/ 334150 w 409575"/>
                <a:gd name="connsiteY399" fmla="*/ 182959 h 638175"/>
                <a:gd name="connsiteX400" fmla="*/ 330460 w 409575"/>
                <a:gd name="connsiteY400" fmla="*/ 182959 h 638175"/>
                <a:gd name="connsiteX401" fmla="*/ 326771 w 409575"/>
                <a:gd name="connsiteY401" fmla="*/ 182959 h 638175"/>
                <a:gd name="connsiteX402" fmla="*/ 319393 w 409575"/>
                <a:gd name="connsiteY402" fmla="*/ 175578 h 638175"/>
                <a:gd name="connsiteX403" fmla="*/ 315704 w 409575"/>
                <a:gd name="connsiteY403" fmla="*/ 171888 h 638175"/>
                <a:gd name="connsiteX404" fmla="*/ 312015 w 409575"/>
                <a:gd name="connsiteY404" fmla="*/ 168197 h 638175"/>
                <a:gd name="connsiteX405" fmla="*/ 315704 w 409575"/>
                <a:gd name="connsiteY405" fmla="*/ 160816 h 638175"/>
                <a:gd name="connsiteX406" fmla="*/ 312015 w 409575"/>
                <a:gd name="connsiteY406" fmla="*/ 160816 h 638175"/>
                <a:gd name="connsiteX407" fmla="*/ 308326 w 409575"/>
                <a:gd name="connsiteY407" fmla="*/ 157126 h 638175"/>
                <a:gd name="connsiteX408" fmla="*/ 304636 w 409575"/>
                <a:gd name="connsiteY408" fmla="*/ 157126 h 638175"/>
                <a:gd name="connsiteX409" fmla="*/ 312015 w 409575"/>
                <a:gd name="connsiteY409" fmla="*/ 101766 h 638175"/>
                <a:gd name="connsiteX410" fmla="*/ 304636 w 409575"/>
                <a:gd name="connsiteY410" fmla="*/ 90695 h 638175"/>
                <a:gd name="connsiteX411" fmla="*/ 293568 w 409575"/>
                <a:gd name="connsiteY411" fmla="*/ 68552 h 638175"/>
                <a:gd name="connsiteX412" fmla="*/ 293568 w 409575"/>
                <a:gd name="connsiteY412" fmla="*/ 64861 h 638175"/>
                <a:gd name="connsiteX413" fmla="*/ 289879 w 409575"/>
                <a:gd name="connsiteY413" fmla="*/ 61171 h 638175"/>
                <a:gd name="connsiteX414" fmla="*/ 278811 w 409575"/>
                <a:gd name="connsiteY414" fmla="*/ 39027 h 638175"/>
                <a:gd name="connsiteX415" fmla="*/ 275122 w 409575"/>
                <a:gd name="connsiteY415" fmla="*/ 39027 h 638175"/>
                <a:gd name="connsiteX416" fmla="*/ 275122 w 409575"/>
                <a:gd name="connsiteY416" fmla="*/ 31646 h 638175"/>
                <a:gd name="connsiteX417" fmla="*/ 271433 w 409575"/>
                <a:gd name="connsiteY417" fmla="*/ 27955 h 638175"/>
                <a:gd name="connsiteX418" fmla="*/ 267744 w 409575"/>
                <a:gd name="connsiteY418" fmla="*/ 27955 h 638175"/>
                <a:gd name="connsiteX419" fmla="*/ 264055 w 409575"/>
                <a:gd name="connsiteY419" fmla="*/ 31646 h 638175"/>
                <a:gd name="connsiteX420" fmla="*/ 260365 w 409575"/>
                <a:gd name="connsiteY420" fmla="*/ 31646 h 638175"/>
                <a:gd name="connsiteX421" fmla="*/ 256676 w 409575"/>
                <a:gd name="connsiteY421" fmla="*/ 27955 h 638175"/>
                <a:gd name="connsiteX422" fmla="*/ 252987 w 409575"/>
                <a:gd name="connsiteY422" fmla="*/ 27955 h 638175"/>
                <a:gd name="connsiteX423" fmla="*/ 249298 w 409575"/>
                <a:gd name="connsiteY423" fmla="*/ 31646 h 638175"/>
                <a:gd name="connsiteX424" fmla="*/ 241920 w 409575"/>
                <a:gd name="connsiteY424" fmla="*/ 31646 h 638175"/>
                <a:gd name="connsiteX425" fmla="*/ 234541 w 409575"/>
                <a:gd name="connsiteY425" fmla="*/ 39027 h 638175"/>
                <a:gd name="connsiteX426" fmla="*/ 234541 w 409575"/>
                <a:gd name="connsiteY426" fmla="*/ 42718 h 638175"/>
                <a:gd name="connsiteX427" fmla="*/ 227163 w 409575"/>
                <a:gd name="connsiteY427" fmla="*/ 53789 h 638175"/>
                <a:gd name="connsiteX428" fmla="*/ 223474 w 409575"/>
                <a:gd name="connsiteY428" fmla="*/ 53789 h 638175"/>
                <a:gd name="connsiteX429" fmla="*/ 216096 w 409575"/>
                <a:gd name="connsiteY429" fmla="*/ 57480 h 638175"/>
                <a:gd name="connsiteX430" fmla="*/ 212406 w 409575"/>
                <a:gd name="connsiteY430" fmla="*/ 61171 h 638175"/>
                <a:gd name="connsiteX431" fmla="*/ 197650 w 409575"/>
                <a:gd name="connsiteY431" fmla="*/ 68552 h 638175"/>
                <a:gd name="connsiteX432" fmla="*/ 193961 w 409575"/>
                <a:gd name="connsiteY432" fmla="*/ 64861 h 638175"/>
                <a:gd name="connsiteX433" fmla="*/ 182893 w 409575"/>
                <a:gd name="connsiteY433" fmla="*/ 57480 h 638175"/>
                <a:gd name="connsiteX434" fmla="*/ 179204 w 409575"/>
                <a:gd name="connsiteY434" fmla="*/ 57480 h 638175"/>
                <a:gd name="connsiteX435" fmla="*/ 168136 w 409575"/>
                <a:gd name="connsiteY435" fmla="*/ 50099 h 638175"/>
                <a:gd name="connsiteX436" fmla="*/ 164447 w 409575"/>
                <a:gd name="connsiteY436" fmla="*/ 46408 h 638175"/>
                <a:gd name="connsiteX437" fmla="*/ 160758 w 409575"/>
                <a:gd name="connsiteY437" fmla="*/ 42718 h 638175"/>
                <a:gd name="connsiteX438" fmla="*/ 157069 w 409575"/>
                <a:gd name="connsiteY438" fmla="*/ 35336 h 638175"/>
                <a:gd name="connsiteX439" fmla="*/ 157069 w 409575"/>
                <a:gd name="connsiteY439" fmla="*/ 27955 h 638175"/>
                <a:gd name="connsiteX440" fmla="*/ 157069 w 409575"/>
                <a:gd name="connsiteY440" fmla="*/ 20574 h 638175"/>
                <a:gd name="connsiteX441" fmla="*/ 160758 w 409575"/>
                <a:gd name="connsiteY441" fmla="*/ 13193 h 638175"/>
                <a:gd name="connsiteX442" fmla="*/ 160758 w 409575"/>
                <a:gd name="connsiteY442" fmla="*/ 9502 h 638175"/>
                <a:gd name="connsiteX443" fmla="*/ 157069 w 409575"/>
                <a:gd name="connsiteY443" fmla="*/ 9502 h 638175"/>
                <a:gd name="connsiteX444" fmla="*/ 157069 w 409575"/>
                <a:gd name="connsiteY444" fmla="*/ 13193 h 638175"/>
                <a:gd name="connsiteX445" fmla="*/ 153380 w 409575"/>
                <a:gd name="connsiteY445" fmla="*/ 13193 h 638175"/>
                <a:gd name="connsiteX446" fmla="*/ 149690 w 409575"/>
                <a:gd name="connsiteY446" fmla="*/ 13193 h 638175"/>
                <a:gd name="connsiteX447" fmla="*/ 149690 w 409575"/>
                <a:gd name="connsiteY447" fmla="*/ 9502 h 638175"/>
                <a:gd name="connsiteX448" fmla="*/ 149690 w 409575"/>
                <a:gd name="connsiteY448" fmla="*/ 5812 h 638175"/>
                <a:gd name="connsiteX449" fmla="*/ 142312 w 409575"/>
                <a:gd name="connsiteY449" fmla="*/ 5812 h 638175"/>
                <a:gd name="connsiteX450" fmla="*/ 134933 w 409575"/>
                <a:gd name="connsiteY450" fmla="*/ 5812 h 638175"/>
                <a:gd name="connsiteX451" fmla="*/ 131244 w 409575"/>
                <a:gd name="connsiteY451" fmla="*/ 5812 h 638175"/>
                <a:gd name="connsiteX452" fmla="*/ 127555 w 409575"/>
                <a:gd name="connsiteY452" fmla="*/ 5812 h 638175"/>
                <a:gd name="connsiteX453" fmla="*/ 160758 w 409575"/>
                <a:gd name="connsiteY453" fmla="*/ 9502 h 638175"/>
                <a:gd name="connsiteX454" fmla="*/ 160758 w 409575"/>
                <a:gd name="connsiteY454" fmla="*/ 5812 h 638175"/>
                <a:gd name="connsiteX455" fmla="*/ 157069 w 409575"/>
                <a:gd name="connsiteY455" fmla="*/ 5812 h 638175"/>
                <a:gd name="connsiteX456" fmla="*/ 160758 w 409575"/>
                <a:gd name="connsiteY456" fmla="*/ 9502 h 638175"/>
                <a:gd name="connsiteX457" fmla="*/ 275122 w 409575"/>
                <a:gd name="connsiteY457" fmla="*/ 31646 h 638175"/>
                <a:gd name="connsiteX458" fmla="*/ 278811 w 409575"/>
                <a:gd name="connsiteY458" fmla="*/ 35336 h 638175"/>
                <a:gd name="connsiteX459" fmla="*/ 278811 w 409575"/>
                <a:gd name="connsiteY459" fmla="*/ 27955 h 638175"/>
                <a:gd name="connsiteX460" fmla="*/ 275122 w 409575"/>
                <a:gd name="connsiteY460" fmla="*/ 27955 h 638175"/>
                <a:gd name="connsiteX461" fmla="*/ 275122 w 409575"/>
                <a:gd name="connsiteY461" fmla="*/ 31646 h 638175"/>
                <a:gd name="connsiteX462" fmla="*/ 241920 w 409575"/>
                <a:gd name="connsiteY462" fmla="*/ 481898 h 638175"/>
                <a:gd name="connsiteX463" fmla="*/ 241920 w 409575"/>
                <a:gd name="connsiteY463" fmla="*/ 485584 h 638175"/>
                <a:gd name="connsiteX464" fmla="*/ 245609 w 409575"/>
                <a:gd name="connsiteY464" fmla="*/ 485584 h 638175"/>
                <a:gd name="connsiteX465" fmla="*/ 241920 w 409575"/>
                <a:gd name="connsiteY465" fmla="*/ 481898 h 638175"/>
                <a:gd name="connsiteX466" fmla="*/ 304636 w 409575"/>
                <a:gd name="connsiteY466" fmla="*/ 400703 h 638175"/>
                <a:gd name="connsiteX467" fmla="*/ 304636 w 409575"/>
                <a:gd name="connsiteY467" fmla="*/ 404394 h 638175"/>
                <a:gd name="connsiteX468" fmla="*/ 304636 w 409575"/>
                <a:gd name="connsiteY468" fmla="*/ 408084 h 638175"/>
                <a:gd name="connsiteX469" fmla="*/ 300947 w 409575"/>
                <a:gd name="connsiteY469" fmla="*/ 415465 h 638175"/>
                <a:gd name="connsiteX470" fmla="*/ 304636 w 409575"/>
                <a:gd name="connsiteY470" fmla="*/ 415465 h 638175"/>
                <a:gd name="connsiteX471" fmla="*/ 308326 w 409575"/>
                <a:gd name="connsiteY471" fmla="*/ 411775 h 638175"/>
                <a:gd name="connsiteX472" fmla="*/ 312015 w 409575"/>
                <a:gd name="connsiteY472" fmla="*/ 411775 h 638175"/>
                <a:gd name="connsiteX473" fmla="*/ 315704 w 409575"/>
                <a:gd name="connsiteY473" fmla="*/ 408084 h 638175"/>
                <a:gd name="connsiteX474" fmla="*/ 319393 w 409575"/>
                <a:gd name="connsiteY474" fmla="*/ 408084 h 638175"/>
                <a:gd name="connsiteX475" fmla="*/ 319393 w 409575"/>
                <a:gd name="connsiteY475" fmla="*/ 404394 h 638175"/>
                <a:gd name="connsiteX476" fmla="*/ 312015 w 409575"/>
                <a:gd name="connsiteY476" fmla="*/ 408084 h 638175"/>
                <a:gd name="connsiteX477" fmla="*/ 308326 w 409575"/>
                <a:gd name="connsiteY477" fmla="*/ 404394 h 638175"/>
                <a:gd name="connsiteX478" fmla="*/ 304636 w 409575"/>
                <a:gd name="connsiteY478" fmla="*/ 400703 h 638175"/>
                <a:gd name="connsiteX479" fmla="*/ 404242 w 409575"/>
                <a:gd name="connsiteY479" fmla="*/ 529875 h 638175"/>
                <a:gd name="connsiteX480" fmla="*/ 404242 w 409575"/>
                <a:gd name="connsiteY480" fmla="*/ 533561 h 638175"/>
                <a:gd name="connsiteX481" fmla="*/ 407929 w 409575"/>
                <a:gd name="connsiteY481" fmla="*/ 533561 h 638175"/>
                <a:gd name="connsiteX482" fmla="*/ 404242 w 409575"/>
                <a:gd name="connsiteY482" fmla="*/ 529875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Lst>
              <a:rect l="l" t="t" r="r" b="b"/>
              <a:pathLst>
                <a:path w="409575" h="638175">
                  <a:moveTo>
                    <a:pt x="127555" y="5812"/>
                  </a:moveTo>
                  <a:lnTo>
                    <a:pt x="120176" y="16883"/>
                  </a:lnTo>
                  <a:lnTo>
                    <a:pt x="120176" y="20574"/>
                  </a:lnTo>
                  <a:lnTo>
                    <a:pt x="120176" y="24264"/>
                  </a:lnTo>
                  <a:lnTo>
                    <a:pt x="120176" y="31646"/>
                  </a:lnTo>
                  <a:lnTo>
                    <a:pt x="116487" y="42718"/>
                  </a:lnTo>
                  <a:lnTo>
                    <a:pt x="116487" y="53789"/>
                  </a:lnTo>
                  <a:lnTo>
                    <a:pt x="116487" y="68552"/>
                  </a:lnTo>
                  <a:lnTo>
                    <a:pt x="109109" y="90695"/>
                  </a:lnTo>
                  <a:lnTo>
                    <a:pt x="105420" y="112838"/>
                  </a:lnTo>
                  <a:lnTo>
                    <a:pt x="98041" y="134982"/>
                  </a:lnTo>
                  <a:lnTo>
                    <a:pt x="98041" y="142363"/>
                  </a:lnTo>
                  <a:lnTo>
                    <a:pt x="94352" y="142363"/>
                  </a:lnTo>
                  <a:lnTo>
                    <a:pt x="94352" y="149744"/>
                  </a:lnTo>
                  <a:lnTo>
                    <a:pt x="86974" y="164507"/>
                  </a:lnTo>
                  <a:lnTo>
                    <a:pt x="86974" y="171888"/>
                  </a:lnTo>
                  <a:lnTo>
                    <a:pt x="79596" y="194031"/>
                  </a:lnTo>
                  <a:lnTo>
                    <a:pt x="79596" y="197721"/>
                  </a:lnTo>
                  <a:lnTo>
                    <a:pt x="79596" y="201412"/>
                  </a:lnTo>
                  <a:lnTo>
                    <a:pt x="79596" y="205102"/>
                  </a:lnTo>
                  <a:lnTo>
                    <a:pt x="79596" y="208793"/>
                  </a:lnTo>
                  <a:lnTo>
                    <a:pt x="79596" y="219865"/>
                  </a:lnTo>
                  <a:lnTo>
                    <a:pt x="75906" y="234627"/>
                  </a:lnTo>
                  <a:lnTo>
                    <a:pt x="75906" y="242009"/>
                  </a:lnTo>
                  <a:lnTo>
                    <a:pt x="75906" y="249390"/>
                  </a:lnTo>
                  <a:lnTo>
                    <a:pt x="72217" y="264151"/>
                  </a:lnTo>
                  <a:lnTo>
                    <a:pt x="72217" y="271532"/>
                  </a:lnTo>
                  <a:lnTo>
                    <a:pt x="72217" y="275223"/>
                  </a:lnTo>
                  <a:lnTo>
                    <a:pt x="72217" y="282604"/>
                  </a:lnTo>
                  <a:lnTo>
                    <a:pt x="68528" y="286295"/>
                  </a:lnTo>
                  <a:lnTo>
                    <a:pt x="68528" y="289986"/>
                  </a:lnTo>
                  <a:lnTo>
                    <a:pt x="64839" y="315820"/>
                  </a:lnTo>
                  <a:lnTo>
                    <a:pt x="61150" y="349034"/>
                  </a:lnTo>
                  <a:lnTo>
                    <a:pt x="57461" y="367487"/>
                  </a:lnTo>
                  <a:lnTo>
                    <a:pt x="53772" y="374869"/>
                  </a:lnTo>
                  <a:lnTo>
                    <a:pt x="50082" y="382250"/>
                  </a:lnTo>
                  <a:lnTo>
                    <a:pt x="46393" y="389631"/>
                  </a:lnTo>
                  <a:lnTo>
                    <a:pt x="42704" y="400703"/>
                  </a:lnTo>
                  <a:lnTo>
                    <a:pt x="50082" y="397012"/>
                  </a:lnTo>
                  <a:lnTo>
                    <a:pt x="53772" y="397012"/>
                  </a:lnTo>
                  <a:lnTo>
                    <a:pt x="61150" y="393322"/>
                  </a:lnTo>
                  <a:lnTo>
                    <a:pt x="64839" y="397012"/>
                  </a:lnTo>
                  <a:lnTo>
                    <a:pt x="61150" y="397012"/>
                  </a:lnTo>
                  <a:lnTo>
                    <a:pt x="61150" y="400703"/>
                  </a:lnTo>
                  <a:lnTo>
                    <a:pt x="53772" y="400703"/>
                  </a:lnTo>
                  <a:lnTo>
                    <a:pt x="50082" y="404394"/>
                  </a:lnTo>
                  <a:lnTo>
                    <a:pt x="57461" y="404394"/>
                  </a:lnTo>
                  <a:lnTo>
                    <a:pt x="57461" y="408084"/>
                  </a:lnTo>
                  <a:lnTo>
                    <a:pt x="50082" y="404394"/>
                  </a:lnTo>
                  <a:lnTo>
                    <a:pt x="46393" y="404394"/>
                  </a:lnTo>
                  <a:lnTo>
                    <a:pt x="46393" y="408084"/>
                  </a:lnTo>
                  <a:lnTo>
                    <a:pt x="39015" y="404394"/>
                  </a:lnTo>
                  <a:lnTo>
                    <a:pt x="39015" y="411775"/>
                  </a:lnTo>
                  <a:lnTo>
                    <a:pt x="42704" y="419156"/>
                  </a:lnTo>
                  <a:lnTo>
                    <a:pt x="39015" y="422847"/>
                  </a:lnTo>
                  <a:lnTo>
                    <a:pt x="39015" y="430227"/>
                  </a:lnTo>
                  <a:lnTo>
                    <a:pt x="35326" y="437608"/>
                  </a:lnTo>
                  <a:lnTo>
                    <a:pt x="31637" y="452370"/>
                  </a:lnTo>
                  <a:lnTo>
                    <a:pt x="27947" y="463442"/>
                  </a:lnTo>
                  <a:lnTo>
                    <a:pt x="20569" y="481898"/>
                  </a:lnTo>
                  <a:lnTo>
                    <a:pt x="5812" y="511416"/>
                  </a:lnTo>
                  <a:lnTo>
                    <a:pt x="31637" y="522493"/>
                  </a:lnTo>
                  <a:lnTo>
                    <a:pt x="42704" y="526179"/>
                  </a:lnTo>
                  <a:lnTo>
                    <a:pt x="42704" y="518798"/>
                  </a:lnTo>
                  <a:lnTo>
                    <a:pt x="46393" y="522493"/>
                  </a:lnTo>
                  <a:lnTo>
                    <a:pt x="50082" y="518798"/>
                  </a:lnTo>
                  <a:lnTo>
                    <a:pt x="53772" y="518798"/>
                  </a:lnTo>
                  <a:lnTo>
                    <a:pt x="57461" y="518798"/>
                  </a:lnTo>
                  <a:lnTo>
                    <a:pt x="64839" y="522493"/>
                  </a:lnTo>
                  <a:lnTo>
                    <a:pt x="61150" y="529875"/>
                  </a:lnTo>
                  <a:lnTo>
                    <a:pt x="57461" y="533561"/>
                  </a:lnTo>
                  <a:lnTo>
                    <a:pt x="57461" y="540943"/>
                  </a:lnTo>
                  <a:lnTo>
                    <a:pt x="53772" y="540943"/>
                  </a:lnTo>
                  <a:lnTo>
                    <a:pt x="53772" y="544639"/>
                  </a:lnTo>
                  <a:lnTo>
                    <a:pt x="53772" y="548325"/>
                  </a:lnTo>
                  <a:lnTo>
                    <a:pt x="50082" y="552011"/>
                  </a:lnTo>
                  <a:lnTo>
                    <a:pt x="46393" y="555707"/>
                  </a:lnTo>
                  <a:lnTo>
                    <a:pt x="42704" y="559393"/>
                  </a:lnTo>
                  <a:lnTo>
                    <a:pt x="42704" y="563089"/>
                  </a:lnTo>
                  <a:lnTo>
                    <a:pt x="42704" y="566775"/>
                  </a:lnTo>
                  <a:lnTo>
                    <a:pt x="42704" y="570471"/>
                  </a:lnTo>
                  <a:lnTo>
                    <a:pt x="42704" y="577853"/>
                  </a:lnTo>
                  <a:lnTo>
                    <a:pt x="39015" y="581539"/>
                  </a:lnTo>
                  <a:lnTo>
                    <a:pt x="39015" y="585234"/>
                  </a:lnTo>
                  <a:lnTo>
                    <a:pt x="35326" y="585234"/>
                  </a:lnTo>
                  <a:lnTo>
                    <a:pt x="35326" y="588921"/>
                  </a:lnTo>
                  <a:lnTo>
                    <a:pt x="35326" y="592616"/>
                  </a:lnTo>
                  <a:lnTo>
                    <a:pt x="35326" y="596303"/>
                  </a:lnTo>
                  <a:lnTo>
                    <a:pt x="39015" y="596303"/>
                  </a:lnTo>
                  <a:lnTo>
                    <a:pt x="42704" y="599989"/>
                  </a:lnTo>
                  <a:lnTo>
                    <a:pt x="46393" y="599989"/>
                  </a:lnTo>
                  <a:lnTo>
                    <a:pt x="50082" y="596303"/>
                  </a:lnTo>
                  <a:lnTo>
                    <a:pt x="57461" y="599989"/>
                  </a:lnTo>
                  <a:lnTo>
                    <a:pt x="68528" y="599989"/>
                  </a:lnTo>
                  <a:lnTo>
                    <a:pt x="72217" y="599989"/>
                  </a:lnTo>
                  <a:lnTo>
                    <a:pt x="75906" y="599989"/>
                  </a:lnTo>
                  <a:lnTo>
                    <a:pt x="79596" y="596303"/>
                  </a:lnTo>
                  <a:lnTo>
                    <a:pt x="86974" y="592616"/>
                  </a:lnTo>
                  <a:lnTo>
                    <a:pt x="90663" y="592616"/>
                  </a:lnTo>
                  <a:lnTo>
                    <a:pt x="90663" y="588921"/>
                  </a:lnTo>
                  <a:lnTo>
                    <a:pt x="94352" y="592616"/>
                  </a:lnTo>
                  <a:lnTo>
                    <a:pt x="98041" y="592616"/>
                  </a:lnTo>
                  <a:lnTo>
                    <a:pt x="101731" y="592616"/>
                  </a:lnTo>
                  <a:lnTo>
                    <a:pt x="105420" y="588921"/>
                  </a:lnTo>
                  <a:lnTo>
                    <a:pt x="109109" y="585234"/>
                  </a:lnTo>
                  <a:lnTo>
                    <a:pt x="120176" y="588921"/>
                  </a:lnTo>
                  <a:lnTo>
                    <a:pt x="116487" y="599989"/>
                  </a:lnTo>
                  <a:lnTo>
                    <a:pt x="120176" y="603684"/>
                  </a:lnTo>
                  <a:lnTo>
                    <a:pt x="123866" y="607371"/>
                  </a:lnTo>
                  <a:lnTo>
                    <a:pt x="127555" y="599989"/>
                  </a:lnTo>
                  <a:lnTo>
                    <a:pt x="131244" y="599989"/>
                  </a:lnTo>
                  <a:lnTo>
                    <a:pt x="138622" y="599989"/>
                  </a:lnTo>
                  <a:lnTo>
                    <a:pt x="142312" y="596303"/>
                  </a:lnTo>
                  <a:lnTo>
                    <a:pt x="142312" y="592616"/>
                  </a:lnTo>
                  <a:lnTo>
                    <a:pt x="146001" y="592616"/>
                  </a:lnTo>
                  <a:lnTo>
                    <a:pt x="149690" y="592616"/>
                  </a:lnTo>
                  <a:lnTo>
                    <a:pt x="153380" y="592616"/>
                  </a:lnTo>
                  <a:lnTo>
                    <a:pt x="157069" y="592616"/>
                  </a:lnTo>
                  <a:lnTo>
                    <a:pt x="160758" y="592616"/>
                  </a:lnTo>
                  <a:lnTo>
                    <a:pt x="164447" y="592616"/>
                  </a:lnTo>
                  <a:lnTo>
                    <a:pt x="168136" y="588921"/>
                  </a:lnTo>
                  <a:lnTo>
                    <a:pt x="171826" y="588921"/>
                  </a:lnTo>
                  <a:lnTo>
                    <a:pt x="171826" y="585234"/>
                  </a:lnTo>
                  <a:lnTo>
                    <a:pt x="175515" y="585234"/>
                  </a:lnTo>
                  <a:lnTo>
                    <a:pt x="179204" y="581539"/>
                  </a:lnTo>
                  <a:lnTo>
                    <a:pt x="182893" y="581539"/>
                  </a:lnTo>
                  <a:lnTo>
                    <a:pt x="182893" y="577853"/>
                  </a:lnTo>
                  <a:lnTo>
                    <a:pt x="190272" y="574157"/>
                  </a:lnTo>
                  <a:lnTo>
                    <a:pt x="193961" y="570471"/>
                  </a:lnTo>
                  <a:lnTo>
                    <a:pt x="197650" y="570471"/>
                  </a:lnTo>
                  <a:lnTo>
                    <a:pt x="201339" y="570471"/>
                  </a:lnTo>
                  <a:lnTo>
                    <a:pt x="205028" y="574157"/>
                  </a:lnTo>
                  <a:lnTo>
                    <a:pt x="205028" y="570471"/>
                  </a:lnTo>
                  <a:lnTo>
                    <a:pt x="208717" y="570471"/>
                  </a:lnTo>
                  <a:lnTo>
                    <a:pt x="212406" y="570471"/>
                  </a:lnTo>
                  <a:lnTo>
                    <a:pt x="212406" y="566775"/>
                  </a:lnTo>
                  <a:lnTo>
                    <a:pt x="216096" y="563089"/>
                  </a:lnTo>
                  <a:lnTo>
                    <a:pt x="219785" y="559393"/>
                  </a:lnTo>
                  <a:lnTo>
                    <a:pt x="216096" y="555707"/>
                  </a:lnTo>
                  <a:lnTo>
                    <a:pt x="216096" y="552011"/>
                  </a:lnTo>
                  <a:lnTo>
                    <a:pt x="219785" y="548325"/>
                  </a:lnTo>
                  <a:lnTo>
                    <a:pt x="227163" y="552011"/>
                  </a:lnTo>
                  <a:lnTo>
                    <a:pt x="230852" y="552011"/>
                  </a:lnTo>
                  <a:lnTo>
                    <a:pt x="234541" y="552011"/>
                  </a:lnTo>
                  <a:lnTo>
                    <a:pt x="238230" y="552011"/>
                  </a:lnTo>
                  <a:lnTo>
                    <a:pt x="238230" y="548325"/>
                  </a:lnTo>
                  <a:lnTo>
                    <a:pt x="245609" y="544639"/>
                  </a:lnTo>
                  <a:lnTo>
                    <a:pt x="245609" y="540943"/>
                  </a:lnTo>
                  <a:lnTo>
                    <a:pt x="252987" y="544639"/>
                  </a:lnTo>
                  <a:lnTo>
                    <a:pt x="252987" y="540943"/>
                  </a:lnTo>
                  <a:lnTo>
                    <a:pt x="252987" y="537257"/>
                  </a:lnTo>
                  <a:lnTo>
                    <a:pt x="256676" y="537257"/>
                  </a:lnTo>
                  <a:lnTo>
                    <a:pt x="256676" y="533561"/>
                  </a:lnTo>
                  <a:lnTo>
                    <a:pt x="260365" y="533561"/>
                  </a:lnTo>
                  <a:lnTo>
                    <a:pt x="264055" y="533561"/>
                  </a:lnTo>
                  <a:lnTo>
                    <a:pt x="264055" y="548325"/>
                  </a:lnTo>
                  <a:lnTo>
                    <a:pt x="267744" y="544639"/>
                  </a:lnTo>
                  <a:lnTo>
                    <a:pt x="271433" y="548325"/>
                  </a:lnTo>
                  <a:lnTo>
                    <a:pt x="275122" y="548325"/>
                  </a:lnTo>
                  <a:lnTo>
                    <a:pt x="278811" y="544639"/>
                  </a:lnTo>
                  <a:lnTo>
                    <a:pt x="282500" y="544639"/>
                  </a:lnTo>
                  <a:lnTo>
                    <a:pt x="286190" y="548325"/>
                  </a:lnTo>
                  <a:lnTo>
                    <a:pt x="282500" y="548325"/>
                  </a:lnTo>
                  <a:lnTo>
                    <a:pt x="278811" y="548325"/>
                  </a:lnTo>
                  <a:lnTo>
                    <a:pt x="278811" y="552011"/>
                  </a:lnTo>
                  <a:lnTo>
                    <a:pt x="275122" y="552011"/>
                  </a:lnTo>
                  <a:lnTo>
                    <a:pt x="271433" y="552011"/>
                  </a:lnTo>
                  <a:lnTo>
                    <a:pt x="271433" y="555707"/>
                  </a:lnTo>
                  <a:lnTo>
                    <a:pt x="267744" y="555707"/>
                  </a:lnTo>
                  <a:lnTo>
                    <a:pt x="264055" y="555707"/>
                  </a:lnTo>
                  <a:lnTo>
                    <a:pt x="264055" y="559393"/>
                  </a:lnTo>
                  <a:lnTo>
                    <a:pt x="267744" y="570471"/>
                  </a:lnTo>
                  <a:lnTo>
                    <a:pt x="271433" y="574157"/>
                  </a:lnTo>
                  <a:lnTo>
                    <a:pt x="271433" y="570471"/>
                  </a:lnTo>
                  <a:lnTo>
                    <a:pt x="275122" y="570471"/>
                  </a:lnTo>
                  <a:lnTo>
                    <a:pt x="275122" y="574157"/>
                  </a:lnTo>
                  <a:lnTo>
                    <a:pt x="275122" y="581539"/>
                  </a:lnTo>
                  <a:lnTo>
                    <a:pt x="282500" y="585234"/>
                  </a:lnTo>
                  <a:lnTo>
                    <a:pt x="275122" y="588921"/>
                  </a:lnTo>
                  <a:lnTo>
                    <a:pt x="271433" y="588921"/>
                  </a:lnTo>
                  <a:lnTo>
                    <a:pt x="271433" y="596303"/>
                  </a:lnTo>
                  <a:lnTo>
                    <a:pt x="271433" y="603684"/>
                  </a:lnTo>
                  <a:lnTo>
                    <a:pt x="271433" y="607371"/>
                  </a:lnTo>
                  <a:lnTo>
                    <a:pt x="271433" y="611066"/>
                  </a:lnTo>
                  <a:lnTo>
                    <a:pt x="264055" y="611066"/>
                  </a:lnTo>
                  <a:lnTo>
                    <a:pt x="267744" y="614752"/>
                  </a:lnTo>
                  <a:lnTo>
                    <a:pt x="271433" y="614752"/>
                  </a:lnTo>
                  <a:lnTo>
                    <a:pt x="271433" y="618448"/>
                  </a:lnTo>
                  <a:lnTo>
                    <a:pt x="271433" y="625830"/>
                  </a:lnTo>
                  <a:lnTo>
                    <a:pt x="275122" y="625830"/>
                  </a:lnTo>
                  <a:lnTo>
                    <a:pt x="275122" y="640594"/>
                  </a:lnTo>
                  <a:lnTo>
                    <a:pt x="289879" y="636898"/>
                  </a:lnTo>
                  <a:lnTo>
                    <a:pt x="308326" y="629516"/>
                  </a:lnTo>
                  <a:lnTo>
                    <a:pt x="312015" y="629516"/>
                  </a:lnTo>
                  <a:lnTo>
                    <a:pt x="334150" y="633212"/>
                  </a:lnTo>
                  <a:lnTo>
                    <a:pt x="337839" y="633212"/>
                  </a:lnTo>
                  <a:lnTo>
                    <a:pt x="341528" y="633212"/>
                  </a:lnTo>
                  <a:lnTo>
                    <a:pt x="348906" y="633212"/>
                  </a:lnTo>
                  <a:lnTo>
                    <a:pt x="359974" y="611066"/>
                  </a:lnTo>
                  <a:lnTo>
                    <a:pt x="359974" y="603684"/>
                  </a:lnTo>
                  <a:lnTo>
                    <a:pt x="363663" y="596303"/>
                  </a:lnTo>
                  <a:lnTo>
                    <a:pt x="367352" y="585234"/>
                  </a:lnTo>
                  <a:lnTo>
                    <a:pt x="371041" y="577853"/>
                  </a:lnTo>
                  <a:lnTo>
                    <a:pt x="371041" y="574157"/>
                  </a:lnTo>
                  <a:lnTo>
                    <a:pt x="371041" y="570471"/>
                  </a:lnTo>
                  <a:lnTo>
                    <a:pt x="382106" y="548325"/>
                  </a:lnTo>
                  <a:lnTo>
                    <a:pt x="389488" y="552011"/>
                  </a:lnTo>
                  <a:lnTo>
                    <a:pt x="404242" y="552011"/>
                  </a:lnTo>
                  <a:lnTo>
                    <a:pt x="396870" y="544639"/>
                  </a:lnTo>
                  <a:lnTo>
                    <a:pt x="396870" y="540943"/>
                  </a:lnTo>
                  <a:lnTo>
                    <a:pt x="400556" y="537257"/>
                  </a:lnTo>
                  <a:lnTo>
                    <a:pt x="396870" y="537257"/>
                  </a:lnTo>
                  <a:lnTo>
                    <a:pt x="393174" y="537257"/>
                  </a:lnTo>
                  <a:lnTo>
                    <a:pt x="389488" y="533561"/>
                  </a:lnTo>
                  <a:lnTo>
                    <a:pt x="385802" y="533561"/>
                  </a:lnTo>
                  <a:lnTo>
                    <a:pt x="382106" y="529875"/>
                  </a:lnTo>
                  <a:lnTo>
                    <a:pt x="378420" y="529875"/>
                  </a:lnTo>
                  <a:lnTo>
                    <a:pt x="378420" y="526179"/>
                  </a:lnTo>
                  <a:lnTo>
                    <a:pt x="374730" y="522493"/>
                  </a:lnTo>
                  <a:lnTo>
                    <a:pt x="371041" y="526179"/>
                  </a:lnTo>
                  <a:lnTo>
                    <a:pt x="367352" y="526179"/>
                  </a:lnTo>
                  <a:lnTo>
                    <a:pt x="363663" y="526179"/>
                  </a:lnTo>
                  <a:lnTo>
                    <a:pt x="348906" y="526179"/>
                  </a:lnTo>
                  <a:lnTo>
                    <a:pt x="345217" y="529875"/>
                  </a:lnTo>
                  <a:lnTo>
                    <a:pt x="341528" y="529875"/>
                  </a:lnTo>
                  <a:lnTo>
                    <a:pt x="337839" y="533561"/>
                  </a:lnTo>
                  <a:lnTo>
                    <a:pt x="334150" y="533561"/>
                  </a:lnTo>
                  <a:lnTo>
                    <a:pt x="334150" y="529875"/>
                  </a:lnTo>
                  <a:lnTo>
                    <a:pt x="330460" y="529875"/>
                  </a:lnTo>
                  <a:lnTo>
                    <a:pt x="326771" y="526179"/>
                  </a:lnTo>
                  <a:lnTo>
                    <a:pt x="323082" y="522493"/>
                  </a:lnTo>
                  <a:lnTo>
                    <a:pt x="319393" y="515111"/>
                  </a:lnTo>
                  <a:lnTo>
                    <a:pt x="315704" y="515111"/>
                  </a:lnTo>
                  <a:lnTo>
                    <a:pt x="315704" y="511416"/>
                  </a:lnTo>
                  <a:lnTo>
                    <a:pt x="308326" y="511416"/>
                  </a:lnTo>
                  <a:lnTo>
                    <a:pt x="304636" y="511416"/>
                  </a:lnTo>
                  <a:lnTo>
                    <a:pt x="300947" y="504043"/>
                  </a:lnTo>
                  <a:lnTo>
                    <a:pt x="289879" y="504043"/>
                  </a:lnTo>
                  <a:lnTo>
                    <a:pt x="286190" y="504043"/>
                  </a:lnTo>
                  <a:lnTo>
                    <a:pt x="282500" y="504043"/>
                  </a:lnTo>
                  <a:lnTo>
                    <a:pt x="275122" y="507730"/>
                  </a:lnTo>
                  <a:lnTo>
                    <a:pt x="271433" y="504043"/>
                  </a:lnTo>
                  <a:lnTo>
                    <a:pt x="271433" y="507730"/>
                  </a:lnTo>
                  <a:lnTo>
                    <a:pt x="267744" y="507730"/>
                  </a:lnTo>
                  <a:lnTo>
                    <a:pt x="267744" y="504043"/>
                  </a:lnTo>
                  <a:lnTo>
                    <a:pt x="271433" y="504043"/>
                  </a:lnTo>
                  <a:lnTo>
                    <a:pt x="271433" y="500348"/>
                  </a:lnTo>
                  <a:lnTo>
                    <a:pt x="267744" y="496662"/>
                  </a:lnTo>
                  <a:lnTo>
                    <a:pt x="264055" y="496662"/>
                  </a:lnTo>
                  <a:lnTo>
                    <a:pt x="260365" y="500348"/>
                  </a:lnTo>
                  <a:lnTo>
                    <a:pt x="256676" y="500348"/>
                  </a:lnTo>
                  <a:lnTo>
                    <a:pt x="252987" y="500348"/>
                  </a:lnTo>
                  <a:lnTo>
                    <a:pt x="252987" y="496662"/>
                  </a:lnTo>
                  <a:lnTo>
                    <a:pt x="256676" y="496662"/>
                  </a:lnTo>
                  <a:lnTo>
                    <a:pt x="256676" y="492966"/>
                  </a:lnTo>
                  <a:lnTo>
                    <a:pt x="256676" y="489280"/>
                  </a:lnTo>
                  <a:lnTo>
                    <a:pt x="249298" y="485584"/>
                  </a:lnTo>
                  <a:lnTo>
                    <a:pt x="245609" y="485584"/>
                  </a:lnTo>
                  <a:lnTo>
                    <a:pt x="245609" y="489280"/>
                  </a:lnTo>
                  <a:lnTo>
                    <a:pt x="241920" y="489280"/>
                  </a:lnTo>
                  <a:lnTo>
                    <a:pt x="238230" y="485584"/>
                  </a:lnTo>
                  <a:lnTo>
                    <a:pt x="234541" y="485584"/>
                  </a:lnTo>
                  <a:lnTo>
                    <a:pt x="234541" y="481898"/>
                  </a:lnTo>
                  <a:lnTo>
                    <a:pt x="238230" y="481898"/>
                  </a:lnTo>
                  <a:lnTo>
                    <a:pt x="241920" y="481898"/>
                  </a:lnTo>
                  <a:lnTo>
                    <a:pt x="245609" y="478202"/>
                  </a:lnTo>
                  <a:lnTo>
                    <a:pt x="234541" y="470823"/>
                  </a:lnTo>
                  <a:lnTo>
                    <a:pt x="234541" y="467133"/>
                  </a:lnTo>
                  <a:lnTo>
                    <a:pt x="241920" y="470823"/>
                  </a:lnTo>
                  <a:lnTo>
                    <a:pt x="245609" y="474514"/>
                  </a:lnTo>
                  <a:lnTo>
                    <a:pt x="249298" y="474514"/>
                  </a:lnTo>
                  <a:lnTo>
                    <a:pt x="252987" y="470823"/>
                  </a:lnTo>
                  <a:lnTo>
                    <a:pt x="252987" y="474514"/>
                  </a:lnTo>
                  <a:lnTo>
                    <a:pt x="256676" y="478202"/>
                  </a:lnTo>
                  <a:lnTo>
                    <a:pt x="260365" y="474514"/>
                  </a:lnTo>
                  <a:lnTo>
                    <a:pt x="260365" y="470823"/>
                  </a:lnTo>
                  <a:lnTo>
                    <a:pt x="260365" y="467133"/>
                  </a:lnTo>
                  <a:lnTo>
                    <a:pt x="264055" y="467133"/>
                  </a:lnTo>
                  <a:lnTo>
                    <a:pt x="267744" y="463442"/>
                  </a:lnTo>
                  <a:lnTo>
                    <a:pt x="267744" y="456061"/>
                  </a:lnTo>
                  <a:lnTo>
                    <a:pt x="271433" y="452370"/>
                  </a:lnTo>
                  <a:lnTo>
                    <a:pt x="275122" y="448680"/>
                  </a:lnTo>
                  <a:lnTo>
                    <a:pt x="278811" y="444989"/>
                  </a:lnTo>
                  <a:lnTo>
                    <a:pt x="282500" y="444989"/>
                  </a:lnTo>
                  <a:lnTo>
                    <a:pt x="286190" y="444989"/>
                  </a:lnTo>
                  <a:lnTo>
                    <a:pt x="286190" y="441299"/>
                  </a:lnTo>
                  <a:lnTo>
                    <a:pt x="289879" y="437608"/>
                  </a:lnTo>
                  <a:lnTo>
                    <a:pt x="289879" y="433917"/>
                  </a:lnTo>
                  <a:lnTo>
                    <a:pt x="297258" y="426537"/>
                  </a:lnTo>
                  <a:lnTo>
                    <a:pt x="293568" y="426537"/>
                  </a:lnTo>
                  <a:lnTo>
                    <a:pt x="289879" y="426537"/>
                  </a:lnTo>
                  <a:lnTo>
                    <a:pt x="286190" y="422847"/>
                  </a:lnTo>
                  <a:lnTo>
                    <a:pt x="286190" y="426537"/>
                  </a:lnTo>
                  <a:lnTo>
                    <a:pt x="278811" y="422847"/>
                  </a:lnTo>
                  <a:lnTo>
                    <a:pt x="278811" y="419156"/>
                  </a:lnTo>
                  <a:lnTo>
                    <a:pt x="278811" y="415465"/>
                  </a:lnTo>
                  <a:lnTo>
                    <a:pt x="278811" y="411775"/>
                  </a:lnTo>
                  <a:lnTo>
                    <a:pt x="282500" y="408084"/>
                  </a:lnTo>
                  <a:lnTo>
                    <a:pt x="282500" y="404394"/>
                  </a:lnTo>
                  <a:lnTo>
                    <a:pt x="278811" y="404394"/>
                  </a:lnTo>
                  <a:lnTo>
                    <a:pt x="275122" y="408084"/>
                  </a:lnTo>
                  <a:lnTo>
                    <a:pt x="271433" y="404394"/>
                  </a:lnTo>
                  <a:lnTo>
                    <a:pt x="278811" y="400703"/>
                  </a:lnTo>
                  <a:lnTo>
                    <a:pt x="286190" y="400703"/>
                  </a:lnTo>
                  <a:lnTo>
                    <a:pt x="286190" y="397012"/>
                  </a:lnTo>
                  <a:lnTo>
                    <a:pt x="282500" y="393322"/>
                  </a:lnTo>
                  <a:lnTo>
                    <a:pt x="282500" y="389631"/>
                  </a:lnTo>
                  <a:lnTo>
                    <a:pt x="282500" y="385940"/>
                  </a:lnTo>
                  <a:lnTo>
                    <a:pt x="286190" y="382250"/>
                  </a:lnTo>
                  <a:lnTo>
                    <a:pt x="289879" y="385940"/>
                  </a:lnTo>
                  <a:lnTo>
                    <a:pt x="289879" y="382250"/>
                  </a:lnTo>
                  <a:lnTo>
                    <a:pt x="293568" y="378559"/>
                  </a:lnTo>
                  <a:lnTo>
                    <a:pt x="297258" y="371178"/>
                  </a:lnTo>
                  <a:lnTo>
                    <a:pt x="293568" y="371178"/>
                  </a:lnTo>
                  <a:lnTo>
                    <a:pt x="293568" y="363797"/>
                  </a:lnTo>
                  <a:lnTo>
                    <a:pt x="289879" y="363797"/>
                  </a:lnTo>
                  <a:lnTo>
                    <a:pt x="289879" y="360106"/>
                  </a:lnTo>
                  <a:lnTo>
                    <a:pt x="286190" y="356416"/>
                  </a:lnTo>
                  <a:lnTo>
                    <a:pt x="286190" y="352725"/>
                  </a:lnTo>
                  <a:lnTo>
                    <a:pt x="282500" y="345344"/>
                  </a:lnTo>
                  <a:lnTo>
                    <a:pt x="282500" y="341654"/>
                  </a:lnTo>
                  <a:lnTo>
                    <a:pt x="275122" y="330582"/>
                  </a:lnTo>
                  <a:lnTo>
                    <a:pt x="275122" y="326892"/>
                  </a:lnTo>
                  <a:lnTo>
                    <a:pt x="271433" y="323201"/>
                  </a:lnTo>
                  <a:lnTo>
                    <a:pt x="271433" y="315820"/>
                  </a:lnTo>
                  <a:lnTo>
                    <a:pt x="267744" y="308439"/>
                  </a:lnTo>
                  <a:lnTo>
                    <a:pt x="267744" y="304748"/>
                  </a:lnTo>
                  <a:lnTo>
                    <a:pt x="264055" y="301057"/>
                  </a:lnTo>
                  <a:lnTo>
                    <a:pt x="267744" y="297367"/>
                  </a:lnTo>
                  <a:lnTo>
                    <a:pt x="264055" y="293676"/>
                  </a:lnTo>
                  <a:lnTo>
                    <a:pt x="264055" y="289986"/>
                  </a:lnTo>
                  <a:lnTo>
                    <a:pt x="264055" y="286295"/>
                  </a:lnTo>
                  <a:lnTo>
                    <a:pt x="264055" y="282604"/>
                  </a:lnTo>
                  <a:lnTo>
                    <a:pt x="264055" y="275223"/>
                  </a:lnTo>
                  <a:lnTo>
                    <a:pt x="264055" y="271532"/>
                  </a:lnTo>
                  <a:lnTo>
                    <a:pt x="267744" y="271532"/>
                  </a:lnTo>
                  <a:lnTo>
                    <a:pt x="267744" y="267842"/>
                  </a:lnTo>
                  <a:lnTo>
                    <a:pt x="271433" y="267842"/>
                  </a:lnTo>
                  <a:lnTo>
                    <a:pt x="275122" y="264151"/>
                  </a:lnTo>
                  <a:lnTo>
                    <a:pt x="278811" y="264151"/>
                  </a:lnTo>
                  <a:lnTo>
                    <a:pt x="282500" y="264151"/>
                  </a:lnTo>
                  <a:lnTo>
                    <a:pt x="282500" y="267842"/>
                  </a:lnTo>
                  <a:lnTo>
                    <a:pt x="286190" y="271532"/>
                  </a:lnTo>
                  <a:lnTo>
                    <a:pt x="286190" y="267842"/>
                  </a:lnTo>
                  <a:lnTo>
                    <a:pt x="289879" y="264151"/>
                  </a:lnTo>
                  <a:lnTo>
                    <a:pt x="293568" y="264151"/>
                  </a:lnTo>
                  <a:lnTo>
                    <a:pt x="297258" y="264151"/>
                  </a:lnTo>
                  <a:lnTo>
                    <a:pt x="300947" y="264151"/>
                  </a:lnTo>
                  <a:lnTo>
                    <a:pt x="304636" y="267842"/>
                  </a:lnTo>
                  <a:lnTo>
                    <a:pt x="308326" y="271532"/>
                  </a:lnTo>
                  <a:lnTo>
                    <a:pt x="312015" y="271532"/>
                  </a:lnTo>
                  <a:lnTo>
                    <a:pt x="315704" y="275223"/>
                  </a:lnTo>
                  <a:lnTo>
                    <a:pt x="315704" y="278914"/>
                  </a:lnTo>
                  <a:lnTo>
                    <a:pt x="323082" y="278914"/>
                  </a:lnTo>
                  <a:lnTo>
                    <a:pt x="326771" y="278914"/>
                  </a:lnTo>
                  <a:lnTo>
                    <a:pt x="330460" y="278914"/>
                  </a:lnTo>
                  <a:lnTo>
                    <a:pt x="334150" y="275223"/>
                  </a:lnTo>
                  <a:lnTo>
                    <a:pt x="341528" y="267842"/>
                  </a:lnTo>
                  <a:lnTo>
                    <a:pt x="345217" y="267842"/>
                  </a:lnTo>
                  <a:lnTo>
                    <a:pt x="352595" y="267842"/>
                  </a:lnTo>
                  <a:lnTo>
                    <a:pt x="352595" y="264151"/>
                  </a:lnTo>
                  <a:lnTo>
                    <a:pt x="356285" y="260461"/>
                  </a:lnTo>
                  <a:lnTo>
                    <a:pt x="359974" y="260461"/>
                  </a:lnTo>
                  <a:lnTo>
                    <a:pt x="359974" y="256771"/>
                  </a:lnTo>
                  <a:lnTo>
                    <a:pt x="367352" y="253080"/>
                  </a:lnTo>
                  <a:lnTo>
                    <a:pt x="367352" y="249390"/>
                  </a:lnTo>
                  <a:lnTo>
                    <a:pt x="371041" y="245699"/>
                  </a:lnTo>
                  <a:lnTo>
                    <a:pt x="371041" y="238318"/>
                  </a:lnTo>
                  <a:lnTo>
                    <a:pt x="371041" y="234627"/>
                  </a:lnTo>
                  <a:lnTo>
                    <a:pt x="374730" y="227246"/>
                  </a:lnTo>
                  <a:lnTo>
                    <a:pt x="378420" y="227246"/>
                  </a:lnTo>
                  <a:lnTo>
                    <a:pt x="382106" y="227246"/>
                  </a:lnTo>
                  <a:lnTo>
                    <a:pt x="385802" y="227246"/>
                  </a:lnTo>
                  <a:lnTo>
                    <a:pt x="389488" y="223555"/>
                  </a:lnTo>
                  <a:lnTo>
                    <a:pt x="393174" y="223555"/>
                  </a:lnTo>
                  <a:lnTo>
                    <a:pt x="389488" y="219865"/>
                  </a:lnTo>
                  <a:lnTo>
                    <a:pt x="393174" y="219865"/>
                  </a:lnTo>
                  <a:lnTo>
                    <a:pt x="396870" y="216174"/>
                  </a:lnTo>
                  <a:lnTo>
                    <a:pt x="400556" y="212484"/>
                  </a:lnTo>
                  <a:lnTo>
                    <a:pt x="396870" y="208793"/>
                  </a:lnTo>
                  <a:lnTo>
                    <a:pt x="393174" y="205102"/>
                  </a:lnTo>
                  <a:lnTo>
                    <a:pt x="393174" y="201412"/>
                  </a:lnTo>
                  <a:lnTo>
                    <a:pt x="393174" y="197721"/>
                  </a:lnTo>
                  <a:lnTo>
                    <a:pt x="393174" y="194031"/>
                  </a:lnTo>
                  <a:lnTo>
                    <a:pt x="393174" y="190340"/>
                  </a:lnTo>
                  <a:lnTo>
                    <a:pt x="393174" y="186649"/>
                  </a:lnTo>
                  <a:lnTo>
                    <a:pt x="393174" y="182959"/>
                  </a:lnTo>
                  <a:lnTo>
                    <a:pt x="389488" y="182959"/>
                  </a:lnTo>
                  <a:lnTo>
                    <a:pt x="385802" y="179268"/>
                  </a:lnTo>
                  <a:lnTo>
                    <a:pt x="378420" y="175578"/>
                  </a:lnTo>
                  <a:lnTo>
                    <a:pt x="367352" y="175578"/>
                  </a:lnTo>
                  <a:lnTo>
                    <a:pt x="363663" y="175578"/>
                  </a:lnTo>
                  <a:lnTo>
                    <a:pt x="359974" y="171888"/>
                  </a:lnTo>
                  <a:lnTo>
                    <a:pt x="352595" y="171888"/>
                  </a:lnTo>
                  <a:lnTo>
                    <a:pt x="348906" y="171888"/>
                  </a:lnTo>
                  <a:lnTo>
                    <a:pt x="345217" y="179268"/>
                  </a:lnTo>
                  <a:lnTo>
                    <a:pt x="341528" y="182959"/>
                  </a:lnTo>
                  <a:lnTo>
                    <a:pt x="341528" y="186649"/>
                  </a:lnTo>
                  <a:lnTo>
                    <a:pt x="337839" y="182959"/>
                  </a:lnTo>
                  <a:lnTo>
                    <a:pt x="334150" y="182959"/>
                  </a:lnTo>
                  <a:lnTo>
                    <a:pt x="330460" y="182959"/>
                  </a:lnTo>
                  <a:lnTo>
                    <a:pt x="326771" y="182959"/>
                  </a:lnTo>
                  <a:lnTo>
                    <a:pt x="319393" y="175578"/>
                  </a:lnTo>
                  <a:lnTo>
                    <a:pt x="315704" y="171888"/>
                  </a:lnTo>
                  <a:lnTo>
                    <a:pt x="312015" y="168197"/>
                  </a:lnTo>
                  <a:lnTo>
                    <a:pt x="315704" y="160816"/>
                  </a:lnTo>
                  <a:lnTo>
                    <a:pt x="312015" y="160816"/>
                  </a:lnTo>
                  <a:lnTo>
                    <a:pt x="308326" y="157126"/>
                  </a:lnTo>
                  <a:lnTo>
                    <a:pt x="304636" y="157126"/>
                  </a:lnTo>
                  <a:lnTo>
                    <a:pt x="312015" y="101766"/>
                  </a:lnTo>
                  <a:lnTo>
                    <a:pt x="304636" y="90695"/>
                  </a:lnTo>
                  <a:lnTo>
                    <a:pt x="293568" y="68552"/>
                  </a:lnTo>
                  <a:lnTo>
                    <a:pt x="293568" y="64861"/>
                  </a:lnTo>
                  <a:lnTo>
                    <a:pt x="289879" y="61171"/>
                  </a:lnTo>
                  <a:lnTo>
                    <a:pt x="278811" y="39027"/>
                  </a:lnTo>
                  <a:lnTo>
                    <a:pt x="275122" y="39027"/>
                  </a:lnTo>
                  <a:lnTo>
                    <a:pt x="275122" y="31646"/>
                  </a:lnTo>
                  <a:lnTo>
                    <a:pt x="271433" y="27955"/>
                  </a:lnTo>
                  <a:lnTo>
                    <a:pt x="267744" y="27955"/>
                  </a:lnTo>
                  <a:lnTo>
                    <a:pt x="264055" y="31646"/>
                  </a:lnTo>
                  <a:lnTo>
                    <a:pt x="260365" y="31646"/>
                  </a:lnTo>
                  <a:lnTo>
                    <a:pt x="256676" y="27955"/>
                  </a:lnTo>
                  <a:lnTo>
                    <a:pt x="252987" y="27955"/>
                  </a:lnTo>
                  <a:lnTo>
                    <a:pt x="249298" y="31646"/>
                  </a:lnTo>
                  <a:lnTo>
                    <a:pt x="241920" y="31646"/>
                  </a:lnTo>
                  <a:lnTo>
                    <a:pt x="234541" y="39027"/>
                  </a:lnTo>
                  <a:lnTo>
                    <a:pt x="234541" y="42718"/>
                  </a:lnTo>
                  <a:lnTo>
                    <a:pt x="227163" y="53789"/>
                  </a:lnTo>
                  <a:lnTo>
                    <a:pt x="223474" y="53789"/>
                  </a:lnTo>
                  <a:lnTo>
                    <a:pt x="216096" y="57480"/>
                  </a:lnTo>
                  <a:lnTo>
                    <a:pt x="212406" y="61171"/>
                  </a:lnTo>
                  <a:lnTo>
                    <a:pt x="197650" y="68552"/>
                  </a:lnTo>
                  <a:lnTo>
                    <a:pt x="193961" y="64861"/>
                  </a:lnTo>
                  <a:lnTo>
                    <a:pt x="182893" y="57480"/>
                  </a:lnTo>
                  <a:lnTo>
                    <a:pt x="179204" y="57480"/>
                  </a:lnTo>
                  <a:lnTo>
                    <a:pt x="168136" y="50099"/>
                  </a:lnTo>
                  <a:lnTo>
                    <a:pt x="164447" y="46408"/>
                  </a:lnTo>
                  <a:lnTo>
                    <a:pt x="160758" y="42718"/>
                  </a:lnTo>
                  <a:lnTo>
                    <a:pt x="157069" y="35336"/>
                  </a:lnTo>
                  <a:lnTo>
                    <a:pt x="157069" y="27955"/>
                  </a:lnTo>
                  <a:lnTo>
                    <a:pt x="157069" y="20574"/>
                  </a:lnTo>
                  <a:lnTo>
                    <a:pt x="160758" y="13193"/>
                  </a:lnTo>
                  <a:lnTo>
                    <a:pt x="160758" y="9502"/>
                  </a:lnTo>
                  <a:lnTo>
                    <a:pt x="157069" y="9502"/>
                  </a:lnTo>
                  <a:lnTo>
                    <a:pt x="157069" y="13193"/>
                  </a:lnTo>
                  <a:lnTo>
                    <a:pt x="153380" y="13193"/>
                  </a:lnTo>
                  <a:lnTo>
                    <a:pt x="149690" y="13193"/>
                  </a:lnTo>
                  <a:lnTo>
                    <a:pt x="149690" y="9502"/>
                  </a:lnTo>
                  <a:lnTo>
                    <a:pt x="149690" y="5812"/>
                  </a:lnTo>
                  <a:lnTo>
                    <a:pt x="142312" y="5812"/>
                  </a:lnTo>
                  <a:lnTo>
                    <a:pt x="134933" y="5812"/>
                  </a:lnTo>
                  <a:lnTo>
                    <a:pt x="131244" y="5812"/>
                  </a:lnTo>
                  <a:lnTo>
                    <a:pt x="127555" y="5812"/>
                  </a:lnTo>
                  <a:close/>
                  <a:moveTo>
                    <a:pt x="160758" y="9502"/>
                  </a:moveTo>
                  <a:lnTo>
                    <a:pt x="160758" y="5812"/>
                  </a:lnTo>
                  <a:lnTo>
                    <a:pt x="157069" y="5812"/>
                  </a:lnTo>
                  <a:lnTo>
                    <a:pt x="160758" y="9502"/>
                  </a:lnTo>
                  <a:close/>
                  <a:moveTo>
                    <a:pt x="275122" y="31646"/>
                  </a:moveTo>
                  <a:lnTo>
                    <a:pt x="278811" y="35336"/>
                  </a:lnTo>
                  <a:lnTo>
                    <a:pt x="278811" y="27955"/>
                  </a:lnTo>
                  <a:lnTo>
                    <a:pt x="275122" y="27955"/>
                  </a:lnTo>
                  <a:lnTo>
                    <a:pt x="275122" y="31646"/>
                  </a:lnTo>
                  <a:close/>
                  <a:moveTo>
                    <a:pt x="241920" y="481898"/>
                  </a:moveTo>
                  <a:lnTo>
                    <a:pt x="241920" y="485584"/>
                  </a:lnTo>
                  <a:lnTo>
                    <a:pt x="245609" y="485584"/>
                  </a:lnTo>
                  <a:lnTo>
                    <a:pt x="241920" y="481898"/>
                  </a:lnTo>
                  <a:close/>
                  <a:moveTo>
                    <a:pt x="304636" y="400703"/>
                  </a:moveTo>
                  <a:lnTo>
                    <a:pt x="304636" y="404394"/>
                  </a:lnTo>
                  <a:lnTo>
                    <a:pt x="304636" y="408084"/>
                  </a:lnTo>
                  <a:lnTo>
                    <a:pt x="300947" y="415465"/>
                  </a:lnTo>
                  <a:lnTo>
                    <a:pt x="304636" y="415465"/>
                  </a:lnTo>
                  <a:lnTo>
                    <a:pt x="308326" y="411775"/>
                  </a:lnTo>
                  <a:lnTo>
                    <a:pt x="312015" y="411775"/>
                  </a:lnTo>
                  <a:lnTo>
                    <a:pt x="315704" y="408084"/>
                  </a:lnTo>
                  <a:lnTo>
                    <a:pt x="319393" y="408084"/>
                  </a:lnTo>
                  <a:lnTo>
                    <a:pt x="319393" y="404394"/>
                  </a:lnTo>
                  <a:lnTo>
                    <a:pt x="312015" y="408084"/>
                  </a:lnTo>
                  <a:lnTo>
                    <a:pt x="308326" y="404394"/>
                  </a:lnTo>
                  <a:lnTo>
                    <a:pt x="304636" y="400703"/>
                  </a:lnTo>
                  <a:close/>
                  <a:moveTo>
                    <a:pt x="404242" y="529875"/>
                  </a:moveTo>
                  <a:lnTo>
                    <a:pt x="404242" y="533561"/>
                  </a:lnTo>
                  <a:lnTo>
                    <a:pt x="407929" y="533561"/>
                  </a:lnTo>
                  <a:lnTo>
                    <a:pt x="404242" y="529875"/>
                  </a:lnTo>
                  <a:close/>
                </a:path>
              </a:pathLst>
            </a:custGeom>
            <a:solidFill>
              <a:srgbClr val="22777B"/>
            </a:solidFill>
            <a:ln w="12821" cap="flat">
              <a:solidFill>
                <a:schemeClr val="bg1"/>
              </a:solidFill>
              <a:prstDash val="solid"/>
              <a:round/>
            </a:ln>
          </p:spPr>
          <p:txBody>
            <a:bodyPr rot="0" spcFirstLastPara="0" vertOverflow="overflow" horzOverflow="overflow" vert="horz" wrap="square" lIns="36000" tIns="0" rIns="144000" bIns="0" numCol="1" spcCol="0" rtlCol="0" fromWordArt="0" anchor="ctr" anchorCtr="0" forceAA="0" compatLnSpc="1">
              <a:prstTxWarp prst="textNoShape">
                <a:avLst/>
              </a:prstTxWarp>
              <a:noAutofit/>
            </a:bodyPr>
            <a:lstStyle/>
            <a:p>
              <a:pPr marL="0" indent="0" algn="ctr">
                <a:buNone/>
              </a:pPr>
              <a:r>
                <a:rPr lang="nl-NL" sz="800" b="1" dirty="0">
                  <a:solidFill>
                    <a:srgbClr val="FFFFFF"/>
                  </a:solidFill>
                  <a:latin typeface="+mj-lt"/>
                </a:rPr>
                <a:t>241</a:t>
              </a:r>
              <a:endParaRPr lang="nl-NL" sz="800" b="1" dirty="0">
                <a:solidFill>
                  <a:srgbClr val="FFFFFF"/>
                </a:solidFill>
                <a:latin typeface="+mj-lt"/>
                <a:cs typeface="Arial" panose="020B0604020202020204" pitchFamily="34" charset="0"/>
              </a:endParaRPr>
            </a:p>
          </p:txBody>
        </p:sp>
        <p:sp>
          <p:nvSpPr>
            <p:cNvPr id="294" name="Freeform: Shape 293">
              <a:extLst>
                <a:ext uri="{FF2B5EF4-FFF2-40B4-BE49-F238E27FC236}">
                  <a16:creationId xmlns:a16="http://schemas.microsoft.com/office/drawing/2014/main" id="{D8525336-93C1-44E6-9166-3DE72F476BA1}"/>
                </a:ext>
              </a:extLst>
            </p:cNvPr>
            <p:cNvSpPr/>
            <p:nvPr/>
          </p:nvSpPr>
          <p:spPr>
            <a:xfrm>
              <a:off x="8809174" y="2895776"/>
              <a:ext cx="169100" cy="261336"/>
            </a:xfrm>
            <a:custGeom>
              <a:avLst/>
              <a:gdLst>
                <a:gd name="connsiteX0" fmla="*/ 79596 w 104775"/>
                <a:gd name="connsiteY0" fmla="*/ 116528 h 161925"/>
                <a:gd name="connsiteX1" fmla="*/ 72217 w 104775"/>
                <a:gd name="connsiteY1" fmla="*/ 123909 h 161925"/>
                <a:gd name="connsiteX2" fmla="*/ 68528 w 104775"/>
                <a:gd name="connsiteY2" fmla="*/ 127600 h 161925"/>
                <a:gd name="connsiteX3" fmla="*/ 64839 w 104775"/>
                <a:gd name="connsiteY3" fmla="*/ 127600 h 161925"/>
                <a:gd name="connsiteX4" fmla="*/ 61150 w 104775"/>
                <a:gd name="connsiteY4" fmla="*/ 127600 h 161925"/>
                <a:gd name="connsiteX5" fmla="*/ 57460 w 104775"/>
                <a:gd name="connsiteY5" fmla="*/ 127600 h 161925"/>
                <a:gd name="connsiteX6" fmla="*/ 46393 w 104775"/>
                <a:gd name="connsiteY6" fmla="*/ 142362 h 161925"/>
                <a:gd name="connsiteX7" fmla="*/ 46393 w 104775"/>
                <a:gd name="connsiteY7" fmla="*/ 146053 h 161925"/>
                <a:gd name="connsiteX8" fmla="*/ 46393 w 104775"/>
                <a:gd name="connsiteY8" fmla="*/ 146053 h 161925"/>
                <a:gd name="connsiteX9" fmla="*/ 46393 w 104775"/>
                <a:gd name="connsiteY9" fmla="*/ 149743 h 161925"/>
                <a:gd name="connsiteX10" fmla="*/ 42704 w 104775"/>
                <a:gd name="connsiteY10" fmla="*/ 149743 h 161925"/>
                <a:gd name="connsiteX11" fmla="*/ 39015 w 104775"/>
                <a:gd name="connsiteY11" fmla="*/ 149743 h 161925"/>
                <a:gd name="connsiteX12" fmla="*/ 35325 w 104775"/>
                <a:gd name="connsiteY12" fmla="*/ 146053 h 161925"/>
                <a:gd name="connsiteX13" fmla="*/ 27947 w 104775"/>
                <a:gd name="connsiteY13" fmla="*/ 142362 h 161925"/>
                <a:gd name="connsiteX14" fmla="*/ 24258 w 104775"/>
                <a:gd name="connsiteY14" fmla="*/ 142362 h 161925"/>
                <a:gd name="connsiteX15" fmla="*/ 27947 w 104775"/>
                <a:gd name="connsiteY15" fmla="*/ 146053 h 161925"/>
                <a:gd name="connsiteX16" fmla="*/ 31636 w 104775"/>
                <a:gd name="connsiteY16" fmla="*/ 149743 h 161925"/>
                <a:gd name="connsiteX17" fmla="*/ 31636 w 104775"/>
                <a:gd name="connsiteY17" fmla="*/ 149743 h 161925"/>
                <a:gd name="connsiteX18" fmla="*/ 35325 w 104775"/>
                <a:gd name="connsiteY18" fmla="*/ 153434 h 161925"/>
                <a:gd name="connsiteX19" fmla="*/ 39015 w 104775"/>
                <a:gd name="connsiteY19" fmla="*/ 153434 h 161925"/>
                <a:gd name="connsiteX20" fmla="*/ 31636 w 104775"/>
                <a:gd name="connsiteY20" fmla="*/ 153434 h 161925"/>
                <a:gd name="connsiteX21" fmla="*/ 31636 w 104775"/>
                <a:gd name="connsiteY21" fmla="*/ 153434 h 161925"/>
                <a:gd name="connsiteX22" fmla="*/ 31636 w 104775"/>
                <a:gd name="connsiteY22" fmla="*/ 157125 h 161925"/>
                <a:gd name="connsiteX23" fmla="*/ 31636 w 104775"/>
                <a:gd name="connsiteY23" fmla="*/ 157125 h 161925"/>
                <a:gd name="connsiteX24" fmla="*/ 31636 w 104775"/>
                <a:gd name="connsiteY24" fmla="*/ 157125 h 161925"/>
                <a:gd name="connsiteX25" fmla="*/ 24258 w 104775"/>
                <a:gd name="connsiteY25" fmla="*/ 157125 h 161925"/>
                <a:gd name="connsiteX26" fmla="*/ 20569 w 104775"/>
                <a:gd name="connsiteY26" fmla="*/ 157125 h 161925"/>
                <a:gd name="connsiteX27" fmla="*/ 24258 w 104775"/>
                <a:gd name="connsiteY27" fmla="*/ 157125 h 161925"/>
                <a:gd name="connsiteX28" fmla="*/ 20569 w 104775"/>
                <a:gd name="connsiteY28" fmla="*/ 160815 h 161925"/>
                <a:gd name="connsiteX29" fmla="*/ 16880 w 104775"/>
                <a:gd name="connsiteY29" fmla="*/ 160815 h 161925"/>
                <a:gd name="connsiteX30" fmla="*/ 13191 w 104775"/>
                <a:gd name="connsiteY30" fmla="*/ 164506 h 161925"/>
                <a:gd name="connsiteX31" fmla="*/ 9501 w 104775"/>
                <a:gd name="connsiteY31" fmla="*/ 164506 h 161925"/>
                <a:gd name="connsiteX32" fmla="*/ 9501 w 104775"/>
                <a:gd name="connsiteY32" fmla="*/ 160815 h 161925"/>
                <a:gd name="connsiteX33" fmla="*/ 9501 w 104775"/>
                <a:gd name="connsiteY33" fmla="*/ 153434 h 161925"/>
                <a:gd name="connsiteX34" fmla="*/ 5812 w 104775"/>
                <a:gd name="connsiteY34" fmla="*/ 138672 h 161925"/>
                <a:gd name="connsiteX35" fmla="*/ 5812 w 104775"/>
                <a:gd name="connsiteY35" fmla="*/ 131290 h 161925"/>
                <a:gd name="connsiteX36" fmla="*/ 5812 w 104775"/>
                <a:gd name="connsiteY36" fmla="*/ 127600 h 161925"/>
                <a:gd name="connsiteX37" fmla="*/ 9501 w 104775"/>
                <a:gd name="connsiteY37" fmla="*/ 116528 h 161925"/>
                <a:gd name="connsiteX38" fmla="*/ 9501 w 104775"/>
                <a:gd name="connsiteY38" fmla="*/ 112837 h 161925"/>
                <a:gd name="connsiteX39" fmla="*/ 9501 w 104775"/>
                <a:gd name="connsiteY39" fmla="*/ 112837 h 161925"/>
                <a:gd name="connsiteX40" fmla="*/ 13191 w 104775"/>
                <a:gd name="connsiteY40" fmla="*/ 101766 h 161925"/>
                <a:gd name="connsiteX41" fmla="*/ 16880 w 104775"/>
                <a:gd name="connsiteY41" fmla="*/ 90695 h 161925"/>
                <a:gd name="connsiteX42" fmla="*/ 20569 w 104775"/>
                <a:gd name="connsiteY42" fmla="*/ 79623 h 161925"/>
                <a:gd name="connsiteX43" fmla="*/ 24258 w 104775"/>
                <a:gd name="connsiteY43" fmla="*/ 75932 h 161925"/>
                <a:gd name="connsiteX44" fmla="*/ 31636 w 104775"/>
                <a:gd name="connsiteY44" fmla="*/ 64860 h 161925"/>
                <a:gd name="connsiteX45" fmla="*/ 39015 w 104775"/>
                <a:gd name="connsiteY45" fmla="*/ 50098 h 161925"/>
                <a:gd name="connsiteX46" fmla="*/ 50082 w 104775"/>
                <a:gd name="connsiteY46" fmla="*/ 39026 h 161925"/>
                <a:gd name="connsiteX47" fmla="*/ 50082 w 104775"/>
                <a:gd name="connsiteY47" fmla="*/ 39026 h 161925"/>
                <a:gd name="connsiteX48" fmla="*/ 50082 w 104775"/>
                <a:gd name="connsiteY48" fmla="*/ 39026 h 161925"/>
                <a:gd name="connsiteX49" fmla="*/ 50082 w 104775"/>
                <a:gd name="connsiteY49" fmla="*/ 42717 h 161925"/>
                <a:gd name="connsiteX50" fmla="*/ 50082 w 104775"/>
                <a:gd name="connsiteY50" fmla="*/ 46407 h 161925"/>
                <a:gd name="connsiteX51" fmla="*/ 53771 w 104775"/>
                <a:gd name="connsiteY51" fmla="*/ 42717 h 161925"/>
                <a:gd name="connsiteX52" fmla="*/ 53771 w 104775"/>
                <a:gd name="connsiteY52" fmla="*/ 42717 h 161925"/>
                <a:gd name="connsiteX53" fmla="*/ 53771 w 104775"/>
                <a:gd name="connsiteY53" fmla="*/ 42717 h 161925"/>
                <a:gd name="connsiteX54" fmla="*/ 57460 w 104775"/>
                <a:gd name="connsiteY54" fmla="*/ 39026 h 161925"/>
                <a:gd name="connsiteX55" fmla="*/ 57460 w 104775"/>
                <a:gd name="connsiteY55" fmla="*/ 39026 h 161925"/>
                <a:gd name="connsiteX56" fmla="*/ 61150 w 104775"/>
                <a:gd name="connsiteY56" fmla="*/ 35336 h 161925"/>
                <a:gd name="connsiteX57" fmla="*/ 64839 w 104775"/>
                <a:gd name="connsiteY57" fmla="*/ 35336 h 161925"/>
                <a:gd name="connsiteX58" fmla="*/ 64839 w 104775"/>
                <a:gd name="connsiteY58" fmla="*/ 39026 h 161925"/>
                <a:gd name="connsiteX59" fmla="*/ 64839 w 104775"/>
                <a:gd name="connsiteY59" fmla="*/ 35336 h 161925"/>
                <a:gd name="connsiteX60" fmla="*/ 64839 w 104775"/>
                <a:gd name="connsiteY60" fmla="*/ 35336 h 161925"/>
                <a:gd name="connsiteX61" fmla="*/ 61150 w 104775"/>
                <a:gd name="connsiteY61" fmla="*/ 35336 h 161925"/>
                <a:gd name="connsiteX62" fmla="*/ 61150 w 104775"/>
                <a:gd name="connsiteY62" fmla="*/ 31645 h 161925"/>
                <a:gd name="connsiteX63" fmla="*/ 57460 w 104775"/>
                <a:gd name="connsiteY63" fmla="*/ 35336 h 161925"/>
                <a:gd name="connsiteX64" fmla="*/ 57460 w 104775"/>
                <a:gd name="connsiteY64" fmla="*/ 35336 h 161925"/>
                <a:gd name="connsiteX65" fmla="*/ 50082 w 104775"/>
                <a:gd name="connsiteY65" fmla="*/ 39026 h 161925"/>
                <a:gd name="connsiteX66" fmla="*/ 50082 w 104775"/>
                <a:gd name="connsiteY66" fmla="*/ 39026 h 161925"/>
                <a:gd name="connsiteX67" fmla="*/ 61150 w 104775"/>
                <a:gd name="connsiteY67" fmla="*/ 16882 h 161925"/>
                <a:gd name="connsiteX68" fmla="*/ 64839 w 104775"/>
                <a:gd name="connsiteY68" fmla="*/ 13193 h 161925"/>
                <a:gd name="connsiteX69" fmla="*/ 72217 w 104775"/>
                <a:gd name="connsiteY69" fmla="*/ 9502 h 161925"/>
                <a:gd name="connsiteX70" fmla="*/ 72217 w 104775"/>
                <a:gd name="connsiteY70" fmla="*/ 5812 h 161925"/>
                <a:gd name="connsiteX71" fmla="*/ 75906 w 104775"/>
                <a:gd name="connsiteY71" fmla="*/ 5812 h 161925"/>
                <a:gd name="connsiteX72" fmla="*/ 79596 w 104775"/>
                <a:gd name="connsiteY72" fmla="*/ 5812 h 161925"/>
                <a:gd name="connsiteX73" fmla="*/ 79596 w 104775"/>
                <a:gd name="connsiteY73" fmla="*/ 5812 h 161925"/>
                <a:gd name="connsiteX74" fmla="*/ 83285 w 104775"/>
                <a:gd name="connsiteY74" fmla="*/ 9502 h 161925"/>
                <a:gd name="connsiteX75" fmla="*/ 86974 w 104775"/>
                <a:gd name="connsiteY75" fmla="*/ 13193 h 161925"/>
                <a:gd name="connsiteX76" fmla="*/ 86974 w 104775"/>
                <a:gd name="connsiteY76" fmla="*/ 16882 h 161925"/>
                <a:gd name="connsiteX77" fmla="*/ 86974 w 104775"/>
                <a:gd name="connsiteY77" fmla="*/ 20573 h 161925"/>
                <a:gd name="connsiteX78" fmla="*/ 90663 w 104775"/>
                <a:gd name="connsiteY78" fmla="*/ 20573 h 161925"/>
                <a:gd name="connsiteX79" fmla="*/ 86974 w 104775"/>
                <a:gd name="connsiteY79" fmla="*/ 20573 h 161925"/>
                <a:gd name="connsiteX80" fmla="*/ 86974 w 104775"/>
                <a:gd name="connsiteY80" fmla="*/ 20573 h 161925"/>
                <a:gd name="connsiteX81" fmla="*/ 86974 w 104775"/>
                <a:gd name="connsiteY81" fmla="*/ 24264 h 161925"/>
                <a:gd name="connsiteX82" fmla="*/ 90663 w 104775"/>
                <a:gd name="connsiteY82" fmla="*/ 27954 h 161925"/>
                <a:gd name="connsiteX83" fmla="*/ 90663 w 104775"/>
                <a:gd name="connsiteY83" fmla="*/ 27954 h 161925"/>
                <a:gd name="connsiteX84" fmla="*/ 94352 w 104775"/>
                <a:gd name="connsiteY84" fmla="*/ 31645 h 161925"/>
                <a:gd name="connsiteX85" fmla="*/ 101730 w 104775"/>
                <a:gd name="connsiteY85" fmla="*/ 42717 h 161925"/>
                <a:gd name="connsiteX86" fmla="*/ 101730 w 104775"/>
                <a:gd name="connsiteY86" fmla="*/ 46407 h 161925"/>
                <a:gd name="connsiteX87" fmla="*/ 101730 w 104775"/>
                <a:gd name="connsiteY87" fmla="*/ 46407 h 161925"/>
                <a:gd name="connsiteX88" fmla="*/ 101730 w 104775"/>
                <a:gd name="connsiteY88" fmla="*/ 46407 h 161925"/>
                <a:gd name="connsiteX89" fmla="*/ 101730 w 104775"/>
                <a:gd name="connsiteY89" fmla="*/ 46407 h 161925"/>
                <a:gd name="connsiteX90" fmla="*/ 98041 w 104775"/>
                <a:gd name="connsiteY90" fmla="*/ 50098 h 161925"/>
                <a:gd name="connsiteX91" fmla="*/ 98041 w 104775"/>
                <a:gd name="connsiteY91" fmla="*/ 72242 h 161925"/>
                <a:gd name="connsiteX92" fmla="*/ 98041 w 104775"/>
                <a:gd name="connsiteY92" fmla="*/ 83313 h 161925"/>
                <a:gd name="connsiteX93" fmla="*/ 98041 w 104775"/>
                <a:gd name="connsiteY93" fmla="*/ 87004 h 161925"/>
                <a:gd name="connsiteX94" fmla="*/ 94352 w 104775"/>
                <a:gd name="connsiteY94" fmla="*/ 94385 h 161925"/>
                <a:gd name="connsiteX95" fmla="*/ 90663 w 104775"/>
                <a:gd name="connsiteY95" fmla="*/ 94385 h 161925"/>
                <a:gd name="connsiteX96" fmla="*/ 86974 w 104775"/>
                <a:gd name="connsiteY96" fmla="*/ 98075 h 161925"/>
                <a:gd name="connsiteX97" fmla="*/ 86974 w 104775"/>
                <a:gd name="connsiteY97" fmla="*/ 98075 h 161925"/>
                <a:gd name="connsiteX98" fmla="*/ 86974 w 104775"/>
                <a:gd name="connsiteY98" fmla="*/ 98075 h 161925"/>
                <a:gd name="connsiteX99" fmla="*/ 86974 w 104775"/>
                <a:gd name="connsiteY99" fmla="*/ 105456 h 161925"/>
                <a:gd name="connsiteX100" fmla="*/ 79596 w 104775"/>
                <a:gd name="connsiteY100" fmla="*/ 112837 h 161925"/>
                <a:gd name="connsiteX101" fmla="*/ 79596 w 104775"/>
                <a:gd name="connsiteY101" fmla="*/ 116528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04775" h="161925">
                  <a:moveTo>
                    <a:pt x="79596" y="116528"/>
                  </a:moveTo>
                  <a:lnTo>
                    <a:pt x="72217" y="123909"/>
                  </a:lnTo>
                  <a:lnTo>
                    <a:pt x="68528" y="127600"/>
                  </a:lnTo>
                  <a:lnTo>
                    <a:pt x="64839" y="127600"/>
                  </a:lnTo>
                  <a:lnTo>
                    <a:pt x="61150" y="127600"/>
                  </a:lnTo>
                  <a:lnTo>
                    <a:pt x="57460" y="127600"/>
                  </a:lnTo>
                  <a:lnTo>
                    <a:pt x="46393" y="142362"/>
                  </a:lnTo>
                  <a:lnTo>
                    <a:pt x="46393" y="146053"/>
                  </a:lnTo>
                  <a:lnTo>
                    <a:pt x="46393" y="146053"/>
                  </a:lnTo>
                  <a:lnTo>
                    <a:pt x="46393" y="149743"/>
                  </a:lnTo>
                  <a:lnTo>
                    <a:pt x="42704" y="149743"/>
                  </a:lnTo>
                  <a:lnTo>
                    <a:pt x="39015" y="149743"/>
                  </a:lnTo>
                  <a:lnTo>
                    <a:pt x="35325" y="146053"/>
                  </a:lnTo>
                  <a:lnTo>
                    <a:pt x="27947" y="142362"/>
                  </a:lnTo>
                  <a:lnTo>
                    <a:pt x="24258" y="142362"/>
                  </a:lnTo>
                  <a:lnTo>
                    <a:pt x="27947" y="146053"/>
                  </a:lnTo>
                  <a:lnTo>
                    <a:pt x="31636" y="149743"/>
                  </a:lnTo>
                  <a:lnTo>
                    <a:pt x="31636" y="149743"/>
                  </a:lnTo>
                  <a:lnTo>
                    <a:pt x="35325" y="153434"/>
                  </a:lnTo>
                  <a:lnTo>
                    <a:pt x="39015" y="153434"/>
                  </a:lnTo>
                  <a:lnTo>
                    <a:pt x="31636" y="153434"/>
                  </a:lnTo>
                  <a:lnTo>
                    <a:pt x="31636" y="153434"/>
                  </a:lnTo>
                  <a:lnTo>
                    <a:pt x="31636" y="157125"/>
                  </a:lnTo>
                  <a:lnTo>
                    <a:pt x="31636" y="157125"/>
                  </a:lnTo>
                  <a:lnTo>
                    <a:pt x="31636" y="157125"/>
                  </a:lnTo>
                  <a:lnTo>
                    <a:pt x="24258" y="157125"/>
                  </a:lnTo>
                  <a:lnTo>
                    <a:pt x="20569" y="157125"/>
                  </a:lnTo>
                  <a:lnTo>
                    <a:pt x="24258" y="157125"/>
                  </a:lnTo>
                  <a:lnTo>
                    <a:pt x="20569" y="160815"/>
                  </a:lnTo>
                  <a:lnTo>
                    <a:pt x="16880" y="160815"/>
                  </a:lnTo>
                  <a:lnTo>
                    <a:pt x="13191" y="164506"/>
                  </a:lnTo>
                  <a:lnTo>
                    <a:pt x="9501" y="164506"/>
                  </a:lnTo>
                  <a:lnTo>
                    <a:pt x="9501" y="160815"/>
                  </a:lnTo>
                  <a:lnTo>
                    <a:pt x="9501" y="153434"/>
                  </a:lnTo>
                  <a:lnTo>
                    <a:pt x="5812" y="138672"/>
                  </a:lnTo>
                  <a:lnTo>
                    <a:pt x="5812" y="131290"/>
                  </a:lnTo>
                  <a:lnTo>
                    <a:pt x="5812" y="127600"/>
                  </a:lnTo>
                  <a:lnTo>
                    <a:pt x="9501" y="116528"/>
                  </a:lnTo>
                  <a:lnTo>
                    <a:pt x="9501" y="112837"/>
                  </a:lnTo>
                  <a:lnTo>
                    <a:pt x="9501" y="112837"/>
                  </a:lnTo>
                  <a:lnTo>
                    <a:pt x="13191" y="101766"/>
                  </a:lnTo>
                  <a:lnTo>
                    <a:pt x="16880" y="90695"/>
                  </a:lnTo>
                  <a:lnTo>
                    <a:pt x="20569" y="79623"/>
                  </a:lnTo>
                  <a:lnTo>
                    <a:pt x="24258" y="75932"/>
                  </a:lnTo>
                  <a:lnTo>
                    <a:pt x="31636" y="64860"/>
                  </a:lnTo>
                  <a:lnTo>
                    <a:pt x="39015" y="50098"/>
                  </a:lnTo>
                  <a:lnTo>
                    <a:pt x="50082" y="39026"/>
                  </a:lnTo>
                  <a:lnTo>
                    <a:pt x="50082" y="39026"/>
                  </a:lnTo>
                  <a:lnTo>
                    <a:pt x="50082" y="39026"/>
                  </a:lnTo>
                  <a:lnTo>
                    <a:pt x="50082" y="42717"/>
                  </a:lnTo>
                  <a:lnTo>
                    <a:pt x="50082" y="46407"/>
                  </a:lnTo>
                  <a:lnTo>
                    <a:pt x="53771" y="42717"/>
                  </a:lnTo>
                  <a:lnTo>
                    <a:pt x="53771" y="42717"/>
                  </a:lnTo>
                  <a:lnTo>
                    <a:pt x="53771" y="42717"/>
                  </a:lnTo>
                  <a:lnTo>
                    <a:pt x="57460" y="39026"/>
                  </a:lnTo>
                  <a:lnTo>
                    <a:pt x="57460" y="39026"/>
                  </a:lnTo>
                  <a:lnTo>
                    <a:pt x="61150" y="35336"/>
                  </a:lnTo>
                  <a:lnTo>
                    <a:pt x="64839" y="35336"/>
                  </a:lnTo>
                  <a:lnTo>
                    <a:pt x="64839" y="39026"/>
                  </a:lnTo>
                  <a:lnTo>
                    <a:pt x="64839" y="35336"/>
                  </a:lnTo>
                  <a:lnTo>
                    <a:pt x="64839" y="35336"/>
                  </a:lnTo>
                  <a:lnTo>
                    <a:pt x="61150" y="35336"/>
                  </a:lnTo>
                  <a:lnTo>
                    <a:pt x="61150" y="31645"/>
                  </a:lnTo>
                  <a:lnTo>
                    <a:pt x="57460" y="35336"/>
                  </a:lnTo>
                  <a:lnTo>
                    <a:pt x="57460" y="35336"/>
                  </a:lnTo>
                  <a:lnTo>
                    <a:pt x="50082" y="39026"/>
                  </a:lnTo>
                  <a:lnTo>
                    <a:pt x="50082" y="39026"/>
                  </a:lnTo>
                  <a:lnTo>
                    <a:pt x="61150" y="16882"/>
                  </a:lnTo>
                  <a:lnTo>
                    <a:pt x="64839" y="13193"/>
                  </a:lnTo>
                  <a:lnTo>
                    <a:pt x="72217" y="9502"/>
                  </a:lnTo>
                  <a:lnTo>
                    <a:pt x="72217" y="5812"/>
                  </a:lnTo>
                  <a:lnTo>
                    <a:pt x="75906" y="5812"/>
                  </a:lnTo>
                  <a:lnTo>
                    <a:pt x="79596" y="5812"/>
                  </a:lnTo>
                  <a:lnTo>
                    <a:pt x="79596" y="5812"/>
                  </a:lnTo>
                  <a:lnTo>
                    <a:pt x="83285" y="9502"/>
                  </a:lnTo>
                  <a:lnTo>
                    <a:pt x="86974" y="13193"/>
                  </a:lnTo>
                  <a:lnTo>
                    <a:pt x="86974" y="16882"/>
                  </a:lnTo>
                  <a:lnTo>
                    <a:pt x="86974" y="20573"/>
                  </a:lnTo>
                  <a:lnTo>
                    <a:pt x="90663" y="20573"/>
                  </a:lnTo>
                  <a:lnTo>
                    <a:pt x="86974" y="20573"/>
                  </a:lnTo>
                  <a:lnTo>
                    <a:pt x="86974" y="20573"/>
                  </a:lnTo>
                  <a:lnTo>
                    <a:pt x="86974" y="24264"/>
                  </a:lnTo>
                  <a:lnTo>
                    <a:pt x="90663" y="27954"/>
                  </a:lnTo>
                  <a:lnTo>
                    <a:pt x="90663" y="27954"/>
                  </a:lnTo>
                  <a:lnTo>
                    <a:pt x="94352" y="31645"/>
                  </a:lnTo>
                  <a:lnTo>
                    <a:pt x="101730" y="42717"/>
                  </a:lnTo>
                  <a:lnTo>
                    <a:pt x="101730" y="46407"/>
                  </a:lnTo>
                  <a:lnTo>
                    <a:pt x="101730" y="46407"/>
                  </a:lnTo>
                  <a:lnTo>
                    <a:pt x="101730" y="46407"/>
                  </a:lnTo>
                  <a:lnTo>
                    <a:pt x="101730" y="46407"/>
                  </a:lnTo>
                  <a:lnTo>
                    <a:pt x="98041" y="50098"/>
                  </a:lnTo>
                  <a:lnTo>
                    <a:pt x="98041" y="72242"/>
                  </a:lnTo>
                  <a:lnTo>
                    <a:pt x="98041" y="83313"/>
                  </a:lnTo>
                  <a:lnTo>
                    <a:pt x="98041" y="87004"/>
                  </a:lnTo>
                  <a:lnTo>
                    <a:pt x="94352" y="94385"/>
                  </a:lnTo>
                  <a:lnTo>
                    <a:pt x="90663" y="94385"/>
                  </a:lnTo>
                  <a:lnTo>
                    <a:pt x="86974" y="98075"/>
                  </a:lnTo>
                  <a:lnTo>
                    <a:pt x="86974" y="98075"/>
                  </a:lnTo>
                  <a:lnTo>
                    <a:pt x="86974" y="98075"/>
                  </a:lnTo>
                  <a:lnTo>
                    <a:pt x="86974" y="105456"/>
                  </a:lnTo>
                  <a:lnTo>
                    <a:pt x="79596" y="112837"/>
                  </a:lnTo>
                  <a:lnTo>
                    <a:pt x="79596" y="116528"/>
                  </a:lnTo>
                  <a:close/>
                </a:path>
              </a:pathLst>
            </a:custGeom>
            <a:solidFill>
              <a:srgbClr val="22777B"/>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95" name="Freeform: Shape 294">
              <a:extLst>
                <a:ext uri="{FF2B5EF4-FFF2-40B4-BE49-F238E27FC236}">
                  <a16:creationId xmlns:a16="http://schemas.microsoft.com/office/drawing/2014/main" id="{590709A1-D24A-482A-A3E9-695372CBCB48}"/>
                </a:ext>
              </a:extLst>
            </p:cNvPr>
            <p:cNvSpPr/>
            <p:nvPr/>
          </p:nvSpPr>
          <p:spPr>
            <a:xfrm>
              <a:off x="9071154" y="3134029"/>
              <a:ext cx="107609" cy="92236"/>
            </a:xfrm>
            <a:custGeom>
              <a:avLst/>
              <a:gdLst>
                <a:gd name="connsiteX0" fmla="*/ 64839 w 66675"/>
                <a:gd name="connsiteY0" fmla="*/ 5812 h 57150"/>
                <a:gd name="connsiteX1" fmla="*/ 64839 w 66675"/>
                <a:gd name="connsiteY1" fmla="*/ 5812 h 57150"/>
                <a:gd name="connsiteX2" fmla="*/ 13191 w 66675"/>
                <a:gd name="connsiteY2" fmla="*/ 50098 h 57150"/>
                <a:gd name="connsiteX3" fmla="*/ 9501 w 66675"/>
                <a:gd name="connsiteY3" fmla="*/ 53789 h 57150"/>
                <a:gd name="connsiteX4" fmla="*/ 5812 w 66675"/>
                <a:gd name="connsiteY4" fmla="*/ 53789 h 57150"/>
                <a:gd name="connsiteX5" fmla="*/ 5812 w 66675"/>
                <a:gd name="connsiteY5" fmla="*/ 50098 h 57150"/>
                <a:gd name="connsiteX6" fmla="*/ 13191 w 66675"/>
                <a:gd name="connsiteY6" fmla="*/ 50098 h 57150"/>
                <a:gd name="connsiteX7" fmla="*/ 64839 w 66675"/>
                <a:gd name="connsiteY7" fmla="*/ 581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57150">
                  <a:moveTo>
                    <a:pt x="64839" y="5812"/>
                  </a:moveTo>
                  <a:lnTo>
                    <a:pt x="64839" y="5812"/>
                  </a:lnTo>
                  <a:lnTo>
                    <a:pt x="13191" y="50098"/>
                  </a:lnTo>
                  <a:lnTo>
                    <a:pt x="9501" y="53789"/>
                  </a:lnTo>
                  <a:lnTo>
                    <a:pt x="5812" y="53789"/>
                  </a:lnTo>
                  <a:lnTo>
                    <a:pt x="5812" y="50098"/>
                  </a:lnTo>
                  <a:lnTo>
                    <a:pt x="13191" y="50098"/>
                  </a:lnTo>
                  <a:lnTo>
                    <a:pt x="64839" y="5812"/>
                  </a:lnTo>
                  <a:close/>
                </a:path>
              </a:pathLst>
            </a:custGeom>
            <a:solidFill>
              <a:schemeClr val="accent3">
                <a:lumMod val="20000"/>
                <a:lumOff val="80000"/>
              </a:schemeClr>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96" name="Freeform: Shape 295">
              <a:extLst>
                <a:ext uri="{FF2B5EF4-FFF2-40B4-BE49-F238E27FC236}">
                  <a16:creationId xmlns:a16="http://schemas.microsoft.com/office/drawing/2014/main" id="{B3F58883-6849-4F7E-B5A9-895E271FCA01}"/>
                </a:ext>
              </a:extLst>
            </p:cNvPr>
            <p:cNvSpPr/>
            <p:nvPr/>
          </p:nvSpPr>
          <p:spPr>
            <a:xfrm>
              <a:off x="9481982" y="4700534"/>
              <a:ext cx="538043" cy="1322051"/>
            </a:xfrm>
            <a:custGeom>
              <a:avLst/>
              <a:gdLst>
                <a:gd name="connsiteX0" fmla="*/ 153382 w 333375"/>
                <a:gd name="connsiteY0" fmla="*/ 5812 h 819150"/>
                <a:gd name="connsiteX1" fmla="*/ 149696 w 333375"/>
                <a:gd name="connsiteY1" fmla="*/ 9507 h 819150"/>
                <a:gd name="connsiteX2" fmla="*/ 153382 w 333375"/>
                <a:gd name="connsiteY2" fmla="*/ 13193 h 819150"/>
                <a:gd name="connsiteX3" fmla="*/ 153382 w 333375"/>
                <a:gd name="connsiteY3" fmla="*/ 16889 h 819150"/>
                <a:gd name="connsiteX4" fmla="*/ 153382 w 333375"/>
                <a:gd name="connsiteY4" fmla="*/ 20575 h 819150"/>
                <a:gd name="connsiteX5" fmla="*/ 149696 w 333375"/>
                <a:gd name="connsiteY5" fmla="*/ 20575 h 819150"/>
                <a:gd name="connsiteX6" fmla="*/ 153382 w 333375"/>
                <a:gd name="connsiteY6" fmla="*/ 24271 h 819150"/>
                <a:gd name="connsiteX7" fmla="*/ 157069 w 333375"/>
                <a:gd name="connsiteY7" fmla="*/ 24271 h 819150"/>
                <a:gd name="connsiteX8" fmla="*/ 157069 w 333375"/>
                <a:gd name="connsiteY8" fmla="*/ 27957 h 819150"/>
                <a:gd name="connsiteX9" fmla="*/ 157069 w 333375"/>
                <a:gd name="connsiteY9" fmla="*/ 31653 h 819150"/>
                <a:gd name="connsiteX10" fmla="*/ 160755 w 333375"/>
                <a:gd name="connsiteY10" fmla="*/ 39025 h 819150"/>
                <a:gd name="connsiteX11" fmla="*/ 160755 w 333375"/>
                <a:gd name="connsiteY11" fmla="*/ 46407 h 819150"/>
                <a:gd name="connsiteX12" fmla="*/ 164450 w 333375"/>
                <a:gd name="connsiteY12" fmla="*/ 50103 h 819150"/>
                <a:gd name="connsiteX13" fmla="*/ 171823 w 333375"/>
                <a:gd name="connsiteY13" fmla="*/ 50103 h 819150"/>
                <a:gd name="connsiteX14" fmla="*/ 179205 w 333375"/>
                <a:gd name="connsiteY14" fmla="*/ 53789 h 819150"/>
                <a:gd name="connsiteX15" fmla="*/ 186587 w 333375"/>
                <a:gd name="connsiteY15" fmla="*/ 53789 h 819150"/>
                <a:gd name="connsiteX16" fmla="*/ 190273 w 333375"/>
                <a:gd name="connsiteY16" fmla="*/ 57485 h 819150"/>
                <a:gd name="connsiteX17" fmla="*/ 193959 w 333375"/>
                <a:gd name="connsiteY17" fmla="*/ 57485 h 819150"/>
                <a:gd name="connsiteX18" fmla="*/ 197655 w 333375"/>
                <a:gd name="connsiteY18" fmla="*/ 68553 h 819150"/>
                <a:gd name="connsiteX19" fmla="*/ 197655 w 333375"/>
                <a:gd name="connsiteY19" fmla="*/ 75935 h 819150"/>
                <a:gd name="connsiteX20" fmla="*/ 197655 w 333375"/>
                <a:gd name="connsiteY20" fmla="*/ 79630 h 819150"/>
                <a:gd name="connsiteX21" fmla="*/ 201341 w 333375"/>
                <a:gd name="connsiteY21" fmla="*/ 79630 h 819150"/>
                <a:gd name="connsiteX22" fmla="*/ 201341 w 333375"/>
                <a:gd name="connsiteY22" fmla="*/ 87003 h 819150"/>
                <a:gd name="connsiteX23" fmla="*/ 201341 w 333375"/>
                <a:gd name="connsiteY23" fmla="*/ 90698 h 819150"/>
                <a:gd name="connsiteX24" fmla="*/ 201341 w 333375"/>
                <a:gd name="connsiteY24" fmla="*/ 94384 h 819150"/>
                <a:gd name="connsiteX25" fmla="*/ 201341 w 333375"/>
                <a:gd name="connsiteY25" fmla="*/ 105462 h 819150"/>
                <a:gd name="connsiteX26" fmla="*/ 205027 w 333375"/>
                <a:gd name="connsiteY26" fmla="*/ 109148 h 819150"/>
                <a:gd name="connsiteX27" fmla="*/ 205027 w 333375"/>
                <a:gd name="connsiteY27" fmla="*/ 112844 h 819150"/>
                <a:gd name="connsiteX28" fmla="*/ 216095 w 333375"/>
                <a:gd name="connsiteY28" fmla="*/ 116530 h 819150"/>
                <a:gd name="connsiteX29" fmla="*/ 219791 w 333375"/>
                <a:gd name="connsiteY29" fmla="*/ 120226 h 819150"/>
                <a:gd name="connsiteX30" fmla="*/ 223477 w 333375"/>
                <a:gd name="connsiteY30" fmla="*/ 123912 h 819150"/>
                <a:gd name="connsiteX31" fmla="*/ 227163 w 333375"/>
                <a:gd name="connsiteY31" fmla="*/ 127608 h 819150"/>
                <a:gd name="connsiteX32" fmla="*/ 227163 w 333375"/>
                <a:gd name="connsiteY32" fmla="*/ 131294 h 819150"/>
                <a:gd name="connsiteX33" fmla="*/ 230859 w 333375"/>
                <a:gd name="connsiteY33" fmla="*/ 134980 h 819150"/>
                <a:gd name="connsiteX34" fmla="*/ 230859 w 333375"/>
                <a:gd name="connsiteY34" fmla="*/ 146058 h 819150"/>
                <a:gd name="connsiteX35" fmla="*/ 230859 w 333375"/>
                <a:gd name="connsiteY35" fmla="*/ 149744 h 819150"/>
                <a:gd name="connsiteX36" fmla="*/ 234545 w 333375"/>
                <a:gd name="connsiteY36" fmla="*/ 153439 h 819150"/>
                <a:gd name="connsiteX37" fmla="*/ 238231 w 333375"/>
                <a:gd name="connsiteY37" fmla="*/ 160821 h 819150"/>
                <a:gd name="connsiteX38" fmla="*/ 238231 w 333375"/>
                <a:gd name="connsiteY38" fmla="*/ 164508 h 819150"/>
                <a:gd name="connsiteX39" fmla="*/ 238231 w 333375"/>
                <a:gd name="connsiteY39" fmla="*/ 168203 h 819150"/>
                <a:gd name="connsiteX40" fmla="*/ 238231 w 333375"/>
                <a:gd name="connsiteY40" fmla="*/ 171890 h 819150"/>
                <a:gd name="connsiteX41" fmla="*/ 238231 w 333375"/>
                <a:gd name="connsiteY41" fmla="*/ 175585 h 819150"/>
                <a:gd name="connsiteX42" fmla="*/ 241917 w 333375"/>
                <a:gd name="connsiteY42" fmla="*/ 179271 h 819150"/>
                <a:gd name="connsiteX43" fmla="*/ 238231 w 333375"/>
                <a:gd name="connsiteY43" fmla="*/ 179271 h 819150"/>
                <a:gd name="connsiteX44" fmla="*/ 234545 w 333375"/>
                <a:gd name="connsiteY44" fmla="*/ 179271 h 819150"/>
                <a:gd name="connsiteX45" fmla="*/ 234545 w 333375"/>
                <a:gd name="connsiteY45" fmla="*/ 182957 h 819150"/>
                <a:gd name="connsiteX46" fmla="*/ 227163 w 333375"/>
                <a:gd name="connsiteY46" fmla="*/ 175585 h 819150"/>
                <a:gd name="connsiteX47" fmla="*/ 223477 w 333375"/>
                <a:gd name="connsiteY47" fmla="*/ 171890 h 819150"/>
                <a:gd name="connsiteX48" fmla="*/ 219791 w 333375"/>
                <a:gd name="connsiteY48" fmla="*/ 171890 h 819150"/>
                <a:gd name="connsiteX49" fmla="*/ 219791 w 333375"/>
                <a:gd name="connsiteY49" fmla="*/ 168203 h 819150"/>
                <a:gd name="connsiteX50" fmla="*/ 212409 w 333375"/>
                <a:gd name="connsiteY50" fmla="*/ 171890 h 819150"/>
                <a:gd name="connsiteX51" fmla="*/ 205027 w 333375"/>
                <a:gd name="connsiteY51" fmla="*/ 175585 h 819150"/>
                <a:gd name="connsiteX52" fmla="*/ 193959 w 333375"/>
                <a:gd name="connsiteY52" fmla="*/ 179271 h 819150"/>
                <a:gd name="connsiteX53" fmla="*/ 186587 w 333375"/>
                <a:gd name="connsiteY53" fmla="*/ 182957 h 819150"/>
                <a:gd name="connsiteX54" fmla="*/ 179205 w 333375"/>
                <a:gd name="connsiteY54" fmla="*/ 182957 h 819150"/>
                <a:gd name="connsiteX55" fmla="*/ 171823 w 333375"/>
                <a:gd name="connsiteY55" fmla="*/ 182957 h 819150"/>
                <a:gd name="connsiteX56" fmla="*/ 164450 w 333375"/>
                <a:gd name="connsiteY56" fmla="*/ 179271 h 819150"/>
                <a:gd name="connsiteX57" fmla="*/ 153382 w 333375"/>
                <a:gd name="connsiteY57" fmla="*/ 175585 h 819150"/>
                <a:gd name="connsiteX58" fmla="*/ 138628 w 333375"/>
                <a:gd name="connsiteY58" fmla="*/ 171890 h 819150"/>
                <a:gd name="connsiteX59" fmla="*/ 142314 w 333375"/>
                <a:gd name="connsiteY59" fmla="*/ 205103 h 819150"/>
                <a:gd name="connsiteX60" fmla="*/ 146000 w 333375"/>
                <a:gd name="connsiteY60" fmla="*/ 216181 h 819150"/>
                <a:gd name="connsiteX61" fmla="*/ 146000 w 333375"/>
                <a:gd name="connsiteY61" fmla="*/ 223563 h 819150"/>
                <a:gd name="connsiteX62" fmla="*/ 149696 w 333375"/>
                <a:gd name="connsiteY62" fmla="*/ 230935 h 819150"/>
                <a:gd name="connsiteX63" fmla="*/ 157069 w 333375"/>
                <a:gd name="connsiteY63" fmla="*/ 264158 h 819150"/>
                <a:gd name="connsiteX64" fmla="*/ 157069 w 333375"/>
                <a:gd name="connsiteY64" fmla="*/ 267844 h 819150"/>
                <a:gd name="connsiteX65" fmla="*/ 171823 w 333375"/>
                <a:gd name="connsiteY65" fmla="*/ 293676 h 819150"/>
                <a:gd name="connsiteX66" fmla="*/ 179205 w 333375"/>
                <a:gd name="connsiteY66" fmla="*/ 308440 h 819150"/>
                <a:gd name="connsiteX67" fmla="*/ 186587 w 333375"/>
                <a:gd name="connsiteY67" fmla="*/ 319517 h 819150"/>
                <a:gd name="connsiteX68" fmla="*/ 179205 w 333375"/>
                <a:gd name="connsiteY68" fmla="*/ 323204 h 819150"/>
                <a:gd name="connsiteX69" fmla="*/ 168137 w 333375"/>
                <a:gd name="connsiteY69" fmla="*/ 334272 h 819150"/>
                <a:gd name="connsiteX70" fmla="*/ 160755 w 333375"/>
                <a:gd name="connsiteY70" fmla="*/ 341654 h 819150"/>
                <a:gd name="connsiteX71" fmla="*/ 157069 w 333375"/>
                <a:gd name="connsiteY71" fmla="*/ 341654 h 819150"/>
                <a:gd name="connsiteX72" fmla="*/ 153382 w 333375"/>
                <a:gd name="connsiteY72" fmla="*/ 345349 h 819150"/>
                <a:gd name="connsiteX73" fmla="*/ 149696 w 333375"/>
                <a:gd name="connsiteY73" fmla="*/ 345349 h 819150"/>
                <a:gd name="connsiteX74" fmla="*/ 138628 w 333375"/>
                <a:gd name="connsiteY74" fmla="*/ 349035 h 819150"/>
                <a:gd name="connsiteX75" fmla="*/ 109110 w 333375"/>
                <a:gd name="connsiteY75" fmla="*/ 356417 h 819150"/>
                <a:gd name="connsiteX76" fmla="*/ 105424 w 333375"/>
                <a:gd name="connsiteY76" fmla="*/ 360113 h 819150"/>
                <a:gd name="connsiteX77" fmla="*/ 101728 w 333375"/>
                <a:gd name="connsiteY77" fmla="*/ 360113 h 819150"/>
                <a:gd name="connsiteX78" fmla="*/ 94356 w 333375"/>
                <a:gd name="connsiteY78" fmla="*/ 363799 h 819150"/>
                <a:gd name="connsiteX79" fmla="*/ 75906 w 333375"/>
                <a:gd name="connsiteY79" fmla="*/ 367495 h 819150"/>
                <a:gd name="connsiteX80" fmla="*/ 72220 w 333375"/>
                <a:gd name="connsiteY80" fmla="*/ 367495 h 819150"/>
                <a:gd name="connsiteX81" fmla="*/ 57466 w 333375"/>
                <a:gd name="connsiteY81" fmla="*/ 374867 h 819150"/>
                <a:gd name="connsiteX82" fmla="*/ 46398 w 333375"/>
                <a:gd name="connsiteY82" fmla="*/ 385945 h 819150"/>
                <a:gd name="connsiteX83" fmla="*/ 42702 w 333375"/>
                <a:gd name="connsiteY83" fmla="*/ 393327 h 819150"/>
                <a:gd name="connsiteX84" fmla="*/ 35330 w 333375"/>
                <a:gd name="connsiteY84" fmla="*/ 408090 h 819150"/>
                <a:gd name="connsiteX85" fmla="*/ 31634 w 333375"/>
                <a:gd name="connsiteY85" fmla="*/ 426540 h 819150"/>
                <a:gd name="connsiteX86" fmla="*/ 31634 w 333375"/>
                <a:gd name="connsiteY86" fmla="*/ 441304 h 819150"/>
                <a:gd name="connsiteX87" fmla="*/ 20566 w 333375"/>
                <a:gd name="connsiteY87" fmla="*/ 444990 h 819150"/>
                <a:gd name="connsiteX88" fmla="*/ 16880 w 333375"/>
                <a:gd name="connsiteY88" fmla="*/ 444990 h 819150"/>
                <a:gd name="connsiteX89" fmla="*/ 5812 w 333375"/>
                <a:gd name="connsiteY89" fmla="*/ 448686 h 819150"/>
                <a:gd name="connsiteX90" fmla="*/ 13193 w 333375"/>
                <a:gd name="connsiteY90" fmla="*/ 452372 h 819150"/>
                <a:gd name="connsiteX91" fmla="*/ 42702 w 333375"/>
                <a:gd name="connsiteY91" fmla="*/ 463450 h 819150"/>
                <a:gd name="connsiteX92" fmla="*/ 46398 w 333375"/>
                <a:gd name="connsiteY92" fmla="*/ 467136 h 819150"/>
                <a:gd name="connsiteX93" fmla="*/ 46398 w 333375"/>
                <a:gd name="connsiteY93" fmla="*/ 470822 h 819150"/>
                <a:gd name="connsiteX94" fmla="*/ 50084 w 333375"/>
                <a:gd name="connsiteY94" fmla="*/ 478204 h 819150"/>
                <a:gd name="connsiteX95" fmla="*/ 53770 w 333375"/>
                <a:gd name="connsiteY95" fmla="*/ 474518 h 819150"/>
                <a:gd name="connsiteX96" fmla="*/ 57466 w 333375"/>
                <a:gd name="connsiteY96" fmla="*/ 478204 h 819150"/>
                <a:gd name="connsiteX97" fmla="*/ 61152 w 333375"/>
                <a:gd name="connsiteY97" fmla="*/ 478204 h 819150"/>
                <a:gd name="connsiteX98" fmla="*/ 64838 w 333375"/>
                <a:gd name="connsiteY98" fmla="*/ 478204 h 819150"/>
                <a:gd name="connsiteX99" fmla="*/ 72220 w 333375"/>
                <a:gd name="connsiteY99" fmla="*/ 478204 h 819150"/>
                <a:gd name="connsiteX100" fmla="*/ 75906 w 333375"/>
                <a:gd name="connsiteY100" fmla="*/ 478204 h 819150"/>
                <a:gd name="connsiteX101" fmla="*/ 79602 w 333375"/>
                <a:gd name="connsiteY101" fmla="*/ 478204 h 819150"/>
                <a:gd name="connsiteX102" fmla="*/ 86974 w 333375"/>
                <a:gd name="connsiteY102" fmla="*/ 478204 h 819150"/>
                <a:gd name="connsiteX103" fmla="*/ 90660 w 333375"/>
                <a:gd name="connsiteY103" fmla="*/ 474518 h 819150"/>
                <a:gd name="connsiteX104" fmla="*/ 94356 w 333375"/>
                <a:gd name="connsiteY104" fmla="*/ 474518 h 819150"/>
                <a:gd name="connsiteX105" fmla="*/ 98042 w 333375"/>
                <a:gd name="connsiteY105" fmla="*/ 478204 h 819150"/>
                <a:gd name="connsiteX106" fmla="*/ 105424 w 333375"/>
                <a:gd name="connsiteY106" fmla="*/ 478204 h 819150"/>
                <a:gd name="connsiteX107" fmla="*/ 109110 w 333375"/>
                <a:gd name="connsiteY107" fmla="*/ 481900 h 819150"/>
                <a:gd name="connsiteX108" fmla="*/ 109110 w 333375"/>
                <a:gd name="connsiteY108" fmla="*/ 485586 h 819150"/>
                <a:gd name="connsiteX109" fmla="*/ 112796 w 333375"/>
                <a:gd name="connsiteY109" fmla="*/ 485586 h 819150"/>
                <a:gd name="connsiteX110" fmla="*/ 109110 w 333375"/>
                <a:gd name="connsiteY110" fmla="*/ 489281 h 819150"/>
                <a:gd name="connsiteX111" fmla="*/ 105424 w 333375"/>
                <a:gd name="connsiteY111" fmla="*/ 489281 h 819150"/>
                <a:gd name="connsiteX112" fmla="*/ 105424 w 333375"/>
                <a:gd name="connsiteY112" fmla="*/ 492968 h 819150"/>
                <a:gd name="connsiteX113" fmla="*/ 109110 w 333375"/>
                <a:gd name="connsiteY113" fmla="*/ 492968 h 819150"/>
                <a:gd name="connsiteX114" fmla="*/ 109110 w 333375"/>
                <a:gd name="connsiteY114" fmla="*/ 496663 h 819150"/>
                <a:gd name="connsiteX115" fmla="*/ 109110 w 333375"/>
                <a:gd name="connsiteY115" fmla="*/ 500350 h 819150"/>
                <a:gd name="connsiteX116" fmla="*/ 109110 w 333375"/>
                <a:gd name="connsiteY116" fmla="*/ 504045 h 819150"/>
                <a:gd name="connsiteX117" fmla="*/ 112796 w 333375"/>
                <a:gd name="connsiteY117" fmla="*/ 504045 h 819150"/>
                <a:gd name="connsiteX118" fmla="*/ 112796 w 333375"/>
                <a:gd name="connsiteY118" fmla="*/ 500350 h 819150"/>
                <a:gd name="connsiteX119" fmla="*/ 116492 w 333375"/>
                <a:gd name="connsiteY119" fmla="*/ 500350 h 819150"/>
                <a:gd name="connsiteX120" fmla="*/ 120178 w 333375"/>
                <a:gd name="connsiteY120" fmla="*/ 500350 h 819150"/>
                <a:gd name="connsiteX121" fmla="*/ 120178 w 333375"/>
                <a:gd name="connsiteY121" fmla="*/ 496663 h 819150"/>
                <a:gd name="connsiteX122" fmla="*/ 123864 w 333375"/>
                <a:gd name="connsiteY122" fmla="*/ 496663 h 819150"/>
                <a:gd name="connsiteX123" fmla="*/ 127560 w 333375"/>
                <a:gd name="connsiteY123" fmla="*/ 496663 h 819150"/>
                <a:gd name="connsiteX124" fmla="*/ 127560 w 333375"/>
                <a:gd name="connsiteY124" fmla="*/ 492968 h 819150"/>
                <a:gd name="connsiteX125" fmla="*/ 134933 w 333375"/>
                <a:gd name="connsiteY125" fmla="*/ 489281 h 819150"/>
                <a:gd name="connsiteX126" fmla="*/ 134933 w 333375"/>
                <a:gd name="connsiteY126" fmla="*/ 492968 h 819150"/>
                <a:gd name="connsiteX127" fmla="*/ 138628 w 333375"/>
                <a:gd name="connsiteY127" fmla="*/ 492968 h 819150"/>
                <a:gd name="connsiteX128" fmla="*/ 138628 w 333375"/>
                <a:gd name="connsiteY128" fmla="*/ 500350 h 819150"/>
                <a:gd name="connsiteX129" fmla="*/ 149696 w 333375"/>
                <a:gd name="connsiteY129" fmla="*/ 507731 h 819150"/>
                <a:gd name="connsiteX130" fmla="*/ 146000 w 333375"/>
                <a:gd name="connsiteY130" fmla="*/ 511427 h 819150"/>
                <a:gd name="connsiteX131" fmla="*/ 142314 w 333375"/>
                <a:gd name="connsiteY131" fmla="*/ 515113 h 819150"/>
                <a:gd name="connsiteX132" fmla="*/ 142314 w 333375"/>
                <a:gd name="connsiteY132" fmla="*/ 518799 h 819150"/>
                <a:gd name="connsiteX133" fmla="*/ 134933 w 333375"/>
                <a:gd name="connsiteY133" fmla="*/ 522495 h 819150"/>
                <a:gd name="connsiteX134" fmla="*/ 131246 w 333375"/>
                <a:gd name="connsiteY134" fmla="*/ 522495 h 819150"/>
                <a:gd name="connsiteX135" fmla="*/ 131246 w 333375"/>
                <a:gd name="connsiteY135" fmla="*/ 526181 h 819150"/>
                <a:gd name="connsiteX136" fmla="*/ 127560 w 333375"/>
                <a:gd name="connsiteY136" fmla="*/ 529877 h 819150"/>
                <a:gd name="connsiteX137" fmla="*/ 123864 w 333375"/>
                <a:gd name="connsiteY137" fmla="*/ 533563 h 819150"/>
                <a:gd name="connsiteX138" fmla="*/ 127560 w 333375"/>
                <a:gd name="connsiteY138" fmla="*/ 537259 h 819150"/>
                <a:gd name="connsiteX139" fmla="*/ 134933 w 333375"/>
                <a:gd name="connsiteY139" fmla="*/ 537259 h 819150"/>
                <a:gd name="connsiteX140" fmla="*/ 138628 w 333375"/>
                <a:gd name="connsiteY140" fmla="*/ 540945 h 819150"/>
                <a:gd name="connsiteX141" fmla="*/ 138628 w 333375"/>
                <a:gd name="connsiteY141" fmla="*/ 544641 h 819150"/>
                <a:gd name="connsiteX142" fmla="*/ 134933 w 333375"/>
                <a:gd name="connsiteY142" fmla="*/ 548327 h 819150"/>
                <a:gd name="connsiteX143" fmla="*/ 134933 w 333375"/>
                <a:gd name="connsiteY143" fmla="*/ 552023 h 819150"/>
                <a:gd name="connsiteX144" fmla="*/ 131246 w 333375"/>
                <a:gd name="connsiteY144" fmla="*/ 552023 h 819150"/>
                <a:gd name="connsiteX145" fmla="*/ 127560 w 333375"/>
                <a:gd name="connsiteY145" fmla="*/ 548327 h 819150"/>
                <a:gd name="connsiteX146" fmla="*/ 123864 w 333375"/>
                <a:gd name="connsiteY146" fmla="*/ 548327 h 819150"/>
                <a:gd name="connsiteX147" fmla="*/ 120178 w 333375"/>
                <a:gd name="connsiteY147" fmla="*/ 548327 h 819150"/>
                <a:gd name="connsiteX148" fmla="*/ 120178 w 333375"/>
                <a:gd name="connsiteY148" fmla="*/ 552023 h 819150"/>
                <a:gd name="connsiteX149" fmla="*/ 120178 w 333375"/>
                <a:gd name="connsiteY149" fmla="*/ 555709 h 819150"/>
                <a:gd name="connsiteX150" fmla="*/ 123864 w 333375"/>
                <a:gd name="connsiteY150" fmla="*/ 559395 h 819150"/>
                <a:gd name="connsiteX151" fmla="*/ 123864 w 333375"/>
                <a:gd name="connsiteY151" fmla="*/ 563091 h 819150"/>
                <a:gd name="connsiteX152" fmla="*/ 120178 w 333375"/>
                <a:gd name="connsiteY152" fmla="*/ 563091 h 819150"/>
                <a:gd name="connsiteX153" fmla="*/ 120178 w 333375"/>
                <a:gd name="connsiteY153" fmla="*/ 566777 h 819150"/>
                <a:gd name="connsiteX154" fmla="*/ 123864 w 333375"/>
                <a:gd name="connsiteY154" fmla="*/ 574159 h 819150"/>
                <a:gd name="connsiteX155" fmla="*/ 120178 w 333375"/>
                <a:gd name="connsiteY155" fmla="*/ 574159 h 819150"/>
                <a:gd name="connsiteX156" fmla="*/ 120178 w 333375"/>
                <a:gd name="connsiteY156" fmla="*/ 577854 h 819150"/>
                <a:gd name="connsiteX157" fmla="*/ 116492 w 333375"/>
                <a:gd name="connsiteY157" fmla="*/ 577854 h 819150"/>
                <a:gd name="connsiteX158" fmla="*/ 109110 w 333375"/>
                <a:gd name="connsiteY158" fmla="*/ 574159 h 819150"/>
                <a:gd name="connsiteX159" fmla="*/ 105424 w 333375"/>
                <a:gd name="connsiteY159" fmla="*/ 585236 h 819150"/>
                <a:gd name="connsiteX160" fmla="*/ 105424 w 333375"/>
                <a:gd name="connsiteY160" fmla="*/ 592618 h 819150"/>
                <a:gd name="connsiteX161" fmla="*/ 101728 w 333375"/>
                <a:gd name="connsiteY161" fmla="*/ 596304 h 819150"/>
                <a:gd name="connsiteX162" fmla="*/ 101728 w 333375"/>
                <a:gd name="connsiteY162" fmla="*/ 600000 h 819150"/>
                <a:gd name="connsiteX163" fmla="*/ 105424 w 333375"/>
                <a:gd name="connsiteY163" fmla="*/ 600000 h 819150"/>
                <a:gd name="connsiteX164" fmla="*/ 109110 w 333375"/>
                <a:gd name="connsiteY164" fmla="*/ 603686 h 819150"/>
                <a:gd name="connsiteX165" fmla="*/ 109110 w 333375"/>
                <a:gd name="connsiteY165" fmla="*/ 607373 h 819150"/>
                <a:gd name="connsiteX166" fmla="*/ 105424 w 333375"/>
                <a:gd name="connsiteY166" fmla="*/ 614754 h 819150"/>
                <a:gd name="connsiteX167" fmla="*/ 105424 w 333375"/>
                <a:gd name="connsiteY167" fmla="*/ 618450 h 819150"/>
                <a:gd name="connsiteX168" fmla="*/ 105424 w 333375"/>
                <a:gd name="connsiteY168" fmla="*/ 622136 h 819150"/>
                <a:gd name="connsiteX169" fmla="*/ 105424 w 333375"/>
                <a:gd name="connsiteY169" fmla="*/ 625832 h 819150"/>
                <a:gd name="connsiteX170" fmla="*/ 101728 w 333375"/>
                <a:gd name="connsiteY170" fmla="*/ 629518 h 819150"/>
                <a:gd name="connsiteX171" fmla="*/ 98042 w 333375"/>
                <a:gd name="connsiteY171" fmla="*/ 633214 h 819150"/>
                <a:gd name="connsiteX172" fmla="*/ 94356 w 333375"/>
                <a:gd name="connsiteY172" fmla="*/ 640596 h 819150"/>
                <a:gd name="connsiteX173" fmla="*/ 90660 w 333375"/>
                <a:gd name="connsiteY173" fmla="*/ 640596 h 819150"/>
                <a:gd name="connsiteX174" fmla="*/ 86974 w 333375"/>
                <a:gd name="connsiteY174" fmla="*/ 647977 h 819150"/>
                <a:gd name="connsiteX175" fmla="*/ 83288 w 333375"/>
                <a:gd name="connsiteY175" fmla="*/ 655350 h 819150"/>
                <a:gd name="connsiteX176" fmla="*/ 83288 w 333375"/>
                <a:gd name="connsiteY176" fmla="*/ 659046 h 819150"/>
                <a:gd name="connsiteX177" fmla="*/ 86974 w 333375"/>
                <a:gd name="connsiteY177" fmla="*/ 659046 h 819150"/>
                <a:gd name="connsiteX178" fmla="*/ 90660 w 333375"/>
                <a:gd name="connsiteY178" fmla="*/ 659046 h 819150"/>
                <a:gd name="connsiteX179" fmla="*/ 94356 w 333375"/>
                <a:gd name="connsiteY179" fmla="*/ 655350 h 819150"/>
                <a:gd name="connsiteX180" fmla="*/ 98042 w 333375"/>
                <a:gd name="connsiteY180" fmla="*/ 655350 h 819150"/>
                <a:gd name="connsiteX181" fmla="*/ 101728 w 333375"/>
                <a:gd name="connsiteY181" fmla="*/ 659046 h 819150"/>
                <a:gd name="connsiteX182" fmla="*/ 101728 w 333375"/>
                <a:gd name="connsiteY182" fmla="*/ 662732 h 819150"/>
                <a:gd name="connsiteX183" fmla="*/ 94356 w 333375"/>
                <a:gd name="connsiteY183" fmla="*/ 666428 h 819150"/>
                <a:gd name="connsiteX184" fmla="*/ 94356 w 333375"/>
                <a:gd name="connsiteY184" fmla="*/ 670114 h 819150"/>
                <a:gd name="connsiteX185" fmla="*/ 94356 w 333375"/>
                <a:gd name="connsiteY185" fmla="*/ 673809 h 819150"/>
                <a:gd name="connsiteX186" fmla="*/ 86974 w 333375"/>
                <a:gd name="connsiteY186" fmla="*/ 681191 h 819150"/>
                <a:gd name="connsiteX187" fmla="*/ 86974 w 333375"/>
                <a:gd name="connsiteY187" fmla="*/ 684877 h 819150"/>
                <a:gd name="connsiteX188" fmla="*/ 83288 w 333375"/>
                <a:gd name="connsiteY188" fmla="*/ 688573 h 819150"/>
                <a:gd name="connsiteX189" fmla="*/ 86974 w 333375"/>
                <a:gd name="connsiteY189" fmla="*/ 692259 h 819150"/>
                <a:gd name="connsiteX190" fmla="*/ 83288 w 333375"/>
                <a:gd name="connsiteY190" fmla="*/ 695955 h 819150"/>
                <a:gd name="connsiteX191" fmla="*/ 79602 w 333375"/>
                <a:gd name="connsiteY191" fmla="*/ 695955 h 819150"/>
                <a:gd name="connsiteX192" fmla="*/ 75906 w 333375"/>
                <a:gd name="connsiteY192" fmla="*/ 695955 h 819150"/>
                <a:gd name="connsiteX193" fmla="*/ 72220 w 333375"/>
                <a:gd name="connsiteY193" fmla="*/ 695955 h 819150"/>
                <a:gd name="connsiteX194" fmla="*/ 68534 w 333375"/>
                <a:gd name="connsiteY194" fmla="*/ 699641 h 819150"/>
                <a:gd name="connsiteX195" fmla="*/ 68534 w 333375"/>
                <a:gd name="connsiteY195" fmla="*/ 703327 h 819150"/>
                <a:gd name="connsiteX196" fmla="*/ 68534 w 333375"/>
                <a:gd name="connsiteY196" fmla="*/ 707023 h 819150"/>
                <a:gd name="connsiteX197" fmla="*/ 61152 w 333375"/>
                <a:gd name="connsiteY197" fmla="*/ 714405 h 819150"/>
                <a:gd name="connsiteX198" fmla="*/ 61152 w 333375"/>
                <a:gd name="connsiteY198" fmla="*/ 718091 h 819150"/>
                <a:gd name="connsiteX199" fmla="*/ 57466 w 333375"/>
                <a:gd name="connsiteY199" fmla="*/ 718091 h 819150"/>
                <a:gd name="connsiteX200" fmla="*/ 53770 w 333375"/>
                <a:gd name="connsiteY200" fmla="*/ 721787 h 819150"/>
                <a:gd name="connsiteX201" fmla="*/ 50084 w 333375"/>
                <a:gd name="connsiteY201" fmla="*/ 721787 h 819150"/>
                <a:gd name="connsiteX202" fmla="*/ 50084 w 333375"/>
                <a:gd name="connsiteY202" fmla="*/ 725473 h 819150"/>
                <a:gd name="connsiteX203" fmla="*/ 46398 w 333375"/>
                <a:gd name="connsiteY203" fmla="*/ 725473 h 819150"/>
                <a:gd name="connsiteX204" fmla="*/ 42702 w 333375"/>
                <a:gd name="connsiteY204" fmla="*/ 725473 h 819150"/>
                <a:gd name="connsiteX205" fmla="*/ 46398 w 333375"/>
                <a:gd name="connsiteY205" fmla="*/ 729169 h 819150"/>
                <a:gd name="connsiteX206" fmla="*/ 42702 w 333375"/>
                <a:gd name="connsiteY206" fmla="*/ 732855 h 819150"/>
                <a:gd name="connsiteX207" fmla="*/ 42702 w 333375"/>
                <a:gd name="connsiteY207" fmla="*/ 736551 h 819150"/>
                <a:gd name="connsiteX208" fmla="*/ 42702 w 333375"/>
                <a:gd name="connsiteY208" fmla="*/ 740237 h 819150"/>
                <a:gd name="connsiteX209" fmla="*/ 42702 w 333375"/>
                <a:gd name="connsiteY209" fmla="*/ 743932 h 819150"/>
                <a:gd name="connsiteX210" fmla="*/ 42702 w 333375"/>
                <a:gd name="connsiteY210" fmla="*/ 747619 h 819150"/>
                <a:gd name="connsiteX211" fmla="*/ 42702 w 333375"/>
                <a:gd name="connsiteY211" fmla="*/ 751305 h 819150"/>
                <a:gd name="connsiteX212" fmla="*/ 42702 w 333375"/>
                <a:gd name="connsiteY212" fmla="*/ 755000 h 819150"/>
                <a:gd name="connsiteX213" fmla="*/ 46398 w 333375"/>
                <a:gd name="connsiteY213" fmla="*/ 755000 h 819150"/>
                <a:gd name="connsiteX214" fmla="*/ 46398 w 333375"/>
                <a:gd name="connsiteY214" fmla="*/ 758687 h 819150"/>
                <a:gd name="connsiteX215" fmla="*/ 46398 w 333375"/>
                <a:gd name="connsiteY215" fmla="*/ 762382 h 819150"/>
                <a:gd name="connsiteX216" fmla="*/ 50084 w 333375"/>
                <a:gd name="connsiteY216" fmla="*/ 762382 h 819150"/>
                <a:gd name="connsiteX217" fmla="*/ 50084 w 333375"/>
                <a:gd name="connsiteY217" fmla="*/ 766069 h 819150"/>
                <a:gd name="connsiteX218" fmla="*/ 53770 w 333375"/>
                <a:gd name="connsiteY218" fmla="*/ 769764 h 819150"/>
                <a:gd name="connsiteX219" fmla="*/ 57466 w 333375"/>
                <a:gd name="connsiteY219" fmla="*/ 769764 h 819150"/>
                <a:gd name="connsiteX220" fmla="*/ 61152 w 333375"/>
                <a:gd name="connsiteY220" fmla="*/ 769764 h 819150"/>
                <a:gd name="connsiteX221" fmla="*/ 61152 w 333375"/>
                <a:gd name="connsiteY221" fmla="*/ 773450 h 819150"/>
                <a:gd name="connsiteX222" fmla="*/ 68534 w 333375"/>
                <a:gd name="connsiteY222" fmla="*/ 773450 h 819150"/>
                <a:gd name="connsiteX223" fmla="*/ 72220 w 333375"/>
                <a:gd name="connsiteY223" fmla="*/ 777146 h 819150"/>
                <a:gd name="connsiteX224" fmla="*/ 72220 w 333375"/>
                <a:gd name="connsiteY224" fmla="*/ 780832 h 819150"/>
                <a:gd name="connsiteX225" fmla="*/ 68534 w 333375"/>
                <a:gd name="connsiteY225" fmla="*/ 784528 h 819150"/>
                <a:gd name="connsiteX226" fmla="*/ 72220 w 333375"/>
                <a:gd name="connsiteY226" fmla="*/ 795596 h 819150"/>
                <a:gd name="connsiteX227" fmla="*/ 72220 w 333375"/>
                <a:gd name="connsiteY227" fmla="*/ 802978 h 819150"/>
                <a:gd name="connsiteX228" fmla="*/ 64838 w 333375"/>
                <a:gd name="connsiteY228" fmla="*/ 814046 h 819150"/>
                <a:gd name="connsiteX229" fmla="*/ 64838 w 333375"/>
                <a:gd name="connsiteY229" fmla="*/ 817742 h 819150"/>
                <a:gd name="connsiteX230" fmla="*/ 68534 w 333375"/>
                <a:gd name="connsiteY230" fmla="*/ 817742 h 819150"/>
                <a:gd name="connsiteX231" fmla="*/ 72220 w 333375"/>
                <a:gd name="connsiteY231" fmla="*/ 817742 h 819150"/>
                <a:gd name="connsiteX232" fmla="*/ 75906 w 333375"/>
                <a:gd name="connsiteY232" fmla="*/ 814046 h 819150"/>
                <a:gd name="connsiteX233" fmla="*/ 79602 w 333375"/>
                <a:gd name="connsiteY233" fmla="*/ 814046 h 819150"/>
                <a:gd name="connsiteX234" fmla="*/ 83288 w 333375"/>
                <a:gd name="connsiteY234" fmla="*/ 810360 h 819150"/>
                <a:gd name="connsiteX235" fmla="*/ 83288 w 333375"/>
                <a:gd name="connsiteY235" fmla="*/ 814046 h 819150"/>
                <a:gd name="connsiteX236" fmla="*/ 86974 w 333375"/>
                <a:gd name="connsiteY236" fmla="*/ 817742 h 819150"/>
                <a:gd name="connsiteX237" fmla="*/ 90660 w 333375"/>
                <a:gd name="connsiteY237" fmla="*/ 817742 h 819150"/>
                <a:gd name="connsiteX238" fmla="*/ 94356 w 333375"/>
                <a:gd name="connsiteY238" fmla="*/ 814046 h 819150"/>
                <a:gd name="connsiteX239" fmla="*/ 94356 w 333375"/>
                <a:gd name="connsiteY239" fmla="*/ 810360 h 819150"/>
                <a:gd name="connsiteX240" fmla="*/ 98042 w 333375"/>
                <a:gd name="connsiteY240" fmla="*/ 806664 h 819150"/>
                <a:gd name="connsiteX241" fmla="*/ 105424 w 333375"/>
                <a:gd name="connsiteY241" fmla="*/ 795596 h 819150"/>
                <a:gd name="connsiteX242" fmla="*/ 112796 w 333375"/>
                <a:gd name="connsiteY242" fmla="*/ 795596 h 819150"/>
                <a:gd name="connsiteX243" fmla="*/ 112796 w 333375"/>
                <a:gd name="connsiteY243" fmla="*/ 802978 h 819150"/>
                <a:gd name="connsiteX244" fmla="*/ 116492 w 333375"/>
                <a:gd name="connsiteY244" fmla="*/ 810360 h 819150"/>
                <a:gd name="connsiteX245" fmla="*/ 120178 w 333375"/>
                <a:gd name="connsiteY245" fmla="*/ 806664 h 819150"/>
                <a:gd name="connsiteX246" fmla="*/ 127560 w 333375"/>
                <a:gd name="connsiteY246" fmla="*/ 817742 h 819150"/>
                <a:gd name="connsiteX247" fmla="*/ 131246 w 333375"/>
                <a:gd name="connsiteY247" fmla="*/ 817742 h 819150"/>
                <a:gd name="connsiteX248" fmla="*/ 134933 w 333375"/>
                <a:gd name="connsiteY248" fmla="*/ 814046 h 819150"/>
                <a:gd name="connsiteX249" fmla="*/ 138628 w 333375"/>
                <a:gd name="connsiteY249" fmla="*/ 817742 h 819150"/>
                <a:gd name="connsiteX250" fmla="*/ 142314 w 333375"/>
                <a:gd name="connsiteY250" fmla="*/ 814046 h 819150"/>
                <a:gd name="connsiteX251" fmla="*/ 146000 w 333375"/>
                <a:gd name="connsiteY251" fmla="*/ 810360 h 819150"/>
                <a:gd name="connsiteX252" fmla="*/ 146000 w 333375"/>
                <a:gd name="connsiteY252" fmla="*/ 814046 h 819150"/>
                <a:gd name="connsiteX253" fmla="*/ 146000 w 333375"/>
                <a:gd name="connsiteY253" fmla="*/ 821428 h 819150"/>
                <a:gd name="connsiteX254" fmla="*/ 149696 w 333375"/>
                <a:gd name="connsiteY254" fmla="*/ 817742 h 819150"/>
                <a:gd name="connsiteX255" fmla="*/ 153382 w 333375"/>
                <a:gd name="connsiteY255" fmla="*/ 814046 h 819150"/>
                <a:gd name="connsiteX256" fmla="*/ 153382 w 333375"/>
                <a:gd name="connsiteY256" fmla="*/ 810360 h 819150"/>
                <a:gd name="connsiteX257" fmla="*/ 157069 w 333375"/>
                <a:gd name="connsiteY257" fmla="*/ 810360 h 819150"/>
                <a:gd name="connsiteX258" fmla="*/ 160755 w 333375"/>
                <a:gd name="connsiteY258" fmla="*/ 810360 h 819150"/>
                <a:gd name="connsiteX259" fmla="*/ 168137 w 333375"/>
                <a:gd name="connsiteY259" fmla="*/ 806664 h 819150"/>
                <a:gd name="connsiteX260" fmla="*/ 168137 w 333375"/>
                <a:gd name="connsiteY260" fmla="*/ 810360 h 819150"/>
                <a:gd name="connsiteX261" fmla="*/ 168137 w 333375"/>
                <a:gd name="connsiteY261" fmla="*/ 817742 h 819150"/>
                <a:gd name="connsiteX262" fmla="*/ 175518 w 333375"/>
                <a:gd name="connsiteY262" fmla="*/ 821428 h 819150"/>
                <a:gd name="connsiteX263" fmla="*/ 175518 w 333375"/>
                <a:gd name="connsiteY263" fmla="*/ 817742 h 819150"/>
                <a:gd name="connsiteX264" fmla="*/ 179205 w 333375"/>
                <a:gd name="connsiteY264" fmla="*/ 817742 h 819150"/>
                <a:gd name="connsiteX265" fmla="*/ 182891 w 333375"/>
                <a:gd name="connsiteY265" fmla="*/ 817742 h 819150"/>
                <a:gd name="connsiteX266" fmla="*/ 182891 w 333375"/>
                <a:gd name="connsiteY266" fmla="*/ 821428 h 819150"/>
                <a:gd name="connsiteX267" fmla="*/ 190273 w 333375"/>
                <a:gd name="connsiteY267" fmla="*/ 817742 h 819150"/>
                <a:gd name="connsiteX268" fmla="*/ 193959 w 333375"/>
                <a:gd name="connsiteY268" fmla="*/ 814046 h 819150"/>
                <a:gd name="connsiteX269" fmla="*/ 197655 w 333375"/>
                <a:gd name="connsiteY269" fmla="*/ 814046 h 819150"/>
                <a:gd name="connsiteX270" fmla="*/ 201341 w 333375"/>
                <a:gd name="connsiteY270" fmla="*/ 814046 h 819150"/>
                <a:gd name="connsiteX271" fmla="*/ 205027 w 333375"/>
                <a:gd name="connsiteY271" fmla="*/ 814046 h 819150"/>
                <a:gd name="connsiteX272" fmla="*/ 208723 w 333375"/>
                <a:gd name="connsiteY272" fmla="*/ 814046 h 819150"/>
                <a:gd name="connsiteX273" fmla="*/ 212409 w 333375"/>
                <a:gd name="connsiteY273" fmla="*/ 817742 h 819150"/>
                <a:gd name="connsiteX274" fmla="*/ 219791 w 333375"/>
                <a:gd name="connsiteY274" fmla="*/ 821428 h 819150"/>
                <a:gd name="connsiteX275" fmla="*/ 223477 w 333375"/>
                <a:gd name="connsiteY275" fmla="*/ 821428 h 819150"/>
                <a:gd name="connsiteX276" fmla="*/ 223477 w 333375"/>
                <a:gd name="connsiteY276" fmla="*/ 817742 h 819150"/>
                <a:gd name="connsiteX277" fmla="*/ 230859 w 333375"/>
                <a:gd name="connsiteY277" fmla="*/ 817742 h 819150"/>
                <a:gd name="connsiteX278" fmla="*/ 234545 w 333375"/>
                <a:gd name="connsiteY278" fmla="*/ 817742 h 819150"/>
                <a:gd name="connsiteX279" fmla="*/ 234545 w 333375"/>
                <a:gd name="connsiteY279" fmla="*/ 810360 h 819150"/>
                <a:gd name="connsiteX280" fmla="*/ 238231 w 333375"/>
                <a:gd name="connsiteY280" fmla="*/ 802978 h 819150"/>
                <a:gd name="connsiteX281" fmla="*/ 227163 w 333375"/>
                <a:gd name="connsiteY281" fmla="*/ 795596 h 819150"/>
                <a:gd name="connsiteX282" fmla="*/ 223477 w 333375"/>
                <a:gd name="connsiteY282" fmla="*/ 795596 h 819150"/>
                <a:gd name="connsiteX283" fmla="*/ 219791 w 333375"/>
                <a:gd name="connsiteY283" fmla="*/ 791910 h 819150"/>
                <a:gd name="connsiteX284" fmla="*/ 219791 w 333375"/>
                <a:gd name="connsiteY284" fmla="*/ 788214 h 819150"/>
                <a:gd name="connsiteX285" fmla="*/ 216095 w 333375"/>
                <a:gd name="connsiteY285" fmla="*/ 788214 h 819150"/>
                <a:gd name="connsiteX286" fmla="*/ 212409 w 333375"/>
                <a:gd name="connsiteY286" fmla="*/ 784528 h 819150"/>
                <a:gd name="connsiteX287" fmla="*/ 212409 w 333375"/>
                <a:gd name="connsiteY287" fmla="*/ 780832 h 819150"/>
                <a:gd name="connsiteX288" fmla="*/ 212409 w 333375"/>
                <a:gd name="connsiteY288" fmla="*/ 777146 h 819150"/>
                <a:gd name="connsiteX289" fmla="*/ 216095 w 333375"/>
                <a:gd name="connsiteY289" fmla="*/ 773450 h 819150"/>
                <a:gd name="connsiteX290" fmla="*/ 219791 w 333375"/>
                <a:gd name="connsiteY290" fmla="*/ 777146 h 819150"/>
                <a:gd name="connsiteX291" fmla="*/ 227163 w 333375"/>
                <a:gd name="connsiteY291" fmla="*/ 780832 h 819150"/>
                <a:gd name="connsiteX292" fmla="*/ 230859 w 333375"/>
                <a:gd name="connsiteY292" fmla="*/ 773450 h 819150"/>
                <a:gd name="connsiteX293" fmla="*/ 234545 w 333375"/>
                <a:gd name="connsiteY293" fmla="*/ 769764 h 819150"/>
                <a:gd name="connsiteX294" fmla="*/ 234545 w 333375"/>
                <a:gd name="connsiteY294" fmla="*/ 766069 h 819150"/>
                <a:gd name="connsiteX295" fmla="*/ 238231 w 333375"/>
                <a:gd name="connsiteY295" fmla="*/ 766069 h 819150"/>
                <a:gd name="connsiteX296" fmla="*/ 234545 w 333375"/>
                <a:gd name="connsiteY296" fmla="*/ 762382 h 819150"/>
                <a:gd name="connsiteX297" fmla="*/ 234545 w 333375"/>
                <a:gd name="connsiteY297" fmla="*/ 758687 h 819150"/>
                <a:gd name="connsiteX298" fmla="*/ 230859 w 333375"/>
                <a:gd name="connsiteY298" fmla="*/ 755000 h 819150"/>
                <a:gd name="connsiteX299" fmla="*/ 230859 w 333375"/>
                <a:gd name="connsiteY299" fmla="*/ 751305 h 819150"/>
                <a:gd name="connsiteX300" fmla="*/ 230859 w 333375"/>
                <a:gd name="connsiteY300" fmla="*/ 747619 h 819150"/>
                <a:gd name="connsiteX301" fmla="*/ 234545 w 333375"/>
                <a:gd name="connsiteY301" fmla="*/ 743932 h 819150"/>
                <a:gd name="connsiteX302" fmla="*/ 241917 w 333375"/>
                <a:gd name="connsiteY302" fmla="*/ 743932 h 819150"/>
                <a:gd name="connsiteX303" fmla="*/ 245613 w 333375"/>
                <a:gd name="connsiteY303" fmla="*/ 740237 h 819150"/>
                <a:gd name="connsiteX304" fmla="*/ 249299 w 333375"/>
                <a:gd name="connsiteY304" fmla="*/ 740237 h 819150"/>
                <a:gd name="connsiteX305" fmla="*/ 249299 w 333375"/>
                <a:gd name="connsiteY305" fmla="*/ 736551 h 819150"/>
                <a:gd name="connsiteX306" fmla="*/ 252985 w 333375"/>
                <a:gd name="connsiteY306" fmla="*/ 736551 h 819150"/>
                <a:gd name="connsiteX307" fmla="*/ 252985 w 333375"/>
                <a:gd name="connsiteY307" fmla="*/ 740237 h 819150"/>
                <a:gd name="connsiteX308" fmla="*/ 260367 w 333375"/>
                <a:gd name="connsiteY308" fmla="*/ 743932 h 819150"/>
                <a:gd name="connsiteX309" fmla="*/ 260367 w 333375"/>
                <a:gd name="connsiteY309" fmla="*/ 736551 h 819150"/>
                <a:gd name="connsiteX310" fmla="*/ 260367 w 333375"/>
                <a:gd name="connsiteY310" fmla="*/ 732855 h 819150"/>
                <a:gd name="connsiteX311" fmla="*/ 264053 w 333375"/>
                <a:gd name="connsiteY311" fmla="*/ 732855 h 819150"/>
                <a:gd name="connsiteX312" fmla="*/ 264053 w 333375"/>
                <a:gd name="connsiteY312" fmla="*/ 729169 h 819150"/>
                <a:gd name="connsiteX313" fmla="*/ 267749 w 333375"/>
                <a:gd name="connsiteY313" fmla="*/ 725473 h 819150"/>
                <a:gd name="connsiteX314" fmla="*/ 267749 w 333375"/>
                <a:gd name="connsiteY314" fmla="*/ 718091 h 819150"/>
                <a:gd name="connsiteX315" fmla="*/ 264053 w 333375"/>
                <a:gd name="connsiteY315" fmla="*/ 714405 h 819150"/>
                <a:gd name="connsiteX316" fmla="*/ 264053 w 333375"/>
                <a:gd name="connsiteY316" fmla="*/ 718091 h 819150"/>
                <a:gd name="connsiteX317" fmla="*/ 260367 w 333375"/>
                <a:gd name="connsiteY317" fmla="*/ 710709 h 819150"/>
                <a:gd name="connsiteX318" fmla="*/ 260367 w 333375"/>
                <a:gd name="connsiteY318" fmla="*/ 707023 h 819150"/>
                <a:gd name="connsiteX319" fmla="*/ 260367 w 333375"/>
                <a:gd name="connsiteY319" fmla="*/ 703327 h 819150"/>
                <a:gd name="connsiteX320" fmla="*/ 264053 w 333375"/>
                <a:gd name="connsiteY320" fmla="*/ 699641 h 819150"/>
                <a:gd name="connsiteX321" fmla="*/ 264053 w 333375"/>
                <a:gd name="connsiteY321" fmla="*/ 695955 h 819150"/>
                <a:gd name="connsiteX322" fmla="*/ 267749 w 333375"/>
                <a:gd name="connsiteY322" fmla="*/ 692259 h 819150"/>
                <a:gd name="connsiteX323" fmla="*/ 267749 w 333375"/>
                <a:gd name="connsiteY323" fmla="*/ 688573 h 819150"/>
                <a:gd name="connsiteX324" fmla="*/ 264053 w 333375"/>
                <a:gd name="connsiteY324" fmla="*/ 684877 h 819150"/>
                <a:gd name="connsiteX325" fmla="*/ 260367 w 333375"/>
                <a:gd name="connsiteY325" fmla="*/ 684877 h 819150"/>
                <a:gd name="connsiteX326" fmla="*/ 256681 w 333375"/>
                <a:gd name="connsiteY326" fmla="*/ 684877 h 819150"/>
                <a:gd name="connsiteX327" fmla="*/ 249299 w 333375"/>
                <a:gd name="connsiteY327" fmla="*/ 684877 h 819150"/>
                <a:gd name="connsiteX328" fmla="*/ 249299 w 333375"/>
                <a:gd name="connsiteY328" fmla="*/ 681191 h 819150"/>
                <a:gd name="connsiteX329" fmla="*/ 249299 w 333375"/>
                <a:gd name="connsiteY329" fmla="*/ 677496 h 819150"/>
                <a:gd name="connsiteX330" fmla="*/ 245613 w 333375"/>
                <a:gd name="connsiteY330" fmla="*/ 681191 h 819150"/>
                <a:gd name="connsiteX331" fmla="*/ 241917 w 333375"/>
                <a:gd name="connsiteY331" fmla="*/ 677496 h 819150"/>
                <a:gd name="connsiteX332" fmla="*/ 230859 w 333375"/>
                <a:gd name="connsiteY332" fmla="*/ 673809 h 819150"/>
                <a:gd name="connsiteX333" fmla="*/ 230859 w 333375"/>
                <a:gd name="connsiteY333" fmla="*/ 666428 h 819150"/>
                <a:gd name="connsiteX334" fmla="*/ 230859 w 333375"/>
                <a:gd name="connsiteY334" fmla="*/ 662732 h 819150"/>
                <a:gd name="connsiteX335" fmla="*/ 223477 w 333375"/>
                <a:gd name="connsiteY335" fmla="*/ 659046 h 819150"/>
                <a:gd name="connsiteX336" fmla="*/ 227163 w 333375"/>
                <a:gd name="connsiteY336" fmla="*/ 655350 h 819150"/>
                <a:gd name="connsiteX337" fmla="*/ 230859 w 333375"/>
                <a:gd name="connsiteY337" fmla="*/ 655350 h 819150"/>
                <a:gd name="connsiteX338" fmla="*/ 230859 w 333375"/>
                <a:gd name="connsiteY338" fmla="*/ 651664 h 819150"/>
                <a:gd name="connsiteX339" fmla="*/ 234545 w 333375"/>
                <a:gd name="connsiteY339" fmla="*/ 636900 h 819150"/>
                <a:gd name="connsiteX340" fmla="*/ 230859 w 333375"/>
                <a:gd name="connsiteY340" fmla="*/ 636900 h 819150"/>
                <a:gd name="connsiteX341" fmla="*/ 216095 w 333375"/>
                <a:gd name="connsiteY341" fmla="*/ 636900 h 819150"/>
                <a:gd name="connsiteX342" fmla="*/ 212409 w 333375"/>
                <a:gd name="connsiteY342" fmla="*/ 636900 h 819150"/>
                <a:gd name="connsiteX343" fmla="*/ 208723 w 333375"/>
                <a:gd name="connsiteY343" fmla="*/ 640596 h 819150"/>
                <a:gd name="connsiteX344" fmla="*/ 205027 w 333375"/>
                <a:gd name="connsiteY344" fmla="*/ 640596 h 819150"/>
                <a:gd name="connsiteX345" fmla="*/ 201341 w 333375"/>
                <a:gd name="connsiteY345" fmla="*/ 636900 h 819150"/>
                <a:gd name="connsiteX346" fmla="*/ 201341 w 333375"/>
                <a:gd name="connsiteY346" fmla="*/ 633214 h 819150"/>
                <a:gd name="connsiteX347" fmla="*/ 197655 w 333375"/>
                <a:gd name="connsiteY347" fmla="*/ 633214 h 819150"/>
                <a:gd name="connsiteX348" fmla="*/ 190273 w 333375"/>
                <a:gd name="connsiteY348" fmla="*/ 636900 h 819150"/>
                <a:gd name="connsiteX349" fmla="*/ 186587 w 333375"/>
                <a:gd name="connsiteY349" fmla="*/ 636900 h 819150"/>
                <a:gd name="connsiteX350" fmla="*/ 182891 w 333375"/>
                <a:gd name="connsiteY350" fmla="*/ 640596 h 819150"/>
                <a:gd name="connsiteX351" fmla="*/ 179205 w 333375"/>
                <a:gd name="connsiteY351" fmla="*/ 640596 h 819150"/>
                <a:gd name="connsiteX352" fmla="*/ 175518 w 333375"/>
                <a:gd name="connsiteY352" fmla="*/ 644282 h 819150"/>
                <a:gd name="connsiteX353" fmla="*/ 171823 w 333375"/>
                <a:gd name="connsiteY353" fmla="*/ 644282 h 819150"/>
                <a:gd name="connsiteX354" fmla="*/ 168137 w 333375"/>
                <a:gd name="connsiteY354" fmla="*/ 640596 h 819150"/>
                <a:gd name="connsiteX355" fmla="*/ 175518 w 333375"/>
                <a:gd name="connsiteY355" fmla="*/ 633214 h 819150"/>
                <a:gd name="connsiteX356" fmla="*/ 175518 w 333375"/>
                <a:gd name="connsiteY356" fmla="*/ 622136 h 819150"/>
                <a:gd name="connsiteX357" fmla="*/ 171823 w 333375"/>
                <a:gd name="connsiteY357" fmla="*/ 622136 h 819150"/>
                <a:gd name="connsiteX358" fmla="*/ 168137 w 333375"/>
                <a:gd name="connsiteY358" fmla="*/ 618450 h 819150"/>
                <a:gd name="connsiteX359" fmla="*/ 168137 w 333375"/>
                <a:gd name="connsiteY359" fmla="*/ 614754 h 819150"/>
                <a:gd name="connsiteX360" fmla="*/ 164450 w 333375"/>
                <a:gd name="connsiteY360" fmla="*/ 614754 h 819150"/>
                <a:gd name="connsiteX361" fmla="*/ 164450 w 333375"/>
                <a:gd name="connsiteY361" fmla="*/ 611068 h 819150"/>
                <a:gd name="connsiteX362" fmla="*/ 160755 w 333375"/>
                <a:gd name="connsiteY362" fmla="*/ 611068 h 819150"/>
                <a:gd name="connsiteX363" fmla="*/ 160755 w 333375"/>
                <a:gd name="connsiteY363" fmla="*/ 607373 h 819150"/>
                <a:gd name="connsiteX364" fmla="*/ 160755 w 333375"/>
                <a:gd name="connsiteY364" fmla="*/ 603686 h 819150"/>
                <a:gd name="connsiteX365" fmla="*/ 160755 w 333375"/>
                <a:gd name="connsiteY365" fmla="*/ 600000 h 819150"/>
                <a:gd name="connsiteX366" fmla="*/ 160755 w 333375"/>
                <a:gd name="connsiteY366" fmla="*/ 592618 h 819150"/>
                <a:gd name="connsiteX367" fmla="*/ 157069 w 333375"/>
                <a:gd name="connsiteY367" fmla="*/ 588923 h 819150"/>
                <a:gd name="connsiteX368" fmla="*/ 153382 w 333375"/>
                <a:gd name="connsiteY368" fmla="*/ 581541 h 819150"/>
                <a:gd name="connsiteX369" fmla="*/ 157069 w 333375"/>
                <a:gd name="connsiteY369" fmla="*/ 581541 h 819150"/>
                <a:gd name="connsiteX370" fmla="*/ 164450 w 333375"/>
                <a:gd name="connsiteY370" fmla="*/ 581541 h 819150"/>
                <a:gd name="connsiteX371" fmla="*/ 168137 w 333375"/>
                <a:gd name="connsiteY371" fmla="*/ 581541 h 819150"/>
                <a:gd name="connsiteX372" fmla="*/ 168137 w 333375"/>
                <a:gd name="connsiteY372" fmla="*/ 577854 h 819150"/>
                <a:gd name="connsiteX373" fmla="*/ 175518 w 333375"/>
                <a:gd name="connsiteY373" fmla="*/ 574159 h 819150"/>
                <a:gd name="connsiteX374" fmla="*/ 179205 w 333375"/>
                <a:gd name="connsiteY374" fmla="*/ 570473 h 819150"/>
                <a:gd name="connsiteX375" fmla="*/ 179205 w 333375"/>
                <a:gd name="connsiteY375" fmla="*/ 574159 h 819150"/>
                <a:gd name="connsiteX376" fmla="*/ 186587 w 333375"/>
                <a:gd name="connsiteY376" fmla="*/ 585236 h 819150"/>
                <a:gd name="connsiteX377" fmla="*/ 190273 w 333375"/>
                <a:gd name="connsiteY377" fmla="*/ 592618 h 819150"/>
                <a:gd name="connsiteX378" fmla="*/ 190273 w 333375"/>
                <a:gd name="connsiteY378" fmla="*/ 596304 h 819150"/>
                <a:gd name="connsiteX379" fmla="*/ 193959 w 333375"/>
                <a:gd name="connsiteY379" fmla="*/ 592618 h 819150"/>
                <a:gd name="connsiteX380" fmla="*/ 197655 w 333375"/>
                <a:gd name="connsiteY380" fmla="*/ 592618 h 819150"/>
                <a:gd name="connsiteX381" fmla="*/ 197655 w 333375"/>
                <a:gd name="connsiteY381" fmla="*/ 596304 h 819150"/>
                <a:gd name="connsiteX382" fmla="*/ 201341 w 333375"/>
                <a:gd name="connsiteY382" fmla="*/ 596304 h 819150"/>
                <a:gd name="connsiteX383" fmla="*/ 201341 w 333375"/>
                <a:gd name="connsiteY383" fmla="*/ 592618 h 819150"/>
                <a:gd name="connsiteX384" fmla="*/ 205027 w 333375"/>
                <a:gd name="connsiteY384" fmla="*/ 588923 h 819150"/>
                <a:gd name="connsiteX385" fmla="*/ 205027 w 333375"/>
                <a:gd name="connsiteY385" fmla="*/ 585236 h 819150"/>
                <a:gd name="connsiteX386" fmla="*/ 208723 w 333375"/>
                <a:gd name="connsiteY386" fmla="*/ 581541 h 819150"/>
                <a:gd name="connsiteX387" fmla="*/ 208723 w 333375"/>
                <a:gd name="connsiteY387" fmla="*/ 577854 h 819150"/>
                <a:gd name="connsiteX388" fmla="*/ 208723 w 333375"/>
                <a:gd name="connsiteY388" fmla="*/ 574159 h 819150"/>
                <a:gd name="connsiteX389" fmla="*/ 212409 w 333375"/>
                <a:gd name="connsiteY389" fmla="*/ 570473 h 819150"/>
                <a:gd name="connsiteX390" fmla="*/ 212409 w 333375"/>
                <a:gd name="connsiteY390" fmla="*/ 566777 h 819150"/>
                <a:gd name="connsiteX391" fmla="*/ 216095 w 333375"/>
                <a:gd name="connsiteY391" fmla="*/ 563091 h 819150"/>
                <a:gd name="connsiteX392" fmla="*/ 216095 w 333375"/>
                <a:gd name="connsiteY392" fmla="*/ 559395 h 819150"/>
                <a:gd name="connsiteX393" fmla="*/ 219791 w 333375"/>
                <a:gd name="connsiteY393" fmla="*/ 555709 h 819150"/>
                <a:gd name="connsiteX394" fmla="*/ 227163 w 333375"/>
                <a:gd name="connsiteY394" fmla="*/ 552023 h 819150"/>
                <a:gd name="connsiteX395" fmla="*/ 230859 w 333375"/>
                <a:gd name="connsiteY395" fmla="*/ 548327 h 819150"/>
                <a:gd name="connsiteX396" fmla="*/ 238231 w 333375"/>
                <a:gd name="connsiteY396" fmla="*/ 544641 h 819150"/>
                <a:gd name="connsiteX397" fmla="*/ 241917 w 333375"/>
                <a:gd name="connsiteY397" fmla="*/ 544641 h 819150"/>
                <a:gd name="connsiteX398" fmla="*/ 245613 w 333375"/>
                <a:gd name="connsiteY398" fmla="*/ 540945 h 819150"/>
                <a:gd name="connsiteX399" fmla="*/ 249299 w 333375"/>
                <a:gd name="connsiteY399" fmla="*/ 537259 h 819150"/>
                <a:gd name="connsiteX400" fmla="*/ 249299 w 333375"/>
                <a:gd name="connsiteY400" fmla="*/ 533563 h 819150"/>
                <a:gd name="connsiteX401" fmla="*/ 252985 w 333375"/>
                <a:gd name="connsiteY401" fmla="*/ 529877 h 819150"/>
                <a:gd name="connsiteX402" fmla="*/ 256681 w 333375"/>
                <a:gd name="connsiteY402" fmla="*/ 529877 h 819150"/>
                <a:gd name="connsiteX403" fmla="*/ 260367 w 333375"/>
                <a:gd name="connsiteY403" fmla="*/ 529877 h 819150"/>
                <a:gd name="connsiteX404" fmla="*/ 264053 w 333375"/>
                <a:gd name="connsiteY404" fmla="*/ 526181 h 819150"/>
                <a:gd name="connsiteX405" fmla="*/ 264053 w 333375"/>
                <a:gd name="connsiteY405" fmla="*/ 522495 h 819150"/>
                <a:gd name="connsiteX406" fmla="*/ 264053 w 333375"/>
                <a:gd name="connsiteY406" fmla="*/ 518799 h 819150"/>
                <a:gd name="connsiteX407" fmla="*/ 267749 w 333375"/>
                <a:gd name="connsiteY407" fmla="*/ 515113 h 819150"/>
                <a:gd name="connsiteX408" fmla="*/ 271435 w 333375"/>
                <a:gd name="connsiteY408" fmla="*/ 515113 h 819150"/>
                <a:gd name="connsiteX409" fmla="*/ 275121 w 333375"/>
                <a:gd name="connsiteY409" fmla="*/ 515113 h 819150"/>
                <a:gd name="connsiteX410" fmla="*/ 278817 w 333375"/>
                <a:gd name="connsiteY410" fmla="*/ 511427 h 819150"/>
                <a:gd name="connsiteX411" fmla="*/ 282503 w 333375"/>
                <a:gd name="connsiteY411" fmla="*/ 511427 h 819150"/>
                <a:gd name="connsiteX412" fmla="*/ 282503 w 333375"/>
                <a:gd name="connsiteY412" fmla="*/ 507731 h 819150"/>
                <a:gd name="connsiteX413" fmla="*/ 289885 w 333375"/>
                <a:gd name="connsiteY413" fmla="*/ 507731 h 819150"/>
                <a:gd name="connsiteX414" fmla="*/ 293571 w 333375"/>
                <a:gd name="connsiteY414" fmla="*/ 504045 h 819150"/>
                <a:gd name="connsiteX415" fmla="*/ 297258 w 333375"/>
                <a:gd name="connsiteY415" fmla="*/ 504045 h 819150"/>
                <a:gd name="connsiteX416" fmla="*/ 304639 w 333375"/>
                <a:gd name="connsiteY416" fmla="*/ 504045 h 819150"/>
                <a:gd name="connsiteX417" fmla="*/ 300944 w 333375"/>
                <a:gd name="connsiteY417" fmla="*/ 500350 h 819150"/>
                <a:gd name="connsiteX418" fmla="*/ 304639 w 333375"/>
                <a:gd name="connsiteY418" fmla="*/ 500350 h 819150"/>
                <a:gd name="connsiteX419" fmla="*/ 308326 w 333375"/>
                <a:gd name="connsiteY419" fmla="*/ 496663 h 819150"/>
                <a:gd name="connsiteX420" fmla="*/ 293571 w 333375"/>
                <a:gd name="connsiteY420" fmla="*/ 485586 h 819150"/>
                <a:gd name="connsiteX421" fmla="*/ 289885 w 333375"/>
                <a:gd name="connsiteY421" fmla="*/ 485586 h 819150"/>
                <a:gd name="connsiteX422" fmla="*/ 312012 w 333375"/>
                <a:gd name="connsiteY422" fmla="*/ 474518 h 819150"/>
                <a:gd name="connsiteX423" fmla="*/ 304639 w 333375"/>
                <a:gd name="connsiteY423" fmla="*/ 467136 h 819150"/>
                <a:gd name="connsiteX424" fmla="*/ 282503 w 333375"/>
                <a:gd name="connsiteY424" fmla="*/ 478204 h 819150"/>
                <a:gd name="connsiteX425" fmla="*/ 278817 w 333375"/>
                <a:gd name="connsiteY425" fmla="*/ 481900 h 819150"/>
                <a:gd name="connsiteX426" fmla="*/ 275121 w 333375"/>
                <a:gd name="connsiteY426" fmla="*/ 485586 h 819150"/>
                <a:gd name="connsiteX427" fmla="*/ 271435 w 333375"/>
                <a:gd name="connsiteY427" fmla="*/ 485586 h 819150"/>
                <a:gd name="connsiteX428" fmla="*/ 267749 w 333375"/>
                <a:gd name="connsiteY428" fmla="*/ 485586 h 819150"/>
                <a:gd name="connsiteX429" fmla="*/ 260367 w 333375"/>
                <a:gd name="connsiteY429" fmla="*/ 485586 h 819150"/>
                <a:gd name="connsiteX430" fmla="*/ 260367 w 333375"/>
                <a:gd name="connsiteY430" fmla="*/ 481900 h 819150"/>
                <a:gd name="connsiteX431" fmla="*/ 256681 w 333375"/>
                <a:gd name="connsiteY431" fmla="*/ 478204 h 819150"/>
                <a:gd name="connsiteX432" fmla="*/ 256681 w 333375"/>
                <a:gd name="connsiteY432" fmla="*/ 452372 h 819150"/>
                <a:gd name="connsiteX433" fmla="*/ 252985 w 333375"/>
                <a:gd name="connsiteY433" fmla="*/ 448686 h 819150"/>
                <a:gd name="connsiteX434" fmla="*/ 256681 w 333375"/>
                <a:gd name="connsiteY434" fmla="*/ 444990 h 819150"/>
                <a:gd name="connsiteX435" fmla="*/ 264053 w 333375"/>
                <a:gd name="connsiteY435" fmla="*/ 444990 h 819150"/>
                <a:gd name="connsiteX436" fmla="*/ 256681 w 333375"/>
                <a:gd name="connsiteY436" fmla="*/ 430227 h 819150"/>
                <a:gd name="connsiteX437" fmla="*/ 264053 w 333375"/>
                <a:gd name="connsiteY437" fmla="*/ 426540 h 819150"/>
                <a:gd name="connsiteX438" fmla="*/ 267749 w 333375"/>
                <a:gd name="connsiteY438" fmla="*/ 419158 h 819150"/>
                <a:gd name="connsiteX439" fmla="*/ 282503 w 333375"/>
                <a:gd name="connsiteY439" fmla="*/ 404395 h 819150"/>
                <a:gd name="connsiteX440" fmla="*/ 282503 w 333375"/>
                <a:gd name="connsiteY440" fmla="*/ 400709 h 819150"/>
                <a:gd name="connsiteX441" fmla="*/ 286189 w 333375"/>
                <a:gd name="connsiteY441" fmla="*/ 397013 h 819150"/>
                <a:gd name="connsiteX442" fmla="*/ 293571 w 333375"/>
                <a:gd name="connsiteY442" fmla="*/ 385945 h 819150"/>
                <a:gd name="connsiteX443" fmla="*/ 297258 w 333375"/>
                <a:gd name="connsiteY443" fmla="*/ 378563 h 819150"/>
                <a:gd name="connsiteX444" fmla="*/ 297258 w 333375"/>
                <a:gd name="connsiteY444" fmla="*/ 374867 h 819150"/>
                <a:gd name="connsiteX445" fmla="*/ 300944 w 333375"/>
                <a:gd name="connsiteY445" fmla="*/ 371181 h 819150"/>
                <a:gd name="connsiteX446" fmla="*/ 300944 w 333375"/>
                <a:gd name="connsiteY446" fmla="*/ 367495 h 819150"/>
                <a:gd name="connsiteX447" fmla="*/ 300944 w 333375"/>
                <a:gd name="connsiteY447" fmla="*/ 363799 h 819150"/>
                <a:gd name="connsiteX448" fmla="*/ 304639 w 333375"/>
                <a:gd name="connsiteY448" fmla="*/ 360113 h 819150"/>
                <a:gd name="connsiteX449" fmla="*/ 304639 w 333375"/>
                <a:gd name="connsiteY449" fmla="*/ 356417 h 819150"/>
                <a:gd name="connsiteX450" fmla="*/ 308326 w 333375"/>
                <a:gd name="connsiteY450" fmla="*/ 356417 h 819150"/>
                <a:gd name="connsiteX451" fmla="*/ 312012 w 333375"/>
                <a:gd name="connsiteY451" fmla="*/ 356417 h 819150"/>
                <a:gd name="connsiteX452" fmla="*/ 315707 w 333375"/>
                <a:gd name="connsiteY452" fmla="*/ 356417 h 819150"/>
                <a:gd name="connsiteX453" fmla="*/ 315707 w 333375"/>
                <a:gd name="connsiteY453" fmla="*/ 352731 h 819150"/>
                <a:gd name="connsiteX454" fmla="*/ 334148 w 333375"/>
                <a:gd name="connsiteY454" fmla="*/ 334272 h 819150"/>
                <a:gd name="connsiteX455" fmla="*/ 330462 w 333375"/>
                <a:gd name="connsiteY455" fmla="*/ 323204 h 819150"/>
                <a:gd name="connsiteX456" fmla="*/ 326775 w 333375"/>
                <a:gd name="connsiteY456" fmla="*/ 315822 h 819150"/>
                <a:gd name="connsiteX457" fmla="*/ 326775 w 333375"/>
                <a:gd name="connsiteY457" fmla="*/ 312136 h 819150"/>
                <a:gd name="connsiteX458" fmla="*/ 330462 w 333375"/>
                <a:gd name="connsiteY458" fmla="*/ 308440 h 819150"/>
                <a:gd name="connsiteX459" fmla="*/ 334148 w 333375"/>
                <a:gd name="connsiteY459" fmla="*/ 304754 h 819150"/>
                <a:gd name="connsiteX460" fmla="*/ 323080 w 333375"/>
                <a:gd name="connsiteY460" fmla="*/ 304754 h 819150"/>
                <a:gd name="connsiteX461" fmla="*/ 323080 w 333375"/>
                <a:gd name="connsiteY461" fmla="*/ 301058 h 819150"/>
                <a:gd name="connsiteX462" fmla="*/ 326775 w 333375"/>
                <a:gd name="connsiteY462" fmla="*/ 278912 h 819150"/>
                <a:gd name="connsiteX463" fmla="*/ 326775 w 333375"/>
                <a:gd name="connsiteY463" fmla="*/ 267844 h 819150"/>
                <a:gd name="connsiteX464" fmla="*/ 330462 w 333375"/>
                <a:gd name="connsiteY464" fmla="*/ 267844 h 819150"/>
                <a:gd name="connsiteX465" fmla="*/ 326775 w 333375"/>
                <a:gd name="connsiteY465" fmla="*/ 260462 h 819150"/>
                <a:gd name="connsiteX466" fmla="*/ 330462 w 333375"/>
                <a:gd name="connsiteY466" fmla="*/ 256776 h 819150"/>
                <a:gd name="connsiteX467" fmla="*/ 330462 w 333375"/>
                <a:gd name="connsiteY467" fmla="*/ 245699 h 819150"/>
                <a:gd name="connsiteX468" fmla="*/ 326775 w 333375"/>
                <a:gd name="connsiteY468" fmla="*/ 238317 h 819150"/>
                <a:gd name="connsiteX469" fmla="*/ 323080 w 333375"/>
                <a:gd name="connsiteY469" fmla="*/ 230935 h 819150"/>
                <a:gd name="connsiteX470" fmla="*/ 326775 w 333375"/>
                <a:gd name="connsiteY470" fmla="*/ 223563 h 819150"/>
                <a:gd name="connsiteX471" fmla="*/ 323080 w 333375"/>
                <a:gd name="connsiteY471" fmla="*/ 219867 h 819150"/>
                <a:gd name="connsiteX472" fmla="*/ 323080 w 333375"/>
                <a:gd name="connsiteY472" fmla="*/ 212485 h 819150"/>
                <a:gd name="connsiteX473" fmla="*/ 323080 w 333375"/>
                <a:gd name="connsiteY473" fmla="*/ 208799 h 819150"/>
                <a:gd name="connsiteX474" fmla="*/ 319394 w 333375"/>
                <a:gd name="connsiteY474" fmla="*/ 201417 h 819150"/>
                <a:gd name="connsiteX475" fmla="*/ 312012 w 333375"/>
                <a:gd name="connsiteY475" fmla="*/ 197721 h 819150"/>
                <a:gd name="connsiteX476" fmla="*/ 304639 w 333375"/>
                <a:gd name="connsiteY476" fmla="*/ 194035 h 819150"/>
                <a:gd name="connsiteX477" fmla="*/ 297258 w 333375"/>
                <a:gd name="connsiteY477" fmla="*/ 171890 h 819150"/>
                <a:gd name="connsiteX478" fmla="*/ 289885 w 333375"/>
                <a:gd name="connsiteY478" fmla="*/ 168203 h 819150"/>
                <a:gd name="connsiteX479" fmla="*/ 286189 w 333375"/>
                <a:gd name="connsiteY479" fmla="*/ 164508 h 819150"/>
                <a:gd name="connsiteX480" fmla="*/ 282503 w 333375"/>
                <a:gd name="connsiteY480" fmla="*/ 160821 h 819150"/>
                <a:gd name="connsiteX481" fmla="*/ 278817 w 333375"/>
                <a:gd name="connsiteY481" fmla="*/ 153439 h 819150"/>
                <a:gd name="connsiteX482" fmla="*/ 278817 w 333375"/>
                <a:gd name="connsiteY482" fmla="*/ 149744 h 819150"/>
                <a:gd name="connsiteX483" fmla="*/ 275121 w 333375"/>
                <a:gd name="connsiteY483" fmla="*/ 149744 h 819150"/>
                <a:gd name="connsiteX484" fmla="*/ 264053 w 333375"/>
                <a:gd name="connsiteY484" fmla="*/ 142362 h 819150"/>
                <a:gd name="connsiteX485" fmla="*/ 264053 w 333375"/>
                <a:gd name="connsiteY485" fmla="*/ 134980 h 819150"/>
                <a:gd name="connsiteX486" fmla="*/ 264053 w 333375"/>
                <a:gd name="connsiteY486" fmla="*/ 127608 h 819150"/>
                <a:gd name="connsiteX487" fmla="*/ 267749 w 333375"/>
                <a:gd name="connsiteY487" fmla="*/ 127608 h 819150"/>
                <a:gd name="connsiteX488" fmla="*/ 267749 w 333375"/>
                <a:gd name="connsiteY488" fmla="*/ 123912 h 819150"/>
                <a:gd name="connsiteX489" fmla="*/ 271435 w 333375"/>
                <a:gd name="connsiteY489" fmla="*/ 112844 h 819150"/>
                <a:gd name="connsiteX490" fmla="*/ 271435 w 333375"/>
                <a:gd name="connsiteY490" fmla="*/ 109148 h 819150"/>
                <a:gd name="connsiteX491" fmla="*/ 275121 w 333375"/>
                <a:gd name="connsiteY491" fmla="*/ 105462 h 819150"/>
                <a:gd name="connsiteX492" fmla="*/ 275121 w 333375"/>
                <a:gd name="connsiteY492" fmla="*/ 101766 h 819150"/>
                <a:gd name="connsiteX493" fmla="*/ 267749 w 333375"/>
                <a:gd name="connsiteY493" fmla="*/ 98080 h 819150"/>
                <a:gd name="connsiteX494" fmla="*/ 264053 w 333375"/>
                <a:gd name="connsiteY494" fmla="*/ 98080 h 819150"/>
                <a:gd name="connsiteX495" fmla="*/ 260367 w 333375"/>
                <a:gd name="connsiteY495" fmla="*/ 98080 h 819150"/>
                <a:gd name="connsiteX496" fmla="*/ 260367 w 333375"/>
                <a:gd name="connsiteY496" fmla="*/ 94384 h 819150"/>
                <a:gd name="connsiteX497" fmla="*/ 256681 w 333375"/>
                <a:gd name="connsiteY497" fmla="*/ 94384 h 819150"/>
                <a:gd name="connsiteX498" fmla="*/ 252985 w 333375"/>
                <a:gd name="connsiteY498" fmla="*/ 94384 h 819150"/>
                <a:gd name="connsiteX499" fmla="*/ 234545 w 333375"/>
                <a:gd name="connsiteY499" fmla="*/ 87003 h 819150"/>
                <a:gd name="connsiteX500" fmla="*/ 230859 w 333375"/>
                <a:gd name="connsiteY500" fmla="*/ 83316 h 819150"/>
                <a:gd name="connsiteX501" fmla="*/ 230859 w 333375"/>
                <a:gd name="connsiteY501" fmla="*/ 79630 h 819150"/>
                <a:gd name="connsiteX502" fmla="*/ 230859 w 333375"/>
                <a:gd name="connsiteY502" fmla="*/ 75935 h 819150"/>
                <a:gd name="connsiteX503" fmla="*/ 234545 w 333375"/>
                <a:gd name="connsiteY503" fmla="*/ 72248 h 819150"/>
                <a:gd name="connsiteX504" fmla="*/ 230859 w 333375"/>
                <a:gd name="connsiteY504" fmla="*/ 68553 h 819150"/>
                <a:gd name="connsiteX505" fmla="*/ 230859 w 333375"/>
                <a:gd name="connsiteY505" fmla="*/ 64867 h 819150"/>
                <a:gd name="connsiteX506" fmla="*/ 230859 w 333375"/>
                <a:gd name="connsiteY506" fmla="*/ 57485 h 819150"/>
                <a:gd name="connsiteX507" fmla="*/ 234545 w 333375"/>
                <a:gd name="connsiteY507" fmla="*/ 57485 h 819150"/>
                <a:gd name="connsiteX508" fmla="*/ 238231 w 333375"/>
                <a:gd name="connsiteY508" fmla="*/ 57485 h 819150"/>
                <a:gd name="connsiteX509" fmla="*/ 238231 w 333375"/>
                <a:gd name="connsiteY509" fmla="*/ 53789 h 819150"/>
                <a:gd name="connsiteX510" fmla="*/ 234545 w 333375"/>
                <a:gd name="connsiteY510" fmla="*/ 53789 h 819150"/>
                <a:gd name="connsiteX511" fmla="*/ 234545 w 333375"/>
                <a:gd name="connsiteY511" fmla="*/ 50103 h 819150"/>
                <a:gd name="connsiteX512" fmla="*/ 234545 w 333375"/>
                <a:gd name="connsiteY512" fmla="*/ 46407 h 819150"/>
                <a:gd name="connsiteX513" fmla="*/ 230859 w 333375"/>
                <a:gd name="connsiteY513" fmla="*/ 46407 h 819150"/>
                <a:gd name="connsiteX514" fmla="*/ 219791 w 333375"/>
                <a:gd name="connsiteY514" fmla="*/ 39025 h 819150"/>
                <a:gd name="connsiteX515" fmla="*/ 216095 w 333375"/>
                <a:gd name="connsiteY515" fmla="*/ 35339 h 819150"/>
                <a:gd name="connsiteX516" fmla="*/ 208723 w 333375"/>
                <a:gd name="connsiteY516" fmla="*/ 35339 h 819150"/>
                <a:gd name="connsiteX517" fmla="*/ 205027 w 333375"/>
                <a:gd name="connsiteY517" fmla="*/ 35339 h 819150"/>
                <a:gd name="connsiteX518" fmla="*/ 193959 w 333375"/>
                <a:gd name="connsiteY518" fmla="*/ 35339 h 819150"/>
                <a:gd name="connsiteX519" fmla="*/ 193959 w 333375"/>
                <a:gd name="connsiteY519" fmla="*/ 31653 h 819150"/>
                <a:gd name="connsiteX520" fmla="*/ 190273 w 333375"/>
                <a:gd name="connsiteY520" fmla="*/ 35339 h 819150"/>
                <a:gd name="connsiteX521" fmla="*/ 186587 w 333375"/>
                <a:gd name="connsiteY521" fmla="*/ 35339 h 819150"/>
                <a:gd name="connsiteX522" fmla="*/ 182891 w 333375"/>
                <a:gd name="connsiteY522" fmla="*/ 31653 h 819150"/>
                <a:gd name="connsiteX523" fmla="*/ 182891 w 333375"/>
                <a:gd name="connsiteY523" fmla="*/ 27957 h 819150"/>
                <a:gd name="connsiteX524" fmla="*/ 179205 w 333375"/>
                <a:gd name="connsiteY524" fmla="*/ 27957 h 819150"/>
                <a:gd name="connsiteX525" fmla="*/ 175518 w 333375"/>
                <a:gd name="connsiteY525" fmla="*/ 24271 h 819150"/>
                <a:gd name="connsiteX526" fmla="*/ 175518 w 333375"/>
                <a:gd name="connsiteY526" fmla="*/ 20575 h 819150"/>
                <a:gd name="connsiteX527" fmla="*/ 171823 w 333375"/>
                <a:gd name="connsiteY527" fmla="*/ 16889 h 819150"/>
                <a:gd name="connsiteX528" fmla="*/ 171823 w 333375"/>
                <a:gd name="connsiteY528" fmla="*/ 13193 h 819150"/>
                <a:gd name="connsiteX529" fmla="*/ 168137 w 333375"/>
                <a:gd name="connsiteY529" fmla="*/ 9507 h 819150"/>
                <a:gd name="connsiteX530" fmla="*/ 164450 w 333375"/>
                <a:gd name="connsiteY530" fmla="*/ 5812 h 819150"/>
                <a:gd name="connsiteX531" fmla="*/ 160755 w 333375"/>
                <a:gd name="connsiteY531" fmla="*/ 5812 h 819150"/>
                <a:gd name="connsiteX532" fmla="*/ 153382 w 333375"/>
                <a:gd name="connsiteY532" fmla="*/ 5812 h 8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Lst>
              <a:rect l="l" t="t" r="r" b="b"/>
              <a:pathLst>
                <a:path w="333375" h="819150">
                  <a:moveTo>
                    <a:pt x="153382" y="5812"/>
                  </a:moveTo>
                  <a:lnTo>
                    <a:pt x="149696" y="9507"/>
                  </a:lnTo>
                  <a:lnTo>
                    <a:pt x="153382" y="13193"/>
                  </a:lnTo>
                  <a:lnTo>
                    <a:pt x="153382" y="16889"/>
                  </a:lnTo>
                  <a:lnTo>
                    <a:pt x="153382" y="20575"/>
                  </a:lnTo>
                  <a:lnTo>
                    <a:pt x="149696" y="20575"/>
                  </a:lnTo>
                  <a:lnTo>
                    <a:pt x="153382" y="24271"/>
                  </a:lnTo>
                  <a:lnTo>
                    <a:pt x="157069" y="24271"/>
                  </a:lnTo>
                  <a:lnTo>
                    <a:pt x="157069" y="27957"/>
                  </a:lnTo>
                  <a:lnTo>
                    <a:pt x="157069" y="31653"/>
                  </a:lnTo>
                  <a:lnTo>
                    <a:pt x="160755" y="39025"/>
                  </a:lnTo>
                  <a:lnTo>
                    <a:pt x="160755" y="46407"/>
                  </a:lnTo>
                  <a:lnTo>
                    <a:pt x="164450" y="50103"/>
                  </a:lnTo>
                  <a:lnTo>
                    <a:pt x="171823" y="50103"/>
                  </a:lnTo>
                  <a:lnTo>
                    <a:pt x="179205" y="53789"/>
                  </a:lnTo>
                  <a:lnTo>
                    <a:pt x="186587" y="53789"/>
                  </a:lnTo>
                  <a:lnTo>
                    <a:pt x="190273" y="57485"/>
                  </a:lnTo>
                  <a:lnTo>
                    <a:pt x="193959" y="57485"/>
                  </a:lnTo>
                  <a:lnTo>
                    <a:pt x="197655" y="68553"/>
                  </a:lnTo>
                  <a:lnTo>
                    <a:pt x="197655" y="75935"/>
                  </a:lnTo>
                  <a:lnTo>
                    <a:pt x="197655" y="79630"/>
                  </a:lnTo>
                  <a:lnTo>
                    <a:pt x="201341" y="79630"/>
                  </a:lnTo>
                  <a:lnTo>
                    <a:pt x="201341" y="87003"/>
                  </a:lnTo>
                  <a:lnTo>
                    <a:pt x="201341" y="90698"/>
                  </a:lnTo>
                  <a:lnTo>
                    <a:pt x="201341" y="94384"/>
                  </a:lnTo>
                  <a:lnTo>
                    <a:pt x="201341" y="105462"/>
                  </a:lnTo>
                  <a:lnTo>
                    <a:pt x="205027" y="109148"/>
                  </a:lnTo>
                  <a:lnTo>
                    <a:pt x="205027" y="112844"/>
                  </a:lnTo>
                  <a:lnTo>
                    <a:pt x="216095" y="116530"/>
                  </a:lnTo>
                  <a:lnTo>
                    <a:pt x="219791" y="120226"/>
                  </a:lnTo>
                  <a:lnTo>
                    <a:pt x="223477" y="123912"/>
                  </a:lnTo>
                  <a:lnTo>
                    <a:pt x="227163" y="127608"/>
                  </a:lnTo>
                  <a:lnTo>
                    <a:pt x="227163" y="131294"/>
                  </a:lnTo>
                  <a:lnTo>
                    <a:pt x="230859" y="134980"/>
                  </a:lnTo>
                  <a:lnTo>
                    <a:pt x="230859" y="146058"/>
                  </a:lnTo>
                  <a:lnTo>
                    <a:pt x="230859" y="149744"/>
                  </a:lnTo>
                  <a:lnTo>
                    <a:pt x="234545" y="153439"/>
                  </a:lnTo>
                  <a:lnTo>
                    <a:pt x="238231" y="160821"/>
                  </a:lnTo>
                  <a:lnTo>
                    <a:pt x="238231" y="164508"/>
                  </a:lnTo>
                  <a:lnTo>
                    <a:pt x="238231" y="168203"/>
                  </a:lnTo>
                  <a:lnTo>
                    <a:pt x="238231" y="171890"/>
                  </a:lnTo>
                  <a:lnTo>
                    <a:pt x="238231" y="175585"/>
                  </a:lnTo>
                  <a:lnTo>
                    <a:pt x="241917" y="179271"/>
                  </a:lnTo>
                  <a:lnTo>
                    <a:pt x="238231" y="179271"/>
                  </a:lnTo>
                  <a:lnTo>
                    <a:pt x="234545" y="179271"/>
                  </a:lnTo>
                  <a:lnTo>
                    <a:pt x="234545" y="182957"/>
                  </a:lnTo>
                  <a:lnTo>
                    <a:pt x="227163" y="175585"/>
                  </a:lnTo>
                  <a:lnTo>
                    <a:pt x="223477" y="171890"/>
                  </a:lnTo>
                  <a:lnTo>
                    <a:pt x="219791" y="171890"/>
                  </a:lnTo>
                  <a:lnTo>
                    <a:pt x="219791" y="168203"/>
                  </a:lnTo>
                  <a:lnTo>
                    <a:pt x="212409" y="171890"/>
                  </a:lnTo>
                  <a:lnTo>
                    <a:pt x="205027" y="175585"/>
                  </a:lnTo>
                  <a:lnTo>
                    <a:pt x="193959" y="179271"/>
                  </a:lnTo>
                  <a:lnTo>
                    <a:pt x="186587" y="182957"/>
                  </a:lnTo>
                  <a:lnTo>
                    <a:pt x="179205" y="182957"/>
                  </a:lnTo>
                  <a:lnTo>
                    <a:pt x="171823" y="182957"/>
                  </a:lnTo>
                  <a:lnTo>
                    <a:pt x="164450" y="179271"/>
                  </a:lnTo>
                  <a:lnTo>
                    <a:pt x="153382" y="175585"/>
                  </a:lnTo>
                  <a:lnTo>
                    <a:pt x="138628" y="171890"/>
                  </a:lnTo>
                  <a:lnTo>
                    <a:pt x="142314" y="205103"/>
                  </a:lnTo>
                  <a:lnTo>
                    <a:pt x="146000" y="216181"/>
                  </a:lnTo>
                  <a:lnTo>
                    <a:pt x="146000" y="223563"/>
                  </a:lnTo>
                  <a:lnTo>
                    <a:pt x="149696" y="230935"/>
                  </a:lnTo>
                  <a:lnTo>
                    <a:pt x="157069" y="264158"/>
                  </a:lnTo>
                  <a:lnTo>
                    <a:pt x="157069" y="267844"/>
                  </a:lnTo>
                  <a:lnTo>
                    <a:pt x="171823" y="293676"/>
                  </a:lnTo>
                  <a:lnTo>
                    <a:pt x="179205" y="308440"/>
                  </a:lnTo>
                  <a:lnTo>
                    <a:pt x="186587" y="319517"/>
                  </a:lnTo>
                  <a:lnTo>
                    <a:pt x="179205" y="323204"/>
                  </a:lnTo>
                  <a:lnTo>
                    <a:pt x="168137" y="334272"/>
                  </a:lnTo>
                  <a:lnTo>
                    <a:pt x="160755" y="341654"/>
                  </a:lnTo>
                  <a:lnTo>
                    <a:pt x="157069" y="341654"/>
                  </a:lnTo>
                  <a:lnTo>
                    <a:pt x="153382" y="345349"/>
                  </a:lnTo>
                  <a:lnTo>
                    <a:pt x="149696" y="345349"/>
                  </a:lnTo>
                  <a:lnTo>
                    <a:pt x="138628" y="349035"/>
                  </a:lnTo>
                  <a:lnTo>
                    <a:pt x="109110" y="356417"/>
                  </a:lnTo>
                  <a:lnTo>
                    <a:pt x="105424" y="360113"/>
                  </a:lnTo>
                  <a:lnTo>
                    <a:pt x="101728" y="360113"/>
                  </a:lnTo>
                  <a:lnTo>
                    <a:pt x="94356" y="363799"/>
                  </a:lnTo>
                  <a:lnTo>
                    <a:pt x="75906" y="367495"/>
                  </a:lnTo>
                  <a:lnTo>
                    <a:pt x="72220" y="367495"/>
                  </a:lnTo>
                  <a:lnTo>
                    <a:pt x="57466" y="374867"/>
                  </a:lnTo>
                  <a:lnTo>
                    <a:pt x="46398" y="385945"/>
                  </a:lnTo>
                  <a:lnTo>
                    <a:pt x="42702" y="393327"/>
                  </a:lnTo>
                  <a:lnTo>
                    <a:pt x="35330" y="408090"/>
                  </a:lnTo>
                  <a:lnTo>
                    <a:pt x="31634" y="426540"/>
                  </a:lnTo>
                  <a:lnTo>
                    <a:pt x="31634" y="441304"/>
                  </a:lnTo>
                  <a:lnTo>
                    <a:pt x="20566" y="444990"/>
                  </a:lnTo>
                  <a:lnTo>
                    <a:pt x="16880" y="444990"/>
                  </a:lnTo>
                  <a:lnTo>
                    <a:pt x="5812" y="448686"/>
                  </a:lnTo>
                  <a:lnTo>
                    <a:pt x="13193" y="452372"/>
                  </a:lnTo>
                  <a:lnTo>
                    <a:pt x="42702" y="463450"/>
                  </a:lnTo>
                  <a:lnTo>
                    <a:pt x="46398" y="467136"/>
                  </a:lnTo>
                  <a:lnTo>
                    <a:pt x="46398" y="470822"/>
                  </a:lnTo>
                  <a:lnTo>
                    <a:pt x="50084" y="478204"/>
                  </a:lnTo>
                  <a:lnTo>
                    <a:pt x="53770" y="474518"/>
                  </a:lnTo>
                  <a:lnTo>
                    <a:pt x="57466" y="478204"/>
                  </a:lnTo>
                  <a:lnTo>
                    <a:pt x="61152" y="478204"/>
                  </a:lnTo>
                  <a:lnTo>
                    <a:pt x="64838" y="478204"/>
                  </a:lnTo>
                  <a:lnTo>
                    <a:pt x="72220" y="478204"/>
                  </a:lnTo>
                  <a:lnTo>
                    <a:pt x="75906" y="478204"/>
                  </a:lnTo>
                  <a:lnTo>
                    <a:pt x="79602" y="478204"/>
                  </a:lnTo>
                  <a:lnTo>
                    <a:pt x="86974" y="478204"/>
                  </a:lnTo>
                  <a:lnTo>
                    <a:pt x="90660" y="474518"/>
                  </a:lnTo>
                  <a:lnTo>
                    <a:pt x="94356" y="474518"/>
                  </a:lnTo>
                  <a:lnTo>
                    <a:pt x="98042" y="478204"/>
                  </a:lnTo>
                  <a:lnTo>
                    <a:pt x="105424" y="478204"/>
                  </a:lnTo>
                  <a:lnTo>
                    <a:pt x="109110" y="481900"/>
                  </a:lnTo>
                  <a:lnTo>
                    <a:pt x="109110" y="485586"/>
                  </a:lnTo>
                  <a:lnTo>
                    <a:pt x="112796" y="485586"/>
                  </a:lnTo>
                  <a:lnTo>
                    <a:pt x="109110" y="489281"/>
                  </a:lnTo>
                  <a:lnTo>
                    <a:pt x="105424" y="489281"/>
                  </a:lnTo>
                  <a:lnTo>
                    <a:pt x="105424" y="492968"/>
                  </a:lnTo>
                  <a:lnTo>
                    <a:pt x="109110" y="492968"/>
                  </a:lnTo>
                  <a:lnTo>
                    <a:pt x="109110" y="496663"/>
                  </a:lnTo>
                  <a:lnTo>
                    <a:pt x="109110" y="500350"/>
                  </a:lnTo>
                  <a:lnTo>
                    <a:pt x="109110" y="504045"/>
                  </a:lnTo>
                  <a:lnTo>
                    <a:pt x="112796" y="504045"/>
                  </a:lnTo>
                  <a:lnTo>
                    <a:pt x="112796" y="500350"/>
                  </a:lnTo>
                  <a:lnTo>
                    <a:pt x="116492" y="500350"/>
                  </a:lnTo>
                  <a:lnTo>
                    <a:pt x="120178" y="500350"/>
                  </a:lnTo>
                  <a:lnTo>
                    <a:pt x="120178" y="496663"/>
                  </a:lnTo>
                  <a:lnTo>
                    <a:pt x="123864" y="496663"/>
                  </a:lnTo>
                  <a:lnTo>
                    <a:pt x="127560" y="496663"/>
                  </a:lnTo>
                  <a:lnTo>
                    <a:pt x="127560" y="492968"/>
                  </a:lnTo>
                  <a:lnTo>
                    <a:pt x="134933" y="489281"/>
                  </a:lnTo>
                  <a:lnTo>
                    <a:pt x="134933" y="492968"/>
                  </a:lnTo>
                  <a:lnTo>
                    <a:pt x="138628" y="492968"/>
                  </a:lnTo>
                  <a:lnTo>
                    <a:pt x="138628" y="500350"/>
                  </a:lnTo>
                  <a:lnTo>
                    <a:pt x="149696" y="507731"/>
                  </a:lnTo>
                  <a:lnTo>
                    <a:pt x="146000" y="511427"/>
                  </a:lnTo>
                  <a:lnTo>
                    <a:pt x="142314" y="515113"/>
                  </a:lnTo>
                  <a:lnTo>
                    <a:pt x="142314" y="518799"/>
                  </a:lnTo>
                  <a:lnTo>
                    <a:pt x="134933" y="522495"/>
                  </a:lnTo>
                  <a:lnTo>
                    <a:pt x="131246" y="522495"/>
                  </a:lnTo>
                  <a:lnTo>
                    <a:pt x="131246" y="526181"/>
                  </a:lnTo>
                  <a:lnTo>
                    <a:pt x="127560" y="529877"/>
                  </a:lnTo>
                  <a:lnTo>
                    <a:pt x="123864" y="533563"/>
                  </a:lnTo>
                  <a:lnTo>
                    <a:pt x="127560" y="537259"/>
                  </a:lnTo>
                  <a:lnTo>
                    <a:pt x="134933" y="537259"/>
                  </a:lnTo>
                  <a:lnTo>
                    <a:pt x="138628" y="540945"/>
                  </a:lnTo>
                  <a:lnTo>
                    <a:pt x="138628" y="544641"/>
                  </a:lnTo>
                  <a:lnTo>
                    <a:pt x="134933" y="548327"/>
                  </a:lnTo>
                  <a:lnTo>
                    <a:pt x="134933" y="552023"/>
                  </a:lnTo>
                  <a:lnTo>
                    <a:pt x="131246" y="552023"/>
                  </a:lnTo>
                  <a:lnTo>
                    <a:pt x="127560" y="548327"/>
                  </a:lnTo>
                  <a:lnTo>
                    <a:pt x="123864" y="548327"/>
                  </a:lnTo>
                  <a:lnTo>
                    <a:pt x="120178" y="548327"/>
                  </a:lnTo>
                  <a:lnTo>
                    <a:pt x="120178" y="552023"/>
                  </a:lnTo>
                  <a:lnTo>
                    <a:pt x="120178" y="555709"/>
                  </a:lnTo>
                  <a:lnTo>
                    <a:pt x="123864" y="559395"/>
                  </a:lnTo>
                  <a:lnTo>
                    <a:pt x="123864" y="563091"/>
                  </a:lnTo>
                  <a:lnTo>
                    <a:pt x="120178" y="563091"/>
                  </a:lnTo>
                  <a:lnTo>
                    <a:pt x="120178" y="566777"/>
                  </a:lnTo>
                  <a:lnTo>
                    <a:pt x="123864" y="574159"/>
                  </a:lnTo>
                  <a:lnTo>
                    <a:pt x="120178" y="574159"/>
                  </a:lnTo>
                  <a:lnTo>
                    <a:pt x="120178" y="577854"/>
                  </a:lnTo>
                  <a:lnTo>
                    <a:pt x="116492" y="577854"/>
                  </a:lnTo>
                  <a:lnTo>
                    <a:pt x="109110" y="574159"/>
                  </a:lnTo>
                  <a:lnTo>
                    <a:pt x="105424" y="585236"/>
                  </a:lnTo>
                  <a:lnTo>
                    <a:pt x="105424" y="592618"/>
                  </a:lnTo>
                  <a:lnTo>
                    <a:pt x="101728" y="596304"/>
                  </a:lnTo>
                  <a:lnTo>
                    <a:pt x="101728" y="600000"/>
                  </a:lnTo>
                  <a:lnTo>
                    <a:pt x="105424" y="600000"/>
                  </a:lnTo>
                  <a:lnTo>
                    <a:pt x="109110" y="603686"/>
                  </a:lnTo>
                  <a:lnTo>
                    <a:pt x="109110" y="607373"/>
                  </a:lnTo>
                  <a:lnTo>
                    <a:pt x="105424" y="614754"/>
                  </a:lnTo>
                  <a:lnTo>
                    <a:pt x="105424" y="618450"/>
                  </a:lnTo>
                  <a:lnTo>
                    <a:pt x="105424" y="622136"/>
                  </a:lnTo>
                  <a:lnTo>
                    <a:pt x="105424" y="625832"/>
                  </a:lnTo>
                  <a:lnTo>
                    <a:pt x="101728" y="629518"/>
                  </a:lnTo>
                  <a:lnTo>
                    <a:pt x="98042" y="633214"/>
                  </a:lnTo>
                  <a:lnTo>
                    <a:pt x="94356" y="640596"/>
                  </a:lnTo>
                  <a:lnTo>
                    <a:pt x="90660" y="640596"/>
                  </a:lnTo>
                  <a:lnTo>
                    <a:pt x="86974" y="647977"/>
                  </a:lnTo>
                  <a:lnTo>
                    <a:pt x="83288" y="655350"/>
                  </a:lnTo>
                  <a:lnTo>
                    <a:pt x="83288" y="659046"/>
                  </a:lnTo>
                  <a:lnTo>
                    <a:pt x="86974" y="659046"/>
                  </a:lnTo>
                  <a:lnTo>
                    <a:pt x="90660" y="659046"/>
                  </a:lnTo>
                  <a:lnTo>
                    <a:pt x="94356" y="655350"/>
                  </a:lnTo>
                  <a:lnTo>
                    <a:pt x="98042" y="655350"/>
                  </a:lnTo>
                  <a:lnTo>
                    <a:pt x="101728" y="659046"/>
                  </a:lnTo>
                  <a:lnTo>
                    <a:pt x="101728" y="662732"/>
                  </a:lnTo>
                  <a:lnTo>
                    <a:pt x="94356" y="666428"/>
                  </a:lnTo>
                  <a:lnTo>
                    <a:pt x="94356" y="670114"/>
                  </a:lnTo>
                  <a:lnTo>
                    <a:pt x="94356" y="673809"/>
                  </a:lnTo>
                  <a:lnTo>
                    <a:pt x="86974" y="681191"/>
                  </a:lnTo>
                  <a:lnTo>
                    <a:pt x="86974" y="684877"/>
                  </a:lnTo>
                  <a:lnTo>
                    <a:pt x="83288" y="688573"/>
                  </a:lnTo>
                  <a:lnTo>
                    <a:pt x="86974" y="692259"/>
                  </a:lnTo>
                  <a:lnTo>
                    <a:pt x="83288" y="695955"/>
                  </a:lnTo>
                  <a:lnTo>
                    <a:pt x="79602" y="695955"/>
                  </a:lnTo>
                  <a:lnTo>
                    <a:pt x="75906" y="695955"/>
                  </a:lnTo>
                  <a:lnTo>
                    <a:pt x="72220" y="695955"/>
                  </a:lnTo>
                  <a:lnTo>
                    <a:pt x="68534" y="699641"/>
                  </a:lnTo>
                  <a:lnTo>
                    <a:pt x="68534" y="703327"/>
                  </a:lnTo>
                  <a:lnTo>
                    <a:pt x="68534" y="707023"/>
                  </a:lnTo>
                  <a:lnTo>
                    <a:pt x="61152" y="714405"/>
                  </a:lnTo>
                  <a:lnTo>
                    <a:pt x="61152" y="718091"/>
                  </a:lnTo>
                  <a:lnTo>
                    <a:pt x="57466" y="718091"/>
                  </a:lnTo>
                  <a:lnTo>
                    <a:pt x="53770" y="721787"/>
                  </a:lnTo>
                  <a:lnTo>
                    <a:pt x="50084" y="721787"/>
                  </a:lnTo>
                  <a:lnTo>
                    <a:pt x="50084" y="725473"/>
                  </a:lnTo>
                  <a:lnTo>
                    <a:pt x="46398" y="725473"/>
                  </a:lnTo>
                  <a:lnTo>
                    <a:pt x="42702" y="725473"/>
                  </a:lnTo>
                  <a:lnTo>
                    <a:pt x="46398" y="729169"/>
                  </a:lnTo>
                  <a:lnTo>
                    <a:pt x="42702" y="732855"/>
                  </a:lnTo>
                  <a:lnTo>
                    <a:pt x="42702" y="736551"/>
                  </a:lnTo>
                  <a:lnTo>
                    <a:pt x="42702" y="740237"/>
                  </a:lnTo>
                  <a:lnTo>
                    <a:pt x="42702" y="743932"/>
                  </a:lnTo>
                  <a:lnTo>
                    <a:pt x="42702" y="747619"/>
                  </a:lnTo>
                  <a:lnTo>
                    <a:pt x="42702" y="751305"/>
                  </a:lnTo>
                  <a:lnTo>
                    <a:pt x="42702" y="755000"/>
                  </a:lnTo>
                  <a:lnTo>
                    <a:pt x="46398" y="755000"/>
                  </a:lnTo>
                  <a:lnTo>
                    <a:pt x="46398" y="758687"/>
                  </a:lnTo>
                  <a:lnTo>
                    <a:pt x="46398" y="762382"/>
                  </a:lnTo>
                  <a:lnTo>
                    <a:pt x="50084" y="762382"/>
                  </a:lnTo>
                  <a:lnTo>
                    <a:pt x="50084" y="766069"/>
                  </a:lnTo>
                  <a:lnTo>
                    <a:pt x="53770" y="769764"/>
                  </a:lnTo>
                  <a:lnTo>
                    <a:pt x="57466" y="769764"/>
                  </a:lnTo>
                  <a:lnTo>
                    <a:pt x="61152" y="769764"/>
                  </a:lnTo>
                  <a:lnTo>
                    <a:pt x="61152" y="773450"/>
                  </a:lnTo>
                  <a:lnTo>
                    <a:pt x="68534" y="773450"/>
                  </a:lnTo>
                  <a:lnTo>
                    <a:pt x="72220" y="777146"/>
                  </a:lnTo>
                  <a:lnTo>
                    <a:pt x="72220" y="780832"/>
                  </a:lnTo>
                  <a:lnTo>
                    <a:pt x="68534" y="784528"/>
                  </a:lnTo>
                  <a:lnTo>
                    <a:pt x="72220" y="795596"/>
                  </a:lnTo>
                  <a:lnTo>
                    <a:pt x="72220" y="802978"/>
                  </a:lnTo>
                  <a:lnTo>
                    <a:pt x="64838" y="814046"/>
                  </a:lnTo>
                  <a:lnTo>
                    <a:pt x="64838" y="817742"/>
                  </a:lnTo>
                  <a:lnTo>
                    <a:pt x="68534" y="817742"/>
                  </a:lnTo>
                  <a:lnTo>
                    <a:pt x="72220" y="817742"/>
                  </a:lnTo>
                  <a:lnTo>
                    <a:pt x="75906" y="814046"/>
                  </a:lnTo>
                  <a:lnTo>
                    <a:pt x="79602" y="814046"/>
                  </a:lnTo>
                  <a:lnTo>
                    <a:pt x="83288" y="810360"/>
                  </a:lnTo>
                  <a:lnTo>
                    <a:pt x="83288" y="814046"/>
                  </a:lnTo>
                  <a:lnTo>
                    <a:pt x="86974" y="817742"/>
                  </a:lnTo>
                  <a:lnTo>
                    <a:pt x="90660" y="817742"/>
                  </a:lnTo>
                  <a:lnTo>
                    <a:pt x="94356" y="814046"/>
                  </a:lnTo>
                  <a:lnTo>
                    <a:pt x="94356" y="810360"/>
                  </a:lnTo>
                  <a:lnTo>
                    <a:pt x="98042" y="806664"/>
                  </a:lnTo>
                  <a:lnTo>
                    <a:pt x="105424" y="795596"/>
                  </a:lnTo>
                  <a:lnTo>
                    <a:pt x="112796" y="795596"/>
                  </a:lnTo>
                  <a:lnTo>
                    <a:pt x="112796" y="802978"/>
                  </a:lnTo>
                  <a:lnTo>
                    <a:pt x="116492" y="810360"/>
                  </a:lnTo>
                  <a:lnTo>
                    <a:pt x="120178" y="806664"/>
                  </a:lnTo>
                  <a:lnTo>
                    <a:pt x="127560" y="817742"/>
                  </a:lnTo>
                  <a:lnTo>
                    <a:pt x="131246" y="817742"/>
                  </a:lnTo>
                  <a:lnTo>
                    <a:pt x="134933" y="814046"/>
                  </a:lnTo>
                  <a:lnTo>
                    <a:pt x="138628" y="817742"/>
                  </a:lnTo>
                  <a:lnTo>
                    <a:pt x="142314" y="814046"/>
                  </a:lnTo>
                  <a:lnTo>
                    <a:pt x="146000" y="810360"/>
                  </a:lnTo>
                  <a:lnTo>
                    <a:pt x="146000" y="814046"/>
                  </a:lnTo>
                  <a:lnTo>
                    <a:pt x="146000" y="821428"/>
                  </a:lnTo>
                  <a:lnTo>
                    <a:pt x="149696" y="817742"/>
                  </a:lnTo>
                  <a:lnTo>
                    <a:pt x="153382" y="814046"/>
                  </a:lnTo>
                  <a:lnTo>
                    <a:pt x="153382" y="810360"/>
                  </a:lnTo>
                  <a:lnTo>
                    <a:pt x="157069" y="810360"/>
                  </a:lnTo>
                  <a:lnTo>
                    <a:pt x="160755" y="810360"/>
                  </a:lnTo>
                  <a:lnTo>
                    <a:pt x="168137" y="806664"/>
                  </a:lnTo>
                  <a:lnTo>
                    <a:pt x="168137" y="810360"/>
                  </a:lnTo>
                  <a:lnTo>
                    <a:pt x="168137" y="817742"/>
                  </a:lnTo>
                  <a:lnTo>
                    <a:pt x="175518" y="821428"/>
                  </a:lnTo>
                  <a:lnTo>
                    <a:pt x="175518" y="817742"/>
                  </a:lnTo>
                  <a:lnTo>
                    <a:pt x="179205" y="817742"/>
                  </a:lnTo>
                  <a:lnTo>
                    <a:pt x="182891" y="817742"/>
                  </a:lnTo>
                  <a:lnTo>
                    <a:pt x="182891" y="821428"/>
                  </a:lnTo>
                  <a:lnTo>
                    <a:pt x="190273" y="817742"/>
                  </a:lnTo>
                  <a:lnTo>
                    <a:pt x="193959" y="814046"/>
                  </a:lnTo>
                  <a:lnTo>
                    <a:pt x="197655" y="814046"/>
                  </a:lnTo>
                  <a:lnTo>
                    <a:pt x="201341" y="814046"/>
                  </a:lnTo>
                  <a:lnTo>
                    <a:pt x="205027" y="814046"/>
                  </a:lnTo>
                  <a:lnTo>
                    <a:pt x="208723" y="814046"/>
                  </a:lnTo>
                  <a:lnTo>
                    <a:pt x="212409" y="817742"/>
                  </a:lnTo>
                  <a:lnTo>
                    <a:pt x="219791" y="821428"/>
                  </a:lnTo>
                  <a:lnTo>
                    <a:pt x="223477" y="821428"/>
                  </a:lnTo>
                  <a:lnTo>
                    <a:pt x="223477" y="817742"/>
                  </a:lnTo>
                  <a:lnTo>
                    <a:pt x="230859" y="817742"/>
                  </a:lnTo>
                  <a:lnTo>
                    <a:pt x="234545" y="817742"/>
                  </a:lnTo>
                  <a:lnTo>
                    <a:pt x="234545" y="810360"/>
                  </a:lnTo>
                  <a:lnTo>
                    <a:pt x="238231" y="802978"/>
                  </a:lnTo>
                  <a:lnTo>
                    <a:pt x="227163" y="795596"/>
                  </a:lnTo>
                  <a:lnTo>
                    <a:pt x="223477" y="795596"/>
                  </a:lnTo>
                  <a:lnTo>
                    <a:pt x="219791" y="791910"/>
                  </a:lnTo>
                  <a:lnTo>
                    <a:pt x="219791" y="788214"/>
                  </a:lnTo>
                  <a:lnTo>
                    <a:pt x="216095" y="788214"/>
                  </a:lnTo>
                  <a:lnTo>
                    <a:pt x="212409" y="784528"/>
                  </a:lnTo>
                  <a:lnTo>
                    <a:pt x="212409" y="780832"/>
                  </a:lnTo>
                  <a:lnTo>
                    <a:pt x="212409" y="777146"/>
                  </a:lnTo>
                  <a:lnTo>
                    <a:pt x="216095" y="773450"/>
                  </a:lnTo>
                  <a:lnTo>
                    <a:pt x="219791" y="777146"/>
                  </a:lnTo>
                  <a:lnTo>
                    <a:pt x="227163" y="780832"/>
                  </a:lnTo>
                  <a:lnTo>
                    <a:pt x="230859" y="773450"/>
                  </a:lnTo>
                  <a:lnTo>
                    <a:pt x="234545" y="769764"/>
                  </a:lnTo>
                  <a:lnTo>
                    <a:pt x="234545" y="766069"/>
                  </a:lnTo>
                  <a:lnTo>
                    <a:pt x="238231" y="766069"/>
                  </a:lnTo>
                  <a:lnTo>
                    <a:pt x="234545" y="762382"/>
                  </a:lnTo>
                  <a:lnTo>
                    <a:pt x="234545" y="758687"/>
                  </a:lnTo>
                  <a:lnTo>
                    <a:pt x="230859" y="755000"/>
                  </a:lnTo>
                  <a:lnTo>
                    <a:pt x="230859" y="751305"/>
                  </a:lnTo>
                  <a:lnTo>
                    <a:pt x="230859" y="747619"/>
                  </a:lnTo>
                  <a:lnTo>
                    <a:pt x="234545" y="743932"/>
                  </a:lnTo>
                  <a:lnTo>
                    <a:pt x="241917" y="743932"/>
                  </a:lnTo>
                  <a:lnTo>
                    <a:pt x="245613" y="740237"/>
                  </a:lnTo>
                  <a:lnTo>
                    <a:pt x="249299" y="740237"/>
                  </a:lnTo>
                  <a:lnTo>
                    <a:pt x="249299" y="736551"/>
                  </a:lnTo>
                  <a:lnTo>
                    <a:pt x="252985" y="736551"/>
                  </a:lnTo>
                  <a:lnTo>
                    <a:pt x="252985" y="740237"/>
                  </a:lnTo>
                  <a:lnTo>
                    <a:pt x="260367" y="743932"/>
                  </a:lnTo>
                  <a:lnTo>
                    <a:pt x="260367" y="736551"/>
                  </a:lnTo>
                  <a:lnTo>
                    <a:pt x="260367" y="732855"/>
                  </a:lnTo>
                  <a:lnTo>
                    <a:pt x="264053" y="732855"/>
                  </a:lnTo>
                  <a:lnTo>
                    <a:pt x="264053" y="729169"/>
                  </a:lnTo>
                  <a:lnTo>
                    <a:pt x="267749" y="725473"/>
                  </a:lnTo>
                  <a:lnTo>
                    <a:pt x="267749" y="718091"/>
                  </a:lnTo>
                  <a:lnTo>
                    <a:pt x="264053" y="714405"/>
                  </a:lnTo>
                  <a:lnTo>
                    <a:pt x="264053" y="718091"/>
                  </a:lnTo>
                  <a:lnTo>
                    <a:pt x="260367" y="710709"/>
                  </a:lnTo>
                  <a:lnTo>
                    <a:pt x="260367" y="707023"/>
                  </a:lnTo>
                  <a:lnTo>
                    <a:pt x="260367" y="703327"/>
                  </a:lnTo>
                  <a:lnTo>
                    <a:pt x="264053" y="699641"/>
                  </a:lnTo>
                  <a:lnTo>
                    <a:pt x="264053" y="695955"/>
                  </a:lnTo>
                  <a:lnTo>
                    <a:pt x="267749" y="692259"/>
                  </a:lnTo>
                  <a:lnTo>
                    <a:pt x="267749" y="688573"/>
                  </a:lnTo>
                  <a:lnTo>
                    <a:pt x="264053" y="684877"/>
                  </a:lnTo>
                  <a:lnTo>
                    <a:pt x="260367" y="684877"/>
                  </a:lnTo>
                  <a:lnTo>
                    <a:pt x="256681" y="684877"/>
                  </a:lnTo>
                  <a:lnTo>
                    <a:pt x="249299" y="684877"/>
                  </a:lnTo>
                  <a:lnTo>
                    <a:pt x="249299" y="681191"/>
                  </a:lnTo>
                  <a:lnTo>
                    <a:pt x="249299" y="677496"/>
                  </a:lnTo>
                  <a:lnTo>
                    <a:pt x="245613" y="681191"/>
                  </a:lnTo>
                  <a:lnTo>
                    <a:pt x="241917" y="677496"/>
                  </a:lnTo>
                  <a:lnTo>
                    <a:pt x="230859" y="673809"/>
                  </a:lnTo>
                  <a:lnTo>
                    <a:pt x="230859" y="666428"/>
                  </a:lnTo>
                  <a:lnTo>
                    <a:pt x="230859" y="662732"/>
                  </a:lnTo>
                  <a:lnTo>
                    <a:pt x="223477" y="659046"/>
                  </a:lnTo>
                  <a:lnTo>
                    <a:pt x="227163" y="655350"/>
                  </a:lnTo>
                  <a:lnTo>
                    <a:pt x="230859" y="655350"/>
                  </a:lnTo>
                  <a:lnTo>
                    <a:pt x="230859" y="651664"/>
                  </a:lnTo>
                  <a:lnTo>
                    <a:pt x="234545" y="636900"/>
                  </a:lnTo>
                  <a:lnTo>
                    <a:pt x="230859" y="636900"/>
                  </a:lnTo>
                  <a:lnTo>
                    <a:pt x="216095" y="636900"/>
                  </a:lnTo>
                  <a:lnTo>
                    <a:pt x="212409" y="636900"/>
                  </a:lnTo>
                  <a:lnTo>
                    <a:pt x="208723" y="640596"/>
                  </a:lnTo>
                  <a:lnTo>
                    <a:pt x="205027" y="640596"/>
                  </a:lnTo>
                  <a:lnTo>
                    <a:pt x="201341" y="636900"/>
                  </a:lnTo>
                  <a:lnTo>
                    <a:pt x="201341" y="633214"/>
                  </a:lnTo>
                  <a:lnTo>
                    <a:pt x="197655" y="633214"/>
                  </a:lnTo>
                  <a:lnTo>
                    <a:pt x="190273" y="636900"/>
                  </a:lnTo>
                  <a:lnTo>
                    <a:pt x="186587" y="636900"/>
                  </a:lnTo>
                  <a:lnTo>
                    <a:pt x="182891" y="640596"/>
                  </a:lnTo>
                  <a:lnTo>
                    <a:pt x="179205" y="640596"/>
                  </a:lnTo>
                  <a:lnTo>
                    <a:pt x="175518" y="644282"/>
                  </a:lnTo>
                  <a:lnTo>
                    <a:pt x="171823" y="644282"/>
                  </a:lnTo>
                  <a:lnTo>
                    <a:pt x="168137" y="640596"/>
                  </a:lnTo>
                  <a:lnTo>
                    <a:pt x="175518" y="633214"/>
                  </a:lnTo>
                  <a:lnTo>
                    <a:pt x="175518" y="622136"/>
                  </a:lnTo>
                  <a:lnTo>
                    <a:pt x="171823" y="622136"/>
                  </a:lnTo>
                  <a:lnTo>
                    <a:pt x="168137" y="618450"/>
                  </a:lnTo>
                  <a:lnTo>
                    <a:pt x="168137" y="614754"/>
                  </a:lnTo>
                  <a:lnTo>
                    <a:pt x="164450" y="614754"/>
                  </a:lnTo>
                  <a:lnTo>
                    <a:pt x="164450" y="611068"/>
                  </a:lnTo>
                  <a:lnTo>
                    <a:pt x="160755" y="611068"/>
                  </a:lnTo>
                  <a:lnTo>
                    <a:pt x="160755" y="607373"/>
                  </a:lnTo>
                  <a:lnTo>
                    <a:pt x="160755" y="603686"/>
                  </a:lnTo>
                  <a:lnTo>
                    <a:pt x="160755" y="600000"/>
                  </a:lnTo>
                  <a:lnTo>
                    <a:pt x="160755" y="592618"/>
                  </a:lnTo>
                  <a:lnTo>
                    <a:pt x="157069" y="588923"/>
                  </a:lnTo>
                  <a:lnTo>
                    <a:pt x="153382" y="581541"/>
                  </a:lnTo>
                  <a:lnTo>
                    <a:pt x="157069" y="581541"/>
                  </a:lnTo>
                  <a:lnTo>
                    <a:pt x="164450" y="581541"/>
                  </a:lnTo>
                  <a:lnTo>
                    <a:pt x="168137" y="581541"/>
                  </a:lnTo>
                  <a:lnTo>
                    <a:pt x="168137" y="577854"/>
                  </a:lnTo>
                  <a:lnTo>
                    <a:pt x="175518" y="574159"/>
                  </a:lnTo>
                  <a:lnTo>
                    <a:pt x="179205" y="570473"/>
                  </a:lnTo>
                  <a:lnTo>
                    <a:pt x="179205" y="574159"/>
                  </a:lnTo>
                  <a:lnTo>
                    <a:pt x="186587" y="585236"/>
                  </a:lnTo>
                  <a:lnTo>
                    <a:pt x="190273" y="592618"/>
                  </a:lnTo>
                  <a:lnTo>
                    <a:pt x="190273" y="596304"/>
                  </a:lnTo>
                  <a:lnTo>
                    <a:pt x="193959" y="592618"/>
                  </a:lnTo>
                  <a:lnTo>
                    <a:pt x="197655" y="592618"/>
                  </a:lnTo>
                  <a:lnTo>
                    <a:pt x="197655" y="596304"/>
                  </a:lnTo>
                  <a:lnTo>
                    <a:pt x="201341" y="596304"/>
                  </a:lnTo>
                  <a:lnTo>
                    <a:pt x="201341" y="592618"/>
                  </a:lnTo>
                  <a:lnTo>
                    <a:pt x="205027" y="588923"/>
                  </a:lnTo>
                  <a:lnTo>
                    <a:pt x="205027" y="585236"/>
                  </a:lnTo>
                  <a:lnTo>
                    <a:pt x="208723" y="581541"/>
                  </a:lnTo>
                  <a:lnTo>
                    <a:pt x="208723" y="577854"/>
                  </a:lnTo>
                  <a:lnTo>
                    <a:pt x="208723" y="574159"/>
                  </a:lnTo>
                  <a:lnTo>
                    <a:pt x="212409" y="570473"/>
                  </a:lnTo>
                  <a:lnTo>
                    <a:pt x="212409" y="566777"/>
                  </a:lnTo>
                  <a:lnTo>
                    <a:pt x="216095" y="563091"/>
                  </a:lnTo>
                  <a:lnTo>
                    <a:pt x="216095" y="559395"/>
                  </a:lnTo>
                  <a:lnTo>
                    <a:pt x="219791" y="555709"/>
                  </a:lnTo>
                  <a:lnTo>
                    <a:pt x="227163" y="552023"/>
                  </a:lnTo>
                  <a:lnTo>
                    <a:pt x="230859" y="548327"/>
                  </a:lnTo>
                  <a:lnTo>
                    <a:pt x="238231" y="544641"/>
                  </a:lnTo>
                  <a:lnTo>
                    <a:pt x="241917" y="544641"/>
                  </a:lnTo>
                  <a:lnTo>
                    <a:pt x="245613" y="540945"/>
                  </a:lnTo>
                  <a:lnTo>
                    <a:pt x="249299" y="537259"/>
                  </a:lnTo>
                  <a:lnTo>
                    <a:pt x="249299" y="533563"/>
                  </a:lnTo>
                  <a:lnTo>
                    <a:pt x="252985" y="529877"/>
                  </a:lnTo>
                  <a:lnTo>
                    <a:pt x="256681" y="529877"/>
                  </a:lnTo>
                  <a:lnTo>
                    <a:pt x="260367" y="529877"/>
                  </a:lnTo>
                  <a:lnTo>
                    <a:pt x="264053" y="526181"/>
                  </a:lnTo>
                  <a:lnTo>
                    <a:pt x="264053" y="522495"/>
                  </a:lnTo>
                  <a:lnTo>
                    <a:pt x="264053" y="518799"/>
                  </a:lnTo>
                  <a:lnTo>
                    <a:pt x="267749" y="515113"/>
                  </a:lnTo>
                  <a:lnTo>
                    <a:pt x="271435" y="515113"/>
                  </a:lnTo>
                  <a:lnTo>
                    <a:pt x="275121" y="515113"/>
                  </a:lnTo>
                  <a:lnTo>
                    <a:pt x="278817" y="511427"/>
                  </a:lnTo>
                  <a:lnTo>
                    <a:pt x="282503" y="511427"/>
                  </a:lnTo>
                  <a:lnTo>
                    <a:pt x="282503" y="507731"/>
                  </a:lnTo>
                  <a:lnTo>
                    <a:pt x="289885" y="507731"/>
                  </a:lnTo>
                  <a:lnTo>
                    <a:pt x="293571" y="504045"/>
                  </a:lnTo>
                  <a:lnTo>
                    <a:pt x="297258" y="504045"/>
                  </a:lnTo>
                  <a:lnTo>
                    <a:pt x="304639" y="504045"/>
                  </a:lnTo>
                  <a:lnTo>
                    <a:pt x="300944" y="500350"/>
                  </a:lnTo>
                  <a:lnTo>
                    <a:pt x="304639" y="500350"/>
                  </a:lnTo>
                  <a:lnTo>
                    <a:pt x="308326" y="496663"/>
                  </a:lnTo>
                  <a:lnTo>
                    <a:pt x="293571" y="485586"/>
                  </a:lnTo>
                  <a:lnTo>
                    <a:pt x="289885" y="485586"/>
                  </a:lnTo>
                  <a:lnTo>
                    <a:pt x="312012" y="474518"/>
                  </a:lnTo>
                  <a:lnTo>
                    <a:pt x="304639" y="467136"/>
                  </a:lnTo>
                  <a:lnTo>
                    <a:pt x="282503" y="478204"/>
                  </a:lnTo>
                  <a:lnTo>
                    <a:pt x="278817" y="481900"/>
                  </a:lnTo>
                  <a:lnTo>
                    <a:pt x="275121" y="485586"/>
                  </a:lnTo>
                  <a:lnTo>
                    <a:pt x="271435" y="485586"/>
                  </a:lnTo>
                  <a:lnTo>
                    <a:pt x="267749" y="485586"/>
                  </a:lnTo>
                  <a:lnTo>
                    <a:pt x="260367" y="485586"/>
                  </a:lnTo>
                  <a:lnTo>
                    <a:pt x="260367" y="481900"/>
                  </a:lnTo>
                  <a:lnTo>
                    <a:pt x="256681" y="478204"/>
                  </a:lnTo>
                  <a:lnTo>
                    <a:pt x="256681" y="452372"/>
                  </a:lnTo>
                  <a:lnTo>
                    <a:pt x="252985" y="448686"/>
                  </a:lnTo>
                  <a:lnTo>
                    <a:pt x="256681" y="444990"/>
                  </a:lnTo>
                  <a:lnTo>
                    <a:pt x="264053" y="444990"/>
                  </a:lnTo>
                  <a:lnTo>
                    <a:pt x="256681" y="430227"/>
                  </a:lnTo>
                  <a:lnTo>
                    <a:pt x="264053" y="426540"/>
                  </a:lnTo>
                  <a:lnTo>
                    <a:pt x="267749" y="419158"/>
                  </a:lnTo>
                  <a:lnTo>
                    <a:pt x="282503" y="404395"/>
                  </a:lnTo>
                  <a:lnTo>
                    <a:pt x="282503" y="400709"/>
                  </a:lnTo>
                  <a:lnTo>
                    <a:pt x="286189" y="397013"/>
                  </a:lnTo>
                  <a:lnTo>
                    <a:pt x="293571" y="385945"/>
                  </a:lnTo>
                  <a:lnTo>
                    <a:pt x="297258" y="378563"/>
                  </a:lnTo>
                  <a:lnTo>
                    <a:pt x="297258" y="374867"/>
                  </a:lnTo>
                  <a:lnTo>
                    <a:pt x="300944" y="371181"/>
                  </a:lnTo>
                  <a:lnTo>
                    <a:pt x="300944" y="367495"/>
                  </a:lnTo>
                  <a:lnTo>
                    <a:pt x="300944" y="363799"/>
                  </a:lnTo>
                  <a:lnTo>
                    <a:pt x="304639" y="360113"/>
                  </a:lnTo>
                  <a:lnTo>
                    <a:pt x="304639" y="356417"/>
                  </a:lnTo>
                  <a:lnTo>
                    <a:pt x="308326" y="356417"/>
                  </a:lnTo>
                  <a:lnTo>
                    <a:pt x="312012" y="356417"/>
                  </a:lnTo>
                  <a:lnTo>
                    <a:pt x="315707" y="356417"/>
                  </a:lnTo>
                  <a:lnTo>
                    <a:pt x="315707" y="352731"/>
                  </a:lnTo>
                  <a:lnTo>
                    <a:pt x="334148" y="334272"/>
                  </a:lnTo>
                  <a:lnTo>
                    <a:pt x="330462" y="323204"/>
                  </a:lnTo>
                  <a:lnTo>
                    <a:pt x="326775" y="315822"/>
                  </a:lnTo>
                  <a:lnTo>
                    <a:pt x="326775" y="312136"/>
                  </a:lnTo>
                  <a:lnTo>
                    <a:pt x="330462" y="308440"/>
                  </a:lnTo>
                  <a:lnTo>
                    <a:pt x="334148" y="304754"/>
                  </a:lnTo>
                  <a:lnTo>
                    <a:pt x="323080" y="304754"/>
                  </a:lnTo>
                  <a:lnTo>
                    <a:pt x="323080" y="301058"/>
                  </a:lnTo>
                  <a:lnTo>
                    <a:pt x="326775" y="278912"/>
                  </a:lnTo>
                  <a:lnTo>
                    <a:pt x="326775" y="267844"/>
                  </a:lnTo>
                  <a:lnTo>
                    <a:pt x="330462" y="267844"/>
                  </a:lnTo>
                  <a:lnTo>
                    <a:pt x="326775" y="260462"/>
                  </a:lnTo>
                  <a:lnTo>
                    <a:pt x="330462" y="256776"/>
                  </a:lnTo>
                  <a:lnTo>
                    <a:pt x="330462" y="245699"/>
                  </a:lnTo>
                  <a:lnTo>
                    <a:pt x="326775" y="238317"/>
                  </a:lnTo>
                  <a:lnTo>
                    <a:pt x="323080" y="230935"/>
                  </a:lnTo>
                  <a:lnTo>
                    <a:pt x="326775" y="223563"/>
                  </a:lnTo>
                  <a:lnTo>
                    <a:pt x="323080" y="219867"/>
                  </a:lnTo>
                  <a:lnTo>
                    <a:pt x="323080" y="212485"/>
                  </a:lnTo>
                  <a:lnTo>
                    <a:pt x="323080" y="208799"/>
                  </a:lnTo>
                  <a:lnTo>
                    <a:pt x="319394" y="201417"/>
                  </a:lnTo>
                  <a:lnTo>
                    <a:pt x="312012" y="197721"/>
                  </a:lnTo>
                  <a:lnTo>
                    <a:pt x="304639" y="194035"/>
                  </a:lnTo>
                  <a:lnTo>
                    <a:pt x="297258" y="171890"/>
                  </a:lnTo>
                  <a:lnTo>
                    <a:pt x="289885" y="168203"/>
                  </a:lnTo>
                  <a:lnTo>
                    <a:pt x="286189" y="164508"/>
                  </a:lnTo>
                  <a:lnTo>
                    <a:pt x="282503" y="160821"/>
                  </a:lnTo>
                  <a:lnTo>
                    <a:pt x="278817" y="153439"/>
                  </a:lnTo>
                  <a:lnTo>
                    <a:pt x="278817" y="149744"/>
                  </a:lnTo>
                  <a:lnTo>
                    <a:pt x="275121" y="149744"/>
                  </a:lnTo>
                  <a:lnTo>
                    <a:pt x="264053" y="142362"/>
                  </a:lnTo>
                  <a:lnTo>
                    <a:pt x="264053" y="134980"/>
                  </a:lnTo>
                  <a:lnTo>
                    <a:pt x="264053" y="127608"/>
                  </a:lnTo>
                  <a:lnTo>
                    <a:pt x="267749" y="127608"/>
                  </a:lnTo>
                  <a:lnTo>
                    <a:pt x="267749" y="123912"/>
                  </a:lnTo>
                  <a:lnTo>
                    <a:pt x="271435" y="112844"/>
                  </a:lnTo>
                  <a:lnTo>
                    <a:pt x="271435" y="109148"/>
                  </a:lnTo>
                  <a:lnTo>
                    <a:pt x="275121" y="105462"/>
                  </a:lnTo>
                  <a:lnTo>
                    <a:pt x="275121" y="101766"/>
                  </a:lnTo>
                  <a:lnTo>
                    <a:pt x="267749" y="98080"/>
                  </a:lnTo>
                  <a:lnTo>
                    <a:pt x="264053" y="98080"/>
                  </a:lnTo>
                  <a:lnTo>
                    <a:pt x="260367" y="98080"/>
                  </a:lnTo>
                  <a:lnTo>
                    <a:pt x="260367" y="94384"/>
                  </a:lnTo>
                  <a:lnTo>
                    <a:pt x="256681" y="94384"/>
                  </a:lnTo>
                  <a:lnTo>
                    <a:pt x="252985" y="94384"/>
                  </a:lnTo>
                  <a:lnTo>
                    <a:pt x="234545" y="87003"/>
                  </a:lnTo>
                  <a:lnTo>
                    <a:pt x="230859" y="83316"/>
                  </a:lnTo>
                  <a:lnTo>
                    <a:pt x="230859" y="79630"/>
                  </a:lnTo>
                  <a:lnTo>
                    <a:pt x="230859" y="75935"/>
                  </a:lnTo>
                  <a:lnTo>
                    <a:pt x="234545" y="72248"/>
                  </a:lnTo>
                  <a:lnTo>
                    <a:pt x="230859" y="68553"/>
                  </a:lnTo>
                  <a:lnTo>
                    <a:pt x="230859" y="64867"/>
                  </a:lnTo>
                  <a:lnTo>
                    <a:pt x="230859" y="57485"/>
                  </a:lnTo>
                  <a:lnTo>
                    <a:pt x="234545" y="57485"/>
                  </a:lnTo>
                  <a:lnTo>
                    <a:pt x="238231" y="57485"/>
                  </a:lnTo>
                  <a:lnTo>
                    <a:pt x="238231" y="53789"/>
                  </a:lnTo>
                  <a:lnTo>
                    <a:pt x="234545" y="53789"/>
                  </a:lnTo>
                  <a:lnTo>
                    <a:pt x="234545" y="50103"/>
                  </a:lnTo>
                  <a:lnTo>
                    <a:pt x="234545" y="46407"/>
                  </a:lnTo>
                  <a:lnTo>
                    <a:pt x="230859" y="46407"/>
                  </a:lnTo>
                  <a:lnTo>
                    <a:pt x="219791" y="39025"/>
                  </a:lnTo>
                  <a:lnTo>
                    <a:pt x="216095" y="35339"/>
                  </a:lnTo>
                  <a:lnTo>
                    <a:pt x="208723" y="35339"/>
                  </a:lnTo>
                  <a:lnTo>
                    <a:pt x="205027" y="35339"/>
                  </a:lnTo>
                  <a:lnTo>
                    <a:pt x="193959" y="35339"/>
                  </a:lnTo>
                  <a:lnTo>
                    <a:pt x="193959" y="31653"/>
                  </a:lnTo>
                  <a:lnTo>
                    <a:pt x="190273" y="35339"/>
                  </a:lnTo>
                  <a:lnTo>
                    <a:pt x="186587" y="35339"/>
                  </a:lnTo>
                  <a:lnTo>
                    <a:pt x="182891" y="31653"/>
                  </a:lnTo>
                  <a:lnTo>
                    <a:pt x="182891" y="27957"/>
                  </a:lnTo>
                  <a:lnTo>
                    <a:pt x="179205" y="27957"/>
                  </a:lnTo>
                  <a:lnTo>
                    <a:pt x="175518" y="24271"/>
                  </a:lnTo>
                  <a:lnTo>
                    <a:pt x="175518" y="20575"/>
                  </a:lnTo>
                  <a:lnTo>
                    <a:pt x="171823" y="16889"/>
                  </a:lnTo>
                  <a:lnTo>
                    <a:pt x="171823" y="13193"/>
                  </a:lnTo>
                  <a:lnTo>
                    <a:pt x="168137" y="9507"/>
                  </a:lnTo>
                  <a:lnTo>
                    <a:pt x="164450" y="5812"/>
                  </a:lnTo>
                  <a:lnTo>
                    <a:pt x="160755" y="5812"/>
                  </a:lnTo>
                  <a:lnTo>
                    <a:pt x="153382" y="5812"/>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180000" tIns="45720" rIns="91440" bIns="4572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76</a:t>
              </a:r>
            </a:p>
          </p:txBody>
        </p:sp>
        <p:sp>
          <p:nvSpPr>
            <p:cNvPr id="297" name="Freeform: Shape 296">
              <a:extLst>
                <a:ext uri="{FF2B5EF4-FFF2-40B4-BE49-F238E27FC236}">
                  <a16:creationId xmlns:a16="http://schemas.microsoft.com/office/drawing/2014/main" id="{C4C27BC6-4DDA-4B9F-9420-ED80BB412E31}"/>
                </a:ext>
              </a:extLst>
            </p:cNvPr>
            <p:cNvSpPr/>
            <p:nvPr/>
          </p:nvSpPr>
          <p:spPr>
            <a:xfrm>
              <a:off x="9124744" y="3634360"/>
              <a:ext cx="584161" cy="476554"/>
            </a:xfrm>
            <a:custGeom>
              <a:avLst/>
              <a:gdLst>
                <a:gd name="connsiteX0" fmla="*/ 256678 w 361950"/>
                <a:gd name="connsiteY0" fmla="*/ 5812 h 295275"/>
                <a:gd name="connsiteX1" fmla="*/ 252982 w 361950"/>
                <a:gd name="connsiteY1" fmla="*/ 9502 h 295275"/>
                <a:gd name="connsiteX2" fmla="*/ 227160 w 361950"/>
                <a:gd name="connsiteY2" fmla="*/ 16882 h 295275"/>
                <a:gd name="connsiteX3" fmla="*/ 223474 w 361950"/>
                <a:gd name="connsiteY3" fmla="*/ 16882 h 295275"/>
                <a:gd name="connsiteX4" fmla="*/ 219788 w 361950"/>
                <a:gd name="connsiteY4" fmla="*/ 20573 h 295275"/>
                <a:gd name="connsiteX5" fmla="*/ 190270 w 361950"/>
                <a:gd name="connsiteY5" fmla="*/ 46407 h 295275"/>
                <a:gd name="connsiteX6" fmla="*/ 190270 w 361950"/>
                <a:gd name="connsiteY6" fmla="*/ 50098 h 295275"/>
                <a:gd name="connsiteX7" fmla="*/ 186584 w 361950"/>
                <a:gd name="connsiteY7" fmla="*/ 50098 h 295275"/>
                <a:gd name="connsiteX8" fmla="*/ 171820 w 361950"/>
                <a:gd name="connsiteY8" fmla="*/ 50098 h 295275"/>
                <a:gd name="connsiteX9" fmla="*/ 168134 w 361950"/>
                <a:gd name="connsiteY9" fmla="*/ 50098 h 295275"/>
                <a:gd name="connsiteX10" fmla="*/ 168134 w 361950"/>
                <a:gd name="connsiteY10" fmla="*/ 53788 h 295275"/>
                <a:gd name="connsiteX11" fmla="*/ 164448 w 361950"/>
                <a:gd name="connsiteY11" fmla="*/ 64860 h 295275"/>
                <a:gd name="connsiteX12" fmla="*/ 164448 w 361950"/>
                <a:gd name="connsiteY12" fmla="*/ 61170 h 295275"/>
                <a:gd name="connsiteX13" fmla="*/ 160761 w 361950"/>
                <a:gd name="connsiteY13" fmla="*/ 68551 h 295275"/>
                <a:gd name="connsiteX14" fmla="*/ 160761 w 361950"/>
                <a:gd name="connsiteY14" fmla="*/ 72242 h 295275"/>
                <a:gd name="connsiteX15" fmla="*/ 160761 w 361950"/>
                <a:gd name="connsiteY15" fmla="*/ 75932 h 295275"/>
                <a:gd name="connsiteX16" fmla="*/ 160761 w 361950"/>
                <a:gd name="connsiteY16" fmla="*/ 79623 h 295275"/>
                <a:gd name="connsiteX17" fmla="*/ 160761 w 361950"/>
                <a:gd name="connsiteY17" fmla="*/ 83313 h 295275"/>
                <a:gd name="connsiteX18" fmla="*/ 153380 w 361950"/>
                <a:gd name="connsiteY18" fmla="*/ 87004 h 295275"/>
                <a:gd name="connsiteX19" fmla="*/ 149693 w 361950"/>
                <a:gd name="connsiteY19" fmla="*/ 87004 h 295275"/>
                <a:gd name="connsiteX20" fmla="*/ 145998 w 361950"/>
                <a:gd name="connsiteY20" fmla="*/ 90695 h 295275"/>
                <a:gd name="connsiteX21" fmla="*/ 142312 w 361950"/>
                <a:gd name="connsiteY21" fmla="*/ 98075 h 295275"/>
                <a:gd name="connsiteX22" fmla="*/ 138625 w 361950"/>
                <a:gd name="connsiteY22" fmla="*/ 98075 h 295275"/>
                <a:gd name="connsiteX23" fmla="*/ 134930 w 361950"/>
                <a:gd name="connsiteY23" fmla="*/ 98075 h 295275"/>
                <a:gd name="connsiteX24" fmla="*/ 134930 w 361950"/>
                <a:gd name="connsiteY24" fmla="*/ 101765 h 295275"/>
                <a:gd name="connsiteX25" fmla="*/ 72217 w 361950"/>
                <a:gd name="connsiteY25" fmla="*/ 142362 h 295275"/>
                <a:gd name="connsiteX26" fmla="*/ 61149 w 361950"/>
                <a:gd name="connsiteY26" fmla="*/ 149743 h 295275"/>
                <a:gd name="connsiteX27" fmla="*/ 61149 w 361950"/>
                <a:gd name="connsiteY27" fmla="*/ 153434 h 295275"/>
                <a:gd name="connsiteX28" fmla="*/ 57460 w 361950"/>
                <a:gd name="connsiteY28" fmla="*/ 153434 h 295275"/>
                <a:gd name="connsiteX29" fmla="*/ 57460 w 361950"/>
                <a:gd name="connsiteY29" fmla="*/ 157125 h 295275"/>
                <a:gd name="connsiteX30" fmla="*/ 53771 w 361950"/>
                <a:gd name="connsiteY30" fmla="*/ 157125 h 295275"/>
                <a:gd name="connsiteX31" fmla="*/ 51580 w 361950"/>
                <a:gd name="connsiteY31" fmla="*/ 157125 h 295275"/>
                <a:gd name="connsiteX32" fmla="*/ 27947 w 361950"/>
                <a:gd name="connsiteY32" fmla="*/ 171887 h 295275"/>
                <a:gd name="connsiteX33" fmla="*/ 24257 w 361950"/>
                <a:gd name="connsiteY33" fmla="*/ 175578 h 295275"/>
                <a:gd name="connsiteX34" fmla="*/ 9501 w 361950"/>
                <a:gd name="connsiteY34" fmla="*/ 186648 h 295275"/>
                <a:gd name="connsiteX35" fmla="*/ 5812 w 361950"/>
                <a:gd name="connsiteY35" fmla="*/ 186648 h 295275"/>
                <a:gd name="connsiteX36" fmla="*/ 5812 w 361950"/>
                <a:gd name="connsiteY36" fmla="*/ 190339 h 295275"/>
                <a:gd name="connsiteX37" fmla="*/ 13190 w 361950"/>
                <a:gd name="connsiteY37" fmla="*/ 197723 h 295275"/>
                <a:gd name="connsiteX38" fmla="*/ 13190 w 361950"/>
                <a:gd name="connsiteY38" fmla="*/ 205105 h 295275"/>
                <a:gd name="connsiteX39" fmla="*/ 13190 w 361950"/>
                <a:gd name="connsiteY39" fmla="*/ 216173 h 295275"/>
                <a:gd name="connsiteX40" fmla="*/ 9501 w 361950"/>
                <a:gd name="connsiteY40" fmla="*/ 219869 h 295275"/>
                <a:gd name="connsiteX41" fmla="*/ 13190 w 361950"/>
                <a:gd name="connsiteY41" fmla="*/ 219869 h 295275"/>
                <a:gd name="connsiteX42" fmla="*/ 16879 w 361950"/>
                <a:gd name="connsiteY42" fmla="*/ 227241 h 295275"/>
                <a:gd name="connsiteX43" fmla="*/ 13190 w 361950"/>
                <a:gd name="connsiteY43" fmla="*/ 227241 h 295275"/>
                <a:gd name="connsiteX44" fmla="*/ 16879 w 361950"/>
                <a:gd name="connsiteY44" fmla="*/ 230937 h 295275"/>
                <a:gd name="connsiteX45" fmla="*/ 20568 w 361950"/>
                <a:gd name="connsiteY45" fmla="*/ 227241 h 295275"/>
                <a:gd name="connsiteX46" fmla="*/ 24257 w 361950"/>
                <a:gd name="connsiteY46" fmla="*/ 227241 h 295275"/>
                <a:gd name="connsiteX47" fmla="*/ 39014 w 361950"/>
                <a:gd name="connsiteY47" fmla="*/ 223555 h 295275"/>
                <a:gd name="connsiteX48" fmla="*/ 42703 w 361950"/>
                <a:gd name="connsiteY48" fmla="*/ 223555 h 295275"/>
                <a:gd name="connsiteX49" fmla="*/ 46392 w 361950"/>
                <a:gd name="connsiteY49" fmla="*/ 223555 h 295275"/>
                <a:gd name="connsiteX50" fmla="*/ 50082 w 361950"/>
                <a:gd name="connsiteY50" fmla="*/ 227241 h 295275"/>
                <a:gd name="connsiteX51" fmla="*/ 53771 w 361950"/>
                <a:gd name="connsiteY51" fmla="*/ 227241 h 295275"/>
                <a:gd name="connsiteX52" fmla="*/ 57460 w 361950"/>
                <a:gd name="connsiteY52" fmla="*/ 227241 h 295275"/>
                <a:gd name="connsiteX53" fmla="*/ 64838 w 361950"/>
                <a:gd name="connsiteY53" fmla="*/ 227241 h 295275"/>
                <a:gd name="connsiteX54" fmla="*/ 75903 w 361950"/>
                <a:gd name="connsiteY54" fmla="*/ 230937 h 295275"/>
                <a:gd name="connsiteX55" fmla="*/ 83285 w 361950"/>
                <a:gd name="connsiteY55" fmla="*/ 238319 h 295275"/>
                <a:gd name="connsiteX56" fmla="*/ 94353 w 361950"/>
                <a:gd name="connsiteY56" fmla="*/ 242005 h 295275"/>
                <a:gd name="connsiteX57" fmla="*/ 101725 w 361950"/>
                <a:gd name="connsiteY57" fmla="*/ 249387 h 295275"/>
                <a:gd name="connsiteX58" fmla="*/ 134930 w 361950"/>
                <a:gd name="connsiteY58" fmla="*/ 278914 h 295275"/>
                <a:gd name="connsiteX59" fmla="*/ 138625 w 361950"/>
                <a:gd name="connsiteY59" fmla="*/ 286296 h 295275"/>
                <a:gd name="connsiteX60" fmla="*/ 142312 w 361950"/>
                <a:gd name="connsiteY60" fmla="*/ 286296 h 295275"/>
                <a:gd name="connsiteX61" fmla="*/ 149693 w 361950"/>
                <a:gd name="connsiteY61" fmla="*/ 289982 h 295275"/>
                <a:gd name="connsiteX62" fmla="*/ 157066 w 361950"/>
                <a:gd name="connsiteY62" fmla="*/ 286296 h 295275"/>
                <a:gd name="connsiteX63" fmla="*/ 175516 w 361950"/>
                <a:gd name="connsiteY63" fmla="*/ 278914 h 295275"/>
                <a:gd name="connsiteX64" fmla="*/ 179202 w 361950"/>
                <a:gd name="connsiteY64" fmla="*/ 278914 h 295275"/>
                <a:gd name="connsiteX65" fmla="*/ 186584 w 361950"/>
                <a:gd name="connsiteY65" fmla="*/ 278914 h 295275"/>
                <a:gd name="connsiteX66" fmla="*/ 190270 w 361950"/>
                <a:gd name="connsiteY66" fmla="*/ 275219 h 295275"/>
                <a:gd name="connsiteX67" fmla="*/ 201338 w 361950"/>
                <a:gd name="connsiteY67" fmla="*/ 271532 h 295275"/>
                <a:gd name="connsiteX68" fmla="*/ 205024 w 361950"/>
                <a:gd name="connsiteY68" fmla="*/ 271532 h 295275"/>
                <a:gd name="connsiteX69" fmla="*/ 208720 w 361950"/>
                <a:gd name="connsiteY69" fmla="*/ 256769 h 295275"/>
                <a:gd name="connsiteX70" fmla="*/ 212406 w 361950"/>
                <a:gd name="connsiteY70" fmla="*/ 253082 h 295275"/>
                <a:gd name="connsiteX71" fmla="*/ 212406 w 361950"/>
                <a:gd name="connsiteY71" fmla="*/ 242005 h 295275"/>
                <a:gd name="connsiteX72" fmla="*/ 216092 w 361950"/>
                <a:gd name="connsiteY72" fmla="*/ 242005 h 295275"/>
                <a:gd name="connsiteX73" fmla="*/ 216092 w 361950"/>
                <a:gd name="connsiteY73" fmla="*/ 234623 h 295275"/>
                <a:gd name="connsiteX74" fmla="*/ 216092 w 361950"/>
                <a:gd name="connsiteY74" fmla="*/ 230937 h 295275"/>
                <a:gd name="connsiteX75" fmla="*/ 216092 w 361950"/>
                <a:gd name="connsiteY75" fmla="*/ 227241 h 295275"/>
                <a:gd name="connsiteX76" fmla="*/ 216092 w 361950"/>
                <a:gd name="connsiteY76" fmla="*/ 223555 h 295275"/>
                <a:gd name="connsiteX77" fmla="*/ 212406 w 361950"/>
                <a:gd name="connsiteY77" fmla="*/ 223555 h 295275"/>
                <a:gd name="connsiteX78" fmla="*/ 212406 w 361950"/>
                <a:gd name="connsiteY78" fmla="*/ 219869 h 295275"/>
                <a:gd name="connsiteX79" fmla="*/ 208720 w 361950"/>
                <a:gd name="connsiteY79" fmla="*/ 212487 h 295275"/>
                <a:gd name="connsiteX80" fmla="*/ 212406 w 361950"/>
                <a:gd name="connsiteY80" fmla="*/ 208791 h 295275"/>
                <a:gd name="connsiteX81" fmla="*/ 223474 w 361950"/>
                <a:gd name="connsiteY81" fmla="*/ 197723 h 295275"/>
                <a:gd name="connsiteX82" fmla="*/ 230856 w 361950"/>
                <a:gd name="connsiteY82" fmla="*/ 201409 h 295275"/>
                <a:gd name="connsiteX83" fmla="*/ 241914 w 361950"/>
                <a:gd name="connsiteY83" fmla="*/ 197723 h 295275"/>
                <a:gd name="connsiteX84" fmla="*/ 245610 w 361950"/>
                <a:gd name="connsiteY84" fmla="*/ 197723 h 295275"/>
                <a:gd name="connsiteX85" fmla="*/ 249296 w 361950"/>
                <a:gd name="connsiteY85" fmla="*/ 194027 h 295275"/>
                <a:gd name="connsiteX86" fmla="*/ 245610 w 361950"/>
                <a:gd name="connsiteY86" fmla="*/ 194027 h 295275"/>
                <a:gd name="connsiteX87" fmla="*/ 249296 w 361950"/>
                <a:gd name="connsiteY87" fmla="*/ 190339 h 295275"/>
                <a:gd name="connsiteX88" fmla="*/ 252982 w 361950"/>
                <a:gd name="connsiteY88" fmla="*/ 186648 h 295275"/>
                <a:gd name="connsiteX89" fmla="*/ 256678 w 361950"/>
                <a:gd name="connsiteY89" fmla="*/ 182958 h 295275"/>
                <a:gd name="connsiteX90" fmla="*/ 267746 w 361950"/>
                <a:gd name="connsiteY90" fmla="*/ 171887 h 295275"/>
                <a:gd name="connsiteX91" fmla="*/ 297255 w 361950"/>
                <a:gd name="connsiteY91" fmla="*/ 157125 h 295275"/>
                <a:gd name="connsiteX92" fmla="*/ 300950 w 361950"/>
                <a:gd name="connsiteY92" fmla="*/ 157125 h 295275"/>
                <a:gd name="connsiteX93" fmla="*/ 304637 w 361950"/>
                <a:gd name="connsiteY93" fmla="*/ 157125 h 295275"/>
                <a:gd name="connsiteX94" fmla="*/ 308323 w 361950"/>
                <a:gd name="connsiteY94" fmla="*/ 160815 h 295275"/>
                <a:gd name="connsiteX95" fmla="*/ 312009 w 361950"/>
                <a:gd name="connsiteY95" fmla="*/ 160815 h 295275"/>
                <a:gd name="connsiteX96" fmla="*/ 326773 w 361950"/>
                <a:gd name="connsiteY96" fmla="*/ 149743 h 295275"/>
                <a:gd name="connsiteX97" fmla="*/ 330459 w 361950"/>
                <a:gd name="connsiteY97" fmla="*/ 142362 h 295275"/>
                <a:gd name="connsiteX98" fmla="*/ 337841 w 361950"/>
                <a:gd name="connsiteY98" fmla="*/ 134981 h 295275"/>
                <a:gd name="connsiteX99" fmla="*/ 341527 w 361950"/>
                <a:gd name="connsiteY99" fmla="*/ 127600 h 295275"/>
                <a:gd name="connsiteX100" fmla="*/ 345213 w 361950"/>
                <a:gd name="connsiteY100" fmla="*/ 123909 h 295275"/>
                <a:gd name="connsiteX101" fmla="*/ 348909 w 361950"/>
                <a:gd name="connsiteY101" fmla="*/ 116528 h 295275"/>
                <a:gd name="connsiteX102" fmla="*/ 359977 w 361950"/>
                <a:gd name="connsiteY102" fmla="*/ 94385 h 295275"/>
                <a:gd name="connsiteX103" fmla="*/ 363663 w 361950"/>
                <a:gd name="connsiteY103" fmla="*/ 87004 h 295275"/>
                <a:gd name="connsiteX104" fmla="*/ 363663 w 361950"/>
                <a:gd name="connsiteY104" fmla="*/ 83313 h 295275"/>
                <a:gd name="connsiteX105" fmla="*/ 363663 w 361950"/>
                <a:gd name="connsiteY105" fmla="*/ 75932 h 295275"/>
                <a:gd name="connsiteX106" fmla="*/ 363663 w 361950"/>
                <a:gd name="connsiteY106" fmla="*/ 57479 h 295275"/>
                <a:gd name="connsiteX107" fmla="*/ 359977 w 361950"/>
                <a:gd name="connsiteY107" fmla="*/ 50098 h 295275"/>
                <a:gd name="connsiteX108" fmla="*/ 341527 w 361950"/>
                <a:gd name="connsiteY108" fmla="*/ 31645 h 295275"/>
                <a:gd name="connsiteX109" fmla="*/ 341527 w 361950"/>
                <a:gd name="connsiteY109" fmla="*/ 27954 h 295275"/>
                <a:gd name="connsiteX110" fmla="*/ 337841 w 361950"/>
                <a:gd name="connsiteY110" fmla="*/ 27954 h 295275"/>
                <a:gd name="connsiteX111" fmla="*/ 319391 w 361950"/>
                <a:gd name="connsiteY111" fmla="*/ 27954 h 295275"/>
                <a:gd name="connsiteX112" fmla="*/ 315705 w 361950"/>
                <a:gd name="connsiteY112" fmla="*/ 27954 h 295275"/>
                <a:gd name="connsiteX113" fmla="*/ 300950 w 361950"/>
                <a:gd name="connsiteY113" fmla="*/ 24264 h 295275"/>
                <a:gd name="connsiteX114" fmla="*/ 267746 w 361950"/>
                <a:gd name="connsiteY114" fmla="*/ 13193 h 295275"/>
                <a:gd name="connsiteX115" fmla="*/ 264051 w 361950"/>
                <a:gd name="connsiteY115" fmla="*/ 13193 h 295275"/>
                <a:gd name="connsiteX116" fmla="*/ 260364 w 361950"/>
                <a:gd name="connsiteY116" fmla="*/ 5812 h 295275"/>
                <a:gd name="connsiteX117" fmla="*/ 256678 w 361950"/>
                <a:gd name="connsiteY117" fmla="*/ 5812 h 295275"/>
                <a:gd name="connsiteX118" fmla="*/ 51580 w 361950"/>
                <a:gd name="connsiteY118" fmla="*/ 157125 h 295275"/>
                <a:gd name="connsiteX119" fmla="*/ 57460 w 361950"/>
                <a:gd name="connsiteY119" fmla="*/ 153434 h 295275"/>
                <a:gd name="connsiteX120" fmla="*/ 50082 w 361950"/>
                <a:gd name="connsiteY120" fmla="*/ 157125 h 295275"/>
                <a:gd name="connsiteX121" fmla="*/ 51580 w 361950"/>
                <a:gd name="connsiteY121" fmla="*/ 157125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361950" h="295275">
                  <a:moveTo>
                    <a:pt x="256678" y="5812"/>
                  </a:moveTo>
                  <a:lnTo>
                    <a:pt x="252982" y="9502"/>
                  </a:lnTo>
                  <a:lnTo>
                    <a:pt x="227160" y="16882"/>
                  </a:lnTo>
                  <a:lnTo>
                    <a:pt x="223474" y="16882"/>
                  </a:lnTo>
                  <a:lnTo>
                    <a:pt x="219788" y="20573"/>
                  </a:lnTo>
                  <a:lnTo>
                    <a:pt x="190270" y="46407"/>
                  </a:lnTo>
                  <a:lnTo>
                    <a:pt x="190270" y="50098"/>
                  </a:lnTo>
                  <a:lnTo>
                    <a:pt x="186584" y="50098"/>
                  </a:lnTo>
                  <a:lnTo>
                    <a:pt x="171820" y="50098"/>
                  </a:lnTo>
                  <a:lnTo>
                    <a:pt x="168134" y="50098"/>
                  </a:lnTo>
                  <a:lnTo>
                    <a:pt x="168134" y="53788"/>
                  </a:lnTo>
                  <a:lnTo>
                    <a:pt x="164448" y="64860"/>
                  </a:lnTo>
                  <a:lnTo>
                    <a:pt x="164448" y="61170"/>
                  </a:lnTo>
                  <a:lnTo>
                    <a:pt x="160761" y="68551"/>
                  </a:lnTo>
                  <a:lnTo>
                    <a:pt x="160761" y="72242"/>
                  </a:lnTo>
                  <a:lnTo>
                    <a:pt x="160761" y="75932"/>
                  </a:lnTo>
                  <a:lnTo>
                    <a:pt x="160761" y="79623"/>
                  </a:lnTo>
                  <a:lnTo>
                    <a:pt x="160761" y="83313"/>
                  </a:lnTo>
                  <a:lnTo>
                    <a:pt x="153380" y="87004"/>
                  </a:lnTo>
                  <a:lnTo>
                    <a:pt x="149693" y="87004"/>
                  </a:lnTo>
                  <a:lnTo>
                    <a:pt x="145998" y="90695"/>
                  </a:lnTo>
                  <a:lnTo>
                    <a:pt x="142312" y="98075"/>
                  </a:lnTo>
                  <a:lnTo>
                    <a:pt x="138625" y="98075"/>
                  </a:lnTo>
                  <a:lnTo>
                    <a:pt x="134930" y="98075"/>
                  </a:lnTo>
                  <a:lnTo>
                    <a:pt x="134930" y="101765"/>
                  </a:lnTo>
                  <a:lnTo>
                    <a:pt x="72217" y="142362"/>
                  </a:lnTo>
                  <a:lnTo>
                    <a:pt x="61149" y="149743"/>
                  </a:lnTo>
                  <a:lnTo>
                    <a:pt x="61149" y="153434"/>
                  </a:lnTo>
                  <a:lnTo>
                    <a:pt x="57460" y="153434"/>
                  </a:lnTo>
                  <a:lnTo>
                    <a:pt x="57460" y="157125"/>
                  </a:lnTo>
                  <a:lnTo>
                    <a:pt x="53771" y="157125"/>
                  </a:lnTo>
                  <a:lnTo>
                    <a:pt x="51580" y="157125"/>
                  </a:lnTo>
                  <a:lnTo>
                    <a:pt x="27947" y="171887"/>
                  </a:lnTo>
                  <a:lnTo>
                    <a:pt x="24257" y="175578"/>
                  </a:lnTo>
                  <a:lnTo>
                    <a:pt x="9501" y="186648"/>
                  </a:lnTo>
                  <a:lnTo>
                    <a:pt x="5812" y="186648"/>
                  </a:lnTo>
                  <a:lnTo>
                    <a:pt x="5812" y="190339"/>
                  </a:lnTo>
                  <a:lnTo>
                    <a:pt x="13190" y="197723"/>
                  </a:lnTo>
                  <a:lnTo>
                    <a:pt x="13190" y="205105"/>
                  </a:lnTo>
                  <a:lnTo>
                    <a:pt x="13190" y="216173"/>
                  </a:lnTo>
                  <a:lnTo>
                    <a:pt x="9501" y="219869"/>
                  </a:lnTo>
                  <a:lnTo>
                    <a:pt x="13190" y="219869"/>
                  </a:lnTo>
                  <a:lnTo>
                    <a:pt x="16879" y="227241"/>
                  </a:lnTo>
                  <a:lnTo>
                    <a:pt x="13190" y="227241"/>
                  </a:lnTo>
                  <a:lnTo>
                    <a:pt x="16879" y="230937"/>
                  </a:lnTo>
                  <a:lnTo>
                    <a:pt x="20568" y="227241"/>
                  </a:lnTo>
                  <a:lnTo>
                    <a:pt x="24257" y="227241"/>
                  </a:lnTo>
                  <a:lnTo>
                    <a:pt x="39014" y="223555"/>
                  </a:lnTo>
                  <a:lnTo>
                    <a:pt x="42703" y="223555"/>
                  </a:lnTo>
                  <a:lnTo>
                    <a:pt x="46392" y="223555"/>
                  </a:lnTo>
                  <a:lnTo>
                    <a:pt x="50082" y="227241"/>
                  </a:lnTo>
                  <a:lnTo>
                    <a:pt x="53771" y="227241"/>
                  </a:lnTo>
                  <a:lnTo>
                    <a:pt x="57460" y="227241"/>
                  </a:lnTo>
                  <a:lnTo>
                    <a:pt x="64838" y="227241"/>
                  </a:lnTo>
                  <a:lnTo>
                    <a:pt x="75903" y="230937"/>
                  </a:lnTo>
                  <a:lnTo>
                    <a:pt x="83285" y="238319"/>
                  </a:lnTo>
                  <a:lnTo>
                    <a:pt x="94353" y="242005"/>
                  </a:lnTo>
                  <a:lnTo>
                    <a:pt x="101725" y="249387"/>
                  </a:lnTo>
                  <a:lnTo>
                    <a:pt x="134930" y="278914"/>
                  </a:lnTo>
                  <a:lnTo>
                    <a:pt x="138625" y="286296"/>
                  </a:lnTo>
                  <a:lnTo>
                    <a:pt x="142312" y="286296"/>
                  </a:lnTo>
                  <a:lnTo>
                    <a:pt x="149693" y="289982"/>
                  </a:lnTo>
                  <a:lnTo>
                    <a:pt x="157066" y="286296"/>
                  </a:lnTo>
                  <a:lnTo>
                    <a:pt x="175516" y="278914"/>
                  </a:lnTo>
                  <a:lnTo>
                    <a:pt x="179202" y="278914"/>
                  </a:lnTo>
                  <a:lnTo>
                    <a:pt x="186584" y="278914"/>
                  </a:lnTo>
                  <a:lnTo>
                    <a:pt x="190270" y="275219"/>
                  </a:lnTo>
                  <a:lnTo>
                    <a:pt x="201338" y="271532"/>
                  </a:lnTo>
                  <a:lnTo>
                    <a:pt x="205024" y="271532"/>
                  </a:lnTo>
                  <a:lnTo>
                    <a:pt x="208720" y="256769"/>
                  </a:lnTo>
                  <a:lnTo>
                    <a:pt x="212406" y="253082"/>
                  </a:lnTo>
                  <a:lnTo>
                    <a:pt x="212406" y="242005"/>
                  </a:lnTo>
                  <a:lnTo>
                    <a:pt x="216092" y="242005"/>
                  </a:lnTo>
                  <a:lnTo>
                    <a:pt x="216092" y="234623"/>
                  </a:lnTo>
                  <a:lnTo>
                    <a:pt x="216092" y="230937"/>
                  </a:lnTo>
                  <a:lnTo>
                    <a:pt x="216092" y="227241"/>
                  </a:lnTo>
                  <a:lnTo>
                    <a:pt x="216092" y="223555"/>
                  </a:lnTo>
                  <a:lnTo>
                    <a:pt x="212406" y="223555"/>
                  </a:lnTo>
                  <a:lnTo>
                    <a:pt x="212406" y="219869"/>
                  </a:lnTo>
                  <a:lnTo>
                    <a:pt x="208720" y="212487"/>
                  </a:lnTo>
                  <a:lnTo>
                    <a:pt x="212406" y="208791"/>
                  </a:lnTo>
                  <a:lnTo>
                    <a:pt x="223474" y="197723"/>
                  </a:lnTo>
                  <a:lnTo>
                    <a:pt x="230856" y="201409"/>
                  </a:lnTo>
                  <a:lnTo>
                    <a:pt x="241914" y="197723"/>
                  </a:lnTo>
                  <a:lnTo>
                    <a:pt x="245610" y="197723"/>
                  </a:lnTo>
                  <a:lnTo>
                    <a:pt x="249296" y="194027"/>
                  </a:lnTo>
                  <a:lnTo>
                    <a:pt x="245610" y="194027"/>
                  </a:lnTo>
                  <a:lnTo>
                    <a:pt x="249296" y="190339"/>
                  </a:lnTo>
                  <a:lnTo>
                    <a:pt x="252982" y="186648"/>
                  </a:lnTo>
                  <a:lnTo>
                    <a:pt x="256678" y="182958"/>
                  </a:lnTo>
                  <a:lnTo>
                    <a:pt x="267746" y="171887"/>
                  </a:lnTo>
                  <a:lnTo>
                    <a:pt x="297255" y="157125"/>
                  </a:lnTo>
                  <a:lnTo>
                    <a:pt x="300950" y="157125"/>
                  </a:lnTo>
                  <a:lnTo>
                    <a:pt x="304637" y="157125"/>
                  </a:lnTo>
                  <a:lnTo>
                    <a:pt x="308323" y="160815"/>
                  </a:lnTo>
                  <a:lnTo>
                    <a:pt x="312009" y="160815"/>
                  </a:lnTo>
                  <a:lnTo>
                    <a:pt x="326773" y="149743"/>
                  </a:lnTo>
                  <a:lnTo>
                    <a:pt x="330459" y="142362"/>
                  </a:lnTo>
                  <a:lnTo>
                    <a:pt x="337841" y="134981"/>
                  </a:lnTo>
                  <a:lnTo>
                    <a:pt x="341527" y="127600"/>
                  </a:lnTo>
                  <a:lnTo>
                    <a:pt x="345213" y="123909"/>
                  </a:lnTo>
                  <a:lnTo>
                    <a:pt x="348909" y="116528"/>
                  </a:lnTo>
                  <a:lnTo>
                    <a:pt x="359977" y="94385"/>
                  </a:lnTo>
                  <a:lnTo>
                    <a:pt x="363663" y="87004"/>
                  </a:lnTo>
                  <a:lnTo>
                    <a:pt x="363663" y="83313"/>
                  </a:lnTo>
                  <a:lnTo>
                    <a:pt x="363663" y="75932"/>
                  </a:lnTo>
                  <a:lnTo>
                    <a:pt x="363663" y="57479"/>
                  </a:lnTo>
                  <a:lnTo>
                    <a:pt x="359977" y="50098"/>
                  </a:lnTo>
                  <a:lnTo>
                    <a:pt x="341527" y="31645"/>
                  </a:lnTo>
                  <a:lnTo>
                    <a:pt x="341527" y="27954"/>
                  </a:lnTo>
                  <a:lnTo>
                    <a:pt x="337841" y="27954"/>
                  </a:lnTo>
                  <a:lnTo>
                    <a:pt x="319391" y="27954"/>
                  </a:lnTo>
                  <a:lnTo>
                    <a:pt x="315705" y="27954"/>
                  </a:lnTo>
                  <a:lnTo>
                    <a:pt x="300950" y="24264"/>
                  </a:lnTo>
                  <a:lnTo>
                    <a:pt x="267746" y="13193"/>
                  </a:lnTo>
                  <a:lnTo>
                    <a:pt x="264051" y="13193"/>
                  </a:lnTo>
                  <a:lnTo>
                    <a:pt x="260364" y="5812"/>
                  </a:lnTo>
                  <a:lnTo>
                    <a:pt x="256678" y="5812"/>
                  </a:lnTo>
                  <a:close/>
                  <a:moveTo>
                    <a:pt x="51580" y="157125"/>
                  </a:moveTo>
                  <a:lnTo>
                    <a:pt x="57460" y="153434"/>
                  </a:lnTo>
                  <a:lnTo>
                    <a:pt x="50082" y="157125"/>
                  </a:lnTo>
                  <a:lnTo>
                    <a:pt x="51580" y="157125"/>
                  </a:lnTo>
                  <a:close/>
                </a:path>
              </a:pathLst>
            </a:custGeom>
            <a:solidFill>
              <a:srgbClr val="22777B"/>
            </a:solidFill>
            <a:ln w="12821" cap="flat">
              <a:solidFill>
                <a:schemeClr val="bg1"/>
              </a:solidFill>
              <a:prstDash val="solid"/>
              <a:round/>
            </a:ln>
          </p:spPr>
          <p:txBody>
            <a:bodyPr rot="0" spcFirstLastPara="0" vertOverflow="overflow" horzOverflow="overflow" vert="horz" wrap="square" lIns="216000" tIns="45720" rIns="91440" bIns="252000" numCol="1" spcCol="0" rtlCol="0" fromWordArt="0" anchor="ctr" anchorCtr="0" forceAA="0" compatLnSpc="1">
              <a:prstTxWarp prst="textNoShape">
                <a:avLst/>
              </a:prstTxWarp>
              <a:noAutofit/>
            </a:bodyPr>
            <a:lstStyle/>
            <a:p>
              <a:pPr marL="0" indent="0" algn="ctr">
                <a:buNone/>
              </a:pPr>
              <a:endParaRPr lang="nl-NL" sz="800" b="1" dirty="0">
                <a:solidFill>
                  <a:srgbClr val="FFFFFF"/>
                </a:solidFill>
                <a:latin typeface="+mj-lt"/>
                <a:cs typeface="Arial" panose="020B0604020202020204" pitchFamily="34" charset="0"/>
              </a:endParaRPr>
            </a:p>
          </p:txBody>
        </p:sp>
        <p:sp>
          <p:nvSpPr>
            <p:cNvPr id="298" name="Freeform: Shape 297">
              <a:extLst>
                <a:ext uri="{FF2B5EF4-FFF2-40B4-BE49-F238E27FC236}">
                  <a16:creationId xmlns:a16="http://schemas.microsoft.com/office/drawing/2014/main" id="{89318371-4390-4E74-83F4-356E2C4FE7A5}"/>
                </a:ext>
              </a:extLst>
            </p:cNvPr>
            <p:cNvSpPr/>
            <p:nvPr/>
          </p:nvSpPr>
          <p:spPr>
            <a:xfrm>
              <a:off x="9493896" y="3330587"/>
              <a:ext cx="338200" cy="307454"/>
            </a:xfrm>
            <a:custGeom>
              <a:avLst/>
              <a:gdLst>
                <a:gd name="connsiteX0" fmla="*/ 68524 w 209550"/>
                <a:gd name="connsiteY0" fmla="*/ 5812 h 190500"/>
                <a:gd name="connsiteX1" fmla="*/ 72220 w 209550"/>
                <a:gd name="connsiteY1" fmla="*/ 13193 h 190500"/>
                <a:gd name="connsiteX2" fmla="*/ 64838 w 209550"/>
                <a:gd name="connsiteY2" fmla="*/ 9503 h 190500"/>
                <a:gd name="connsiteX3" fmla="*/ 64838 w 209550"/>
                <a:gd name="connsiteY3" fmla="*/ 13193 h 190500"/>
                <a:gd name="connsiteX4" fmla="*/ 61152 w 209550"/>
                <a:gd name="connsiteY4" fmla="*/ 13193 h 190500"/>
                <a:gd name="connsiteX5" fmla="*/ 42702 w 209550"/>
                <a:gd name="connsiteY5" fmla="*/ 16883 h 190500"/>
                <a:gd name="connsiteX6" fmla="*/ 39016 w 209550"/>
                <a:gd name="connsiteY6" fmla="*/ 16883 h 190500"/>
                <a:gd name="connsiteX7" fmla="*/ 39016 w 209550"/>
                <a:gd name="connsiteY7" fmla="*/ 20574 h 190500"/>
                <a:gd name="connsiteX8" fmla="*/ 27948 w 209550"/>
                <a:gd name="connsiteY8" fmla="*/ 39027 h 190500"/>
                <a:gd name="connsiteX9" fmla="*/ 9498 w 209550"/>
                <a:gd name="connsiteY9" fmla="*/ 68552 h 190500"/>
                <a:gd name="connsiteX10" fmla="*/ 9498 w 209550"/>
                <a:gd name="connsiteY10" fmla="*/ 72242 h 190500"/>
                <a:gd name="connsiteX11" fmla="*/ 5812 w 209550"/>
                <a:gd name="connsiteY11" fmla="*/ 83314 h 190500"/>
                <a:gd name="connsiteX12" fmla="*/ 5812 w 209550"/>
                <a:gd name="connsiteY12" fmla="*/ 120219 h 190500"/>
                <a:gd name="connsiteX13" fmla="*/ 5812 w 209550"/>
                <a:gd name="connsiteY13" fmla="*/ 138672 h 190500"/>
                <a:gd name="connsiteX14" fmla="*/ 5812 w 209550"/>
                <a:gd name="connsiteY14" fmla="*/ 146054 h 190500"/>
                <a:gd name="connsiteX15" fmla="*/ 5812 w 209550"/>
                <a:gd name="connsiteY15" fmla="*/ 149744 h 190500"/>
                <a:gd name="connsiteX16" fmla="*/ 5812 w 209550"/>
                <a:gd name="connsiteY16" fmla="*/ 153435 h 190500"/>
                <a:gd name="connsiteX17" fmla="*/ 9498 w 209550"/>
                <a:gd name="connsiteY17" fmla="*/ 153435 h 190500"/>
                <a:gd name="connsiteX18" fmla="*/ 13184 w 209550"/>
                <a:gd name="connsiteY18" fmla="*/ 157125 h 190500"/>
                <a:gd name="connsiteX19" fmla="*/ 16880 w 209550"/>
                <a:gd name="connsiteY19" fmla="*/ 160816 h 190500"/>
                <a:gd name="connsiteX20" fmla="*/ 24252 w 209550"/>
                <a:gd name="connsiteY20" fmla="*/ 171888 h 190500"/>
                <a:gd name="connsiteX21" fmla="*/ 35320 w 209550"/>
                <a:gd name="connsiteY21" fmla="*/ 186649 h 190500"/>
                <a:gd name="connsiteX22" fmla="*/ 39016 w 209550"/>
                <a:gd name="connsiteY22" fmla="*/ 190340 h 190500"/>
                <a:gd name="connsiteX23" fmla="*/ 42702 w 209550"/>
                <a:gd name="connsiteY23" fmla="*/ 190340 h 190500"/>
                <a:gd name="connsiteX24" fmla="*/ 79592 w 209550"/>
                <a:gd name="connsiteY24" fmla="*/ 190340 h 190500"/>
                <a:gd name="connsiteX25" fmla="*/ 83278 w 209550"/>
                <a:gd name="connsiteY25" fmla="*/ 190340 h 190500"/>
                <a:gd name="connsiteX26" fmla="*/ 94346 w 209550"/>
                <a:gd name="connsiteY26" fmla="*/ 190340 h 190500"/>
                <a:gd name="connsiteX27" fmla="*/ 123864 w 209550"/>
                <a:gd name="connsiteY27" fmla="*/ 190340 h 190500"/>
                <a:gd name="connsiteX28" fmla="*/ 127551 w 209550"/>
                <a:gd name="connsiteY28" fmla="*/ 190340 h 190500"/>
                <a:gd name="connsiteX29" fmla="*/ 157069 w 209550"/>
                <a:gd name="connsiteY29" fmla="*/ 182959 h 190500"/>
                <a:gd name="connsiteX30" fmla="*/ 160755 w 209550"/>
                <a:gd name="connsiteY30" fmla="*/ 186649 h 190500"/>
                <a:gd name="connsiteX31" fmla="*/ 164441 w 209550"/>
                <a:gd name="connsiteY31" fmla="*/ 190340 h 190500"/>
                <a:gd name="connsiteX32" fmla="*/ 171823 w 209550"/>
                <a:gd name="connsiteY32" fmla="*/ 186649 h 190500"/>
                <a:gd name="connsiteX33" fmla="*/ 175509 w 209550"/>
                <a:gd name="connsiteY33" fmla="*/ 186649 h 190500"/>
                <a:gd name="connsiteX34" fmla="*/ 182891 w 209550"/>
                <a:gd name="connsiteY34" fmla="*/ 182959 h 190500"/>
                <a:gd name="connsiteX35" fmla="*/ 182891 w 209550"/>
                <a:gd name="connsiteY35" fmla="*/ 179269 h 190500"/>
                <a:gd name="connsiteX36" fmla="*/ 193959 w 209550"/>
                <a:gd name="connsiteY36" fmla="*/ 175578 h 190500"/>
                <a:gd name="connsiteX37" fmla="*/ 197645 w 209550"/>
                <a:gd name="connsiteY37" fmla="*/ 175578 h 190500"/>
                <a:gd name="connsiteX38" fmla="*/ 208713 w 209550"/>
                <a:gd name="connsiteY38" fmla="*/ 168197 h 190500"/>
                <a:gd name="connsiteX39" fmla="*/ 212409 w 209550"/>
                <a:gd name="connsiteY39" fmla="*/ 164507 h 190500"/>
                <a:gd name="connsiteX40" fmla="*/ 208713 w 209550"/>
                <a:gd name="connsiteY40" fmla="*/ 157125 h 190500"/>
                <a:gd name="connsiteX41" fmla="*/ 201341 w 209550"/>
                <a:gd name="connsiteY41" fmla="*/ 157125 h 190500"/>
                <a:gd name="connsiteX42" fmla="*/ 197645 w 209550"/>
                <a:gd name="connsiteY42" fmla="*/ 153435 h 190500"/>
                <a:gd name="connsiteX43" fmla="*/ 193959 w 209550"/>
                <a:gd name="connsiteY43" fmla="*/ 149744 h 190500"/>
                <a:gd name="connsiteX44" fmla="*/ 186577 w 209550"/>
                <a:gd name="connsiteY44" fmla="*/ 146054 h 190500"/>
                <a:gd name="connsiteX45" fmla="*/ 182891 w 209550"/>
                <a:gd name="connsiteY45" fmla="*/ 146054 h 190500"/>
                <a:gd name="connsiteX46" fmla="*/ 175509 w 209550"/>
                <a:gd name="connsiteY46" fmla="*/ 142363 h 190500"/>
                <a:gd name="connsiteX47" fmla="*/ 175509 w 209550"/>
                <a:gd name="connsiteY47" fmla="*/ 146054 h 190500"/>
                <a:gd name="connsiteX48" fmla="*/ 171823 w 209550"/>
                <a:gd name="connsiteY48" fmla="*/ 146054 h 190500"/>
                <a:gd name="connsiteX49" fmla="*/ 171823 w 209550"/>
                <a:gd name="connsiteY49" fmla="*/ 142363 h 190500"/>
                <a:gd name="connsiteX50" fmla="*/ 171823 w 209550"/>
                <a:gd name="connsiteY50" fmla="*/ 138672 h 190500"/>
                <a:gd name="connsiteX51" fmla="*/ 175509 w 209550"/>
                <a:gd name="connsiteY51" fmla="*/ 134982 h 190500"/>
                <a:gd name="connsiteX52" fmla="*/ 179205 w 209550"/>
                <a:gd name="connsiteY52" fmla="*/ 131291 h 190500"/>
                <a:gd name="connsiteX53" fmla="*/ 186577 w 209550"/>
                <a:gd name="connsiteY53" fmla="*/ 127600 h 190500"/>
                <a:gd name="connsiteX54" fmla="*/ 186577 w 209550"/>
                <a:gd name="connsiteY54" fmla="*/ 123910 h 190500"/>
                <a:gd name="connsiteX55" fmla="*/ 186577 w 209550"/>
                <a:gd name="connsiteY55" fmla="*/ 120219 h 190500"/>
                <a:gd name="connsiteX56" fmla="*/ 182891 w 209550"/>
                <a:gd name="connsiteY56" fmla="*/ 116529 h 190500"/>
                <a:gd name="connsiteX57" fmla="*/ 182891 w 209550"/>
                <a:gd name="connsiteY57" fmla="*/ 112838 h 190500"/>
                <a:gd name="connsiteX58" fmla="*/ 179205 w 209550"/>
                <a:gd name="connsiteY58" fmla="*/ 109147 h 190500"/>
                <a:gd name="connsiteX59" fmla="*/ 175509 w 209550"/>
                <a:gd name="connsiteY59" fmla="*/ 109147 h 190500"/>
                <a:gd name="connsiteX60" fmla="*/ 175509 w 209550"/>
                <a:gd name="connsiteY60" fmla="*/ 105457 h 190500"/>
                <a:gd name="connsiteX61" fmla="*/ 168137 w 209550"/>
                <a:gd name="connsiteY61" fmla="*/ 90695 h 190500"/>
                <a:gd name="connsiteX62" fmla="*/ 164441 w 209550"/>
                <a:gd name="connsiteY62" fmla="*/ 79623 h 190500"/>
                <a:gd name="connsiteX63" fmla="*/ 157069 w 209550"/>
                <a:gd name="connsiteY63" fmla="*/ 72242 h 190500"/>
                <a:gd name="connsiteX64" fmla="*/ 153373 w 209550"/>
                <a:gd name="connsiteY64" fmla="*/ 72242 h 190500"/>
                <a:gd name="connsiteX65" fmla="*/ 149687 w 209550"/>
                <a:gd name="connsiteY65" fmla="*/ 68552 h 190500"/>
                <a:gd name="connsiteX66" fmla="*/ 146001 w 209550"/>
                <a:gd name="connsiteY66" fmla="*/ 61171 h 190500"/>
                <a:gd name="connsiteX67" fmla="*/ 134932 w 209550"/>
                <a:gd name="connsiteY67" fmla="*/ 57480 h 190500"/>
                <a:gd name="connsiteX68" fmla="*/ 131246 w 209550"/>
                <a:gd name="connsiteY68" fmla="*/ 53789 h 190500"/>
                <a:gd name="connsiteX69" fmla="*/ 123864 w 209550"/>
                <a:gd name="connsiteY69" fmla="*/ 53789 h 190500"/>
                <a:gd name="connsiteX70" fmla="*/ 116483 w 209550"/>
                <a:gd name="connsiteY70" fmla="*/ 53789 h 190500"/>
                <a:gd name="connsiteX71" fmla="*/ 116483 w 209550"/>
                <a:gd name="connsiteY71" fmla="*/ 50099 h 190500"/>
                <a:gd name="connsiteX72" fmla="*/ 112796 w 209550"/>
                <a:gd name="connsiteY72" fmla="*/ 46408 h 190500"/>
                <a:gd name="connsiteX73" fmla="*/ 109110 w 209550"/>
                <a:gd name="connsiteY73" fmla="*/ 42717 h 190500"/>
                <a:gd name="connsiteX74" fmla="*/ 105414 w 209550"/>
                <a:gd name="connsiteY74" fmla="*/ 35336 h 190500"/>
                <a:gd name="connsiteX75" fmla="*/ 101728 w 209550"/>
                <a:gd name="connsiteY75" fmla="*/ 39027 h 190500"/>
                <a:gd name="connsiteX76" fmla="*/ 101728 w 209550"/>
                <a:gd name="connsiteY76" fmla="*/ 35336 h 190500"/>
                <a:gd name="connsiteX77" fmla="*/ 98042 w 209550"/>
                <a:gd name="connsiteY77" fmla="*/ 27955 h 190500"/>
                <a:gd name="connsiteX78" fmla="*/ 83278 w 209550"/>
                <a:gd name="connsiteY78" fmla="*/ 9503 h 190500"/>
                <a:gd name="connsiteX79" fmla="*/ 79592 w 209550"/>
                <a:gd name="connsiteY79" fmla="*/ 9503 h 190500"/>
                <a:gd name="connsiteX80" fmla="*/ 68524 w 209550"/>
                <a:gd name="connsiteY80" fmla="*/ 5812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209550" h="190500">
                  <a:moveTo>
                    <a:pt x="68524" y="5812"/>
                  </a:moveTo>
                  <a:lnTo>
                    <a:pt x="72220" y="13193"/>
                  </a:lnTo>
                  <a:lnTo>
                    <a:pt x="64838" y="9503"/>
                  </a:lnTo>
                  <a:lnTo>
                    <a:pt x="64838" y="13193"/>
                  </a:lnTo>
                  <a:lnTo>
                    <a:pt x="61152" y="13193"/>
                  </a:lnTo>
                  <a:lnTo>
                    <a:pt x="42702" y="16883"/>
                  </a:lnTo>
                  <a:lnTo>
                    <a:pt x="39016" y="16883"/>
                  </a:lnTo>
                  <a:lnTo>
                    <a:pt x="39016" y="20574"/>
                  </a:lnTo>
                  <a:lnTo>
                    <a:pt x="27948" y="39027"/>
                  </a:lnTo>
                  <a:lnTo>
                    <a:pt x="9498" y="68552"/>
                  </a:lnTo>
                  <a:lnTo>
                    <a:pt x="9498" y="72242"/>
                  </a:lnTo>
                  <a:lnTo>
                    <a:pt x="5812" y="83314"/>
                  </a:lnTo>
                  <a:lnTo>
                    <a:pt x="5812" y="120219"/>
                  </a:lnTo>
                  <a:lnTo>
                    <a:pt x="5812" y="138672"/>
                  </a:lnTo>
                  <a:lnTo>
                    <a:pt x="5812" y="146054"/>
                  </a:lnTo>
                  <a:lnTo>
                    <a:pt x="5812" y="149744"/>
                  </a:lnTo>
                  <a:lnTo>
                    <a:pt x="5812" y="153435"/>
                  </a:lnTo>
                  <a:lnTo>
                    <a:pt x="9498" y="153435"/>
                  </a:lnTo>
                  <a:lnTo>
                    <a:pt x="13184" y="157125"/>
                  </a:lnTo>
                  <a:lnTo>
                    <a:pt x="16880" y="160816"/>
                  </a:lnTo>
                  <a:lnTo>
                    <a:pt x="24252" y="171888"/>
                  </a:lnTo>
                  <a:lnTo>
                    <a:pt x="35320" y="186649"/>
                  </a:lnTo>
                  <a:lnTo>
                    <a:pt x="39016" y="190340"/>
                  </a:lnTo>
                  <a:lnTo>
                    <a:pt x="42702" y="190340"/>
                  </a:lnTo>
                  <a:lnTo>
                    <a:pt x="79592" y="190340"/>
                  </a:lnTo>
                  <a:lnTo>
                    <a:pt x="83278" y="190340"/>
                  </a:lnTo>
                  <a:lnTo>
                    <a:pt x="94346" y="190340"/>
                  </a:lnTo>
                  <a:lnTo>
                    <a:pt x="123864" y="190340"/>
                  </a:lnTo>
                  <a:lnTo>
                    <a:pt x="127551" y="190340"/>
                  </a:lnTo>
                  <a:lnTo>
                    <a:pt x="157069" y="182959"/>
                  </a:lnTo>
                  <a:lnTo>
                    <a:pt x="160755" y="186649"/>
                  </a:lnTo>
                  <a:lnTo>
                    <a:pt x="164441" y="190340"/>
                  </a:lnTo>
                  <a:lnTo>
                    <a:pt x="171823" y="186649"/>
                  </a:lnTo>
                  <a:lnTo>
                    <a:pt x="175509" y="186649"/>
                  </a:lnTo>
                  <a:lnTo>
                    <a:pt x="182891" y="182959"/>
                  </a:lnTo>
                  <a:lnTo>
                    <a:pt x="182891" y="179269"/>
                  </a:lnTo>
                  <a:lnTo>
                    <a:pt x="193959" y="175578"/>
                  </a:lnTo>
                  <a:lnTo>
                    <a:pt x="197645" y="175578"/>
                  </a:lnTo>
                  <a:lnTo>
                    <a:pt x="208713" y="168197"/>
                  </a:lnTo>
                  <a:lnTo>
                    <a:pt x="212409" y="164507"/>
                  </a:lnTo>
                  <a:lnTo>
                    <a:pt x="208713" y="157125"/>
                  </a:lnTo>
                  <a:lnTo>
                    <a:pt x="201341" y="157125"/>
                  </a:lnTo>
                  <a:lnTo>
                    <a:pt x="197645" y="153435"/>
                  </a:lnTo>
                  <a:lnTo>
                    <a:pt x="193959" y="149744"/>
                  </a:lnTo>
                  <a:lnTo>
                    <a:pt x="186577" y="146054"/>
                  </a:lnTo>
                  <a:lnTo>
                    <a:pt x="182891" y="146054"/>
                  </a:lnTo>
                  <a:lnTo>
                    <a:pt x="175509" y="142363"/>
                  </a:lnTo>
                  <a:lnTo>
                    <a:pt x="175509" y="146054"/>
                  </a:lnTo>
                  <a:lnTo>
                    <a:pt x="171823" y="146054"/>
                  </a:lnTo>
                  <a:lnTo>
                    <a:pt x="171823" y="142363"/>
                  </a:lnTo>
                  <a:lnTo>
                    <a:pt x="171823" y="138672"/>
                  </a:lnTo>
                  <a:lnTo>
                    <a:pt x="175509" y="134982"/>
                  </a:lnTo>
                  <a:lnTo>
                    <a:pt x="179205" y="131291"/>
                  </a:lnTo>
                  <a:lnTo>
                    <a:pt x="186577" y="127600"/>
                  </a:lnTo>
                  <a:lnTo>
                    <a:pt x="186577" y="123910"/>
                  </a:lnTo>
                  <a:lnTo>
                    <a:pt x="186577" y="120219"/>
                  </a:lnTo>
                  <a:lnTo>
                    <a:pt x="182891" y="116529"/>
                  </a:lnTo>
                  <a:lnTo>
                    <a:pt x="182891" y="112838"/>
                  </a:lnTo>
                  <a:lnTo>
                    <a:pt x="179205" y="109147"/>
                  </a:lnTo>
                  <a:lnTo>
                    <a:pt x="175509" y="109147"/>
                  </a:lnTo>
                  <a:lnTo>
                    <a:pt x="175509" y="105457"/>
                  </a:lnTo>
                  <a:lnTo>
                    <a:pt x="168137" y="90695"/>
                  </a:lnTo>
                  <a:lnTo>
                    <a:pt x="164441" y="79623"/>
                  </a:lnTo>
                  <a:lnTo>
                    <a:pt x="157069" y="72242"/>
                  </a:lnTo>
                  <a:lnTo>
                    <a:pt x="153373" y="72242"/>
                  </a:lnTo>
                  <a:lnTo>
                    <a:pt x="149687" y="68552"/>
                  </a:lnTo>
                  <a:lnTo>
                    <a:pt x="146001" y="61171"/>
                  </a:lnTo>
                  <a:lnTo>
                    <a:pt x="134932" y="57480"/>
                  </a:lnTo>
                  <a:lnTo>
                    <a:pt x="131246" y="53789"/>
                  </a:lnTo>
                  <a:lnTo>
                    <a:pt x="123864" y="53789"/>
                  </a:lnTo>
                  <a:lnTo>
                    <a:pt x="116483" y="53789"/>
                  </a:lnTo>
                  <a:lnTo>
                    <a:pt x="116483" y="50099"/>
                  </a:lnTo>
                  <a:lnTo>
                    <a:pt x="112796" y="46408"/>
                  </a:lnTo>
                  <a:lnTo>
                    <a:pt x="109110" y="42717"/>
                  </a:lnTo>
                  <a:lnTo>
                    <a:pt x="105414" y="35336"/>
                  </a:lnTo>
                  <a:lnTo>
                    <a:pt x="101728" y="39027"/>
                  </a:lnTo>
                  <a:lnTo>
                    <a:pt x="101728" y="35336"/>
                  </a:lnTo>
                  <a:lnTo>
                    <a:pt x="98042" y="27955"/>
                  </a:lnTo>
                  <a:lnTo>
                    <a:pt x="83278" y="9503"/>
                  </a:lnTo>
                  <a:lnTo>
                    <a:pt x="79592" y="9503"/>
                  </a:lnTo>
                  <a:lnTo>
                    <a:pt x="68524" y="5812"/>
                  </a:lnTo>
                  <a:close/>
                </a:path>
              </a:pathLst>
            </a:custGeom>
            <a:solidFill>
              <a:srgbClr val="22777B"/>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299" name="Freeform: Shape 298">
              <a:extLst>
                <a:ext uri="{FF2B5EF4-FFF2-40B4-BE49-F238E27FC236}">
                  <a16:creationId xmlns:a16="http://schemas.microsoft.com/office/drawing/2014/main" id="{998B7C2E-A455-4FC3-AC5E-41D05F0D03D2}"/>
                </a:ext>
              </a:extLst>
            </p:cNvPr>
            <p:cNvSpPr/>
            <p:nvPr/>
          </p:nvSpPr>
          <p:spPr>
            <a:xfrm>
              <a:off x="9601075" y="3640315"/>
              <a:ext cx="30745" cy="30745"/>
            </a:xfrm>
            <a:custGeom>
              <a:avLst/>
              <a:gdLst>
                <a:gd name="connsiteX0" fmla="*/ 9498 w 19050"/>
                <a:gd name="connsiteY0" fmla="*/ 5812 h 19050"/>
                <a:gd name="connsiteX1" fmla="*/ 13184 w 19050"/>
                <a:gd name="connsiteY1" fmla="*/ 5812 h 19050"/>
                <a:gd name="connsiteX2" fmla="*/ 16870 w 19050"/>
                <a:gd name="connsiteY2" fmla="*/ 5812 h 19050"/>
                <a:gd name="connsiteX3" fmla="*/ 16870 w 19050"/>
                <a:gd name="connsiteY3" fmla="*/ 5812 h 19050"/>
                <a:gd name="connsiteX4" fmla="*/ 20566 w 19050"/>
                <a:gd name="connsiteY4" fmla="*/ 9503 h 19050"/>
                <a:gd name="connsiteX5" fmla="*/ 16870 w 19050"/>
                <a:gd name="connsiteY5" fmla="*/ 13193 h 19050"/>
                <a:gd name="connsiteX6" fmla="*/ 16870 w 19050"/>
                <a:gd name="connsiteY6" fmla="*/ 13193 h 19050"/>
                <a:gd name="connsiteX7" fmla="*/ 13184 w 19050"/>
                <a:gd name="connsiteY7" fmla="*/ 13193 h 19050"/>
                <a:gd name="connsiteX8" fmla="*/ 13184 w 19050"/>
                <a:gd name="connsiteY8" fmla="*/ 13193 h 19050"/>
                <a:gd name="connsiteX9" fmla="*/ 13184 w 19050"/>
                <a:gd name="connsiteY9" fmla="*/ 13193 h 19050"/>
                <a:gd name="connsiteX10" fmla="*/ 13184 w 19050"/>
                <a:gd name="connsiteY10" fmla="*/ 16883 h 19050"/>
                <a:gd name="connsiteX11" fmla="*/ 13184 w 19050"/>
                <a:gd name="connsiteY11" fmla="*/ 16883 h 19050"/>
                <a:gd name="connsiteX12" fmla="*/ 13184 w 19050"/>
                <a:gd name="connsiteY12" fmla="*/ 16883 h 19050"/>
                <a:gd name="connsiteX13" fmla="*/ 9498 w 19050"/>
                <a:gd name="connsiteY13" fmla="*/ 13193 h 19050"/>
                <a:gd name="connsiteX14" fmla="*/ 9498 w 19050"/>
                <a:gd name="connsiteY14" fmla="*/ 13193 h 19050"/>
                <a:gd name="connsiteX15" fmla="*/ 9498 w 19050"/>
                <a:gd name="connsiteY15" fmla="*/ 9503 h 19050"/>
                <a:gd name="connsiteX16" fmla="*/ 5812 w 19050"/>
                <a:gd name="connsiteY16" fmla="*/ 9503 h 19050"/>
                <a:gd name="connsiteX17" fmla="*/ 5812 w 19050"/>
                <a:gd name="connsiteY17" fmla="*/ 5812 h 19050"/>
                <a:gd name="connsiteX18" fmla="*/ 9498 w 19050"/>
                <a:gd name="connsiteY18" fmla="*/ 5812 h 19050"/>
                <a:gd name="connsiteX19" fmla="*/ 9498 w 19050"/>
                <a:gd name="connsiteY19"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050" h="19050">
                  <a:moveTo>
                    <a:pt x="9498" y="5812"/>
                  </a:moveTo>
                  <a:lnTo>
                    <a:pt x="13184" y="5812"/>
                  </a:lnTo>
                  <a:lnTo>
                    <a:pt x="16870" y="5812"/>
                  </a:lnTo>
                  <a:lnTo>
                    <a:pt x="16870" y="5812"/>
                  </a:lnTo>
                  <a:lnTo>
                    <a:pt x="20566" y="9503"/>
                  </a:lnTo>
                  <a:lnTo>
                    <a:pt x="16870" y="13193"/>
                  </a:lnTo>
                  <a:lnTo>
                    <a:pt x="16870" y="13193"/>
                  </a:lnTo>
                  <a:lnTo>
                    <a:pt x="13184" y="13193"/>
                  </a:lnTo>
                  <a:lnTo>
                    <a:pt x="13184" y="13193"/>
                  </a:lnTo>
                  <a:lnTo>
                    <a:pt x="13184" y="13193"/>
                  </a:lnTo>
                  <a:lnTo>
                    <a:pt x="13184" y="16883"/>
                  </a:lnTo>
                  <a:lnTo>
                    <a:pt x="13184" y="16883"/>
                  </a:lnTo>
                  <a:lnTo>
                    <a:pt x="13184" y="16883"/>
                  </a:lnTo>
                  <a:lnTo>
                    <a:pt x="9498" y="13193"/>
                  </a:lnTo>
                  <a:lnTo>
                    <a:pt x="9498" y="13193"/>
                  </a:lnTo>
                  <a:lnTo>
                    <a:pt x="9498" y="9503"/>
                  </a:lnTo>
                  <a:lnTo>
                    <a:pt x="5812" y="9503"/>
                  </a:lnTo>
                  <a:lnTo>
                    <a:pt x="5812" y="5812"/>
                  </a:lnTo>
                  <a:lnTo>
                    <a:pt x="9498" y="5812"/>
                  </a:lnTo>
                  <a:lnTo>
                    <a:pt x="9498" y="5812"/>
                  </a:lnTo>
                  <a:close/>
                </a:path>
              </a:pathLst>
            </a:custGeom>
            <a:solidFill>
              <a:schemeClr val="accent3">
                <a:lumMod val="20000"/>
                <a:lumOff val="80000"/>
              </a:schemeClr>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00" name="Freeform: Shape 299">
              <a:extLst>
                <a:ext uri="{FF2B5EF4-FFF2-40B4-BE49-F238E27FC236}">
                  <a16:creationId xmlns:a16="http://schemas.microsoft.com/office/drawing/2014/main" id="{B2A0EF60-5872-45C3-9467-17B6DD1BC95A}"/>
                </a:ext>
              </a:extLst>
            </p:cNvPr>
            <p:cNvSpPr/>
            <p:nvPr/>
          </p:nvSpPr>
          <p:spPr>
            <a:xfrm>
              <a:off x="9249778" y="3527144"/>
              <a:ext cx="153727" cy="230591"/>
            </a:xfrm>
            <a:custGeom>
              <a:avLst/>
              <a:gdLst>
                <a:gd name="connsiteX0" fmla="*/ 9498 w 95250"/>
                <a:gd name="connsiteY0" fmla="*/ 5812 h 142875"/>
                <a:gd name="connsiteX1" fmla="*/ 9498 w 95250"/>
                <a:gd name="connsiteY1" fmla="*/ 5812 h 142875"/>
                <a:gd name="connsiteX2" fmla="*/ 16880 w 95250"/>
                <a:gd name="connsiteY2" fmla="*/ 5812 h 142875"/>
                <a:gd name="connsiteX3" fmla="*/ 42702 w 95250"/>
                <a:gd name="connsiteY3" fmla="*/ 16883 h 142875"/>
                <a:gd name="connsiteX4" fmla="*/ 46388 w 95250"/>
                <a:gd name="connsiteY4" fmla="*/ 20574 h 142875"/>
                <a:gd name="connsiteX5" fmla="*/ 64838 w 95250"/>
                <a:gd name="connsiteY5" fmla="*/ 39027 h 142875"/>
                <a:gd name="connsiteX6" fmla="*/ 72220 w 95250"/>
                <a:gd name="connsiteY6" fmla="*/ 50099 h 142875"/>
                <a:gd name="connsiteX7" fmla="*/ 72220 w 95250"/>
                <a:gd name="connsiteY7" fmla="*/ 53789 h 142875"/>
                <a:gd name="connsiteX8" fmla="*/ 90660 w 95250"/>
                <a:gd name="connsiteY8" fmla="*/ 83314 h 142875"/>
                <a:gd name="connsiteX9" fmla="*/ 98042 w 95250"/>
                <a:gd name="connsiteY9" fmla="*/ 101766 h 142875"/>
                <a:gd name="connsiteX10" fmla="*/ 98042 w 95250"/>
                <a:gd name="connsiteY10" fmla="*/ 105457 h 142875"/>
                <a:gd name="connsiteX11" fmla="*/ 94346 w 95250"/>
                <a:gd name="connsiteY11" fmla="*/ 105457 h 142875"/>
                <a:gd name="connsiteX12" fmla="*/ 90660 w 95250"/>
                <a:gd name="connsiteY12" fmla="*/ 109148 h 142875"/>
                <a:gd name="connsiteX13" fmla="*/ 83288 w 95250"/>
                <a:gd name="connsiteY13" fmla="*/ 112838 h 142875"/>
                <a:gd name="connsiteX14" fmla="*/ 79592 w 95250"/>
                <a:gd name="connsiteY14" fmla="*/ 127601 h 142875"/>
                <a:gd name="connsiteX15" fmla="*/ 75906 w 95250"/>
                <a:gd name="connsiteY15" fmla="*/ 134982 h 142875"/>
                <a:gd name="connsiteX16" fmla="*/ 79592 w 95250"/>
                <a:gd name="connsiteY16" fmla="*/ 134982 h 142875"/>
                <a:gd name="connsiteX17" fmla="*/ 79592 w 95250"/>
                <a:gd name="connsiteY17" fmla="*/ 134982 h 142875"/>
                <a:gd name="connsiteX18" fmla="*/ 75906 w 95250"/>
                <a:gd name="connsiteY18" fmla="*/ 142363 h 142875"/>
                <a:gd name="connsiteX19" fmla="*/ 75906 w 95250"/>
                <a:gd name="connsiteY19" fmla="*/ 134982 h 142875"/>
                <a:gd name="connsiteX20" fmla="*/ 75906 w 95250"/>
                <a:gd name="connsiteY20" fmla="*/ 134982 h 142875"/>
                <a:gd name="connsiteX21" fmla="*/ 79592 w 95250"/>
                <a:gd name="connsiteY21" fmla="*/ 127601 h 142875"/>
                <a:gd name="connsiteX22" fmla="*/ 83288 w 95250"/>
                <a:gd name="connsiteY22" fmla="*/ 112838 h 142875"/>
                <a:gd name="connsiteX23" fmla="*/ 86974 w 95250"/>
                <a:gd name="connsiteY23" fmla="*/ 109148 h 142875"/>
                <a:gd name="connsiteX24" fmla="*/ 94346 w 95250"/>
                <a:gd name="connsiteY24" fmla="*/ 105457 h 142875"/>
                <a:gd name="connsiteX25" fmla="*/ 98042 w 95250"/>
                <a:gd name="connsiteY25" fmla="*/ 105457 h 142875"/>
                <a:gd name="connsiteX26" fmla="*/ 98042 w 95250"/>
                <a:gd name="connsiteY26" fmla="*/ 101766 h 142875"/>
                <a:gd name="connsiteX27" fmla="*/ 90660 w 95250"/>
                <a:gd name="connsiteY27" fmla="*/ 83314 h 142875"/>
                <a:gd name="connsiteX28" fmla="*/ 64838 w 95250"/>
                <a:gd name="connsiteY28" fmla="*/ 39027 h 142875"/>
                <a:gd name="connsiteX29" fmla="*/ 46388 w 95250"/>
                <a:gd name="connsiteY29" fmla="*/ 20574 h 142875"/>
                <a:gd name="connsiteX30" fmla="*/ 42702 w 95250"/>
                <a:gd name="connsiteY30" fmla="*/ 16883 h 142875"/>
                <a:gd name="connsiteX31" fmla="*/ 20566 w 95250"/>
                <a:gd name="connsiteY31" fmla="*/ 5812 h 142875"/>
                <a:gd name="connsiteX32" fmla="*/ 16880 w 95250"/>
                <a:gd name="connsiteY32" fmla="*/ 13193 h 142875"/>
                <a:gd name="connsiteX33" fmla="*/ 16880 w 95250"/>
                <a:gd name="connsiteY33" fmla="*/ 13193 h 142875"/>
                <a:gd name="connsiteX34" fmla="*/ 13193 w 95250"/>
                <a:gd name="connsiteY34" fmla="*/ 13193 h 142875"/>
                <a:gd name="connsiteX35" fmla="*/ 9498 w 95250"/>
                <a:gd name="connsiteY35" fmla="*/ 13193 h 142875"/>
                <a:gd name="connsiteX36" fmla="*/ 5812 w 95250"/>
                <a:gd name="connsiteY36" fmla="*/ 13193 h 142875"/>
                <a:gd name="connsiteX37" fmla="*/ 9498 w 95250"/>
                <a:gd name="connsiteY37" fmla="*/ 13193 h 142875"/>
                <a:gd name="connsiteX38" fmla="*/ 13193 w 95250"/>
                <a:gd name="connsiteY38" fmla="*/ 9503 h 142875"/>
                <a:gd name="connsiteX39" fmla="*/ 16880 w 95250"/>
                <a:gd name="connsiteY39" fmla="*/ 5812 h 142875"/>
                <a:gd name="connsiteX40" fmla="*/ 13193 w 95250"/>
                <a:gd name="connsiteY40" fmla="*/ 5812 h 142875"/>
                <a:gd name="connsiteX41" fmla="*/ 13193 w 95250"/>
                <a:gd name="connsiteY41" fmla="*/ 5812 h 142875"/>
                <a:gd name="connsiteX42" fmla="*/ 9498 w 95250"/>
                <a:gd name="connsiteY42" fmla="*/ 5812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5250" h="142875">
                  <a:moveTo>
                    <a:pt x="9498" y="5812"/>
                  </a:moveTo>
                  <a:lnTo>
                    <a:pt x="9498" y="5812"/>
                  </a:lnTo>
                  <a:lnTo>
                    <a:pt x="16880" y="5812"/>
                  </a:lnTo>
                  <a:lnTo>
                    <a:pt x="42702" y="16883"/>
                  </a:lnTo>
                  <a:lnTo>
                    <a:pt x="46388" y="20574"/>
                  </a:lnTo>
                  <a:lnTo>
                    <a:pt x="64838" y="39027"/>
                  </a:lnTo>
                  <a:lnTo>
                    <a:pt x="72220" y="50099"/>
                  </a:lnTo>
                  <a:lnTo>
                    <a:pt x="72220" y="53789"/>
                  </a:lnTo>
                  <a:lnTo>
                    <a:pt x="90660" y="83314"/>
                  </a:lnTo>
                  <a:lnTo>
                    <a:pt x="98042" y="101766"/>
                  </a:lnTo>
                  <a:lnTo>
                    <a:pt x="98042" y="105457"/>
                  </a:lnTo>
                  <a:lnTo>
                    <a:pt x="94346" y="105457"/>
                  </a:lnTo>
                  <a:lnTo>
                    <a:pt x="90660" y="109148"/>
                  </a:lnTo>
                  <a:lnTo>
                    <a:pt x="83288" y="112838"/>
                  </a:lnTo>
                  <a:lnTo>
                    <a:pt x="79592" y="127601"/>
                  </a:lnTo>
                  <a:lnTo>
                    <a:pt x="75906" y="134982"/>
                  </a:lnTo>
                  <a:lnTo>
                    <a:pt x="79592" y="134982"/>
                  </a:lnTo>
                  <a:lnTo>
                    <a:pt x="79592" y="134982"/>
                  </a:lnTo>
                  <a:lnTo>
                    <a:pt x="75906" y="142363"/>
                  </a:lnTo>
                  <a:lnTo>
                    <a:pt x="75906" y="134982"/>
                  </a:lnTo>
                  <a:lnTo>
                    <a:pt x="75906" y="134982"/>
                  </a:lnTo>
                  <a:lnTo>
                    <a:pt x="79592" y="127601"/>
                  </a:lnTo>
                  <a:lnTo>
                    <a:pt x="83288" y="112838"/>
                  </a:lnTo>
                  <a:lnTo>
                    <a:pt x="86974" y="109148"/>
                  </a:lnTo>
                  <a:lnTo>
                    <a:pt x="94346" y="105457"/>
                  </a:lnTo>
                  <a:lnTo>
                    <a:pt x="98042" y="105457"/>
                  </a:lnTo>
                  <a:lnTo>
                    <a:pt x="98042" y="101766"/>
                  </a:lnTo>
                  <a:lnTo>
                    <a:pt x="90660" y="83314"/>
                  </a:lnTo>
                  <a:lnTo>
                    <a:pt x="64838" y="39027"/>
                  </a:lnTo>
                  <a:lnTo>
                    <a:pt x="46388" y="20574"/>
                  </a:lnTo>
                  <a:lnTo>
                    <a:pt x="42702" y="16883"/>
                  </a:lnTo>
                  <a:lnTo>
                    <a:pt x="20566" y="5812"/>
                  </a:lnTo>
                  <a:lnTo>
                    <a:pt x="16880" y="13193"/>
                  </a:lnTo>
                  <a:lnTo>
                    <a:pt x="16880" y="13193"/>
                  </a:lnTo>
                  <a:lnTo>
                    <a:pt x="13193" y="13193"/>
                  </a:lnTo>
                  <a:lnTo>
                    <a:pt x="9498" y="13193"/>
                  </a:lnTo>
                  <a:lnTo>
                    <a:pt x="5812" y="13193"/>
                  </a:lnTo>
                  <a:lnTo>
                    <a:pt x="9498" y="13193"/>
                  </a:lnTo>
                  <a:lnTo>
                    <a:pt x="13193" y="9503"/>
                  </a:lnTo>
                  <a:lnTo>
                    <a:pt x="16880" y="5812"/>
                  </a:lnTo>
                  <a:lnTo>
                    <a:pt x="13193" y="5812"/>
                  </a:lnTo>
                  <a:lnTo>
                    <a:pt x="13193" y="5812"/>
                  </a:lnTo>
                  <a:lnTo>
                    <a:pt x="9498" y="5812"/>
                  </a:lnTo>
                  <a:close/>
                </a:path>
              </a:pathLst>
            </a:custGeom>
            <a:solidFill>
              <a:schemeClr val="accent3">
                <a:lumMod val="20000"/>
                <a:lumOff val="80000"/>
              </a:schemeClr>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01" name="Freeform: Shape 300">
              <a:extLst>
                <a:ext uri="{FF2B5EF4-FFF2-40B4-BE49-F238E27FC236}">
                  <a16:creationId xmlns:a16="http://schemas.microsoft.com/office/drawing/2014/main" id="{82FF2E7D-C3C4-48C9-A517-27831F933583}"/>
                </a:ext>
              </a:extLst>
            </p:cNvPr>
            <p:cNvSpPr/>
            <p:nvPr/>
          </p:nvSpPr>
          <p:spPr>
            <a:xfrm>
              <a:off x="9166421" y="3032771"/>
              <a:ext cx="138355" cy="107609"/>
            </a:xfrm>
            <a:custGeom>
              <a:avLst/>
              <a:gdLst>
                <a:gd name="connsiteX0" fmla="*/ 5812 w 85725"/>
                <a:gd name="connsiteY0" fmla="*/ 68551 h 66675"/>
                <a:gd name="connsiteX1" fmla="*/ 20568 w 85725"/>
                <a:gd name="connsiteY1" fmla="*/ 53789 h 66675"/>
                <a:gd name="connsiteX2" fmla="*/ 24258 w 85725"/>
                <a:gd name="connsiteY2" fmla="*/ 50098 h 66675"/>
                <a:gd name="connsiteX3" fmla="*/ 64843 w 85725"/>
                <a:gd name="connsiteY3" fmla="*/ 13192 h 66675"/>
                <a:gd name="connsiteX4" fmla="*/ 68529 w 85725"/>
                <a:gd name="connsiteY4" fmla="*/ 13192 h 66675"/>
                <a:gd name="connsiteX5" fmla="*/ 79597 w 85725"/>
                <a:gd name="connsiteY5" fmla="*/ 9502 h 66675"/>
                <a:gd name="connsiteX6" fmla="*/ 83283 w 85725"/>
                <a:gd name="connsiteY6" fmla="*/ 9502 h 66675"/>
                <a:gd name="connsiteX7" fmla="*/ 83283 w 85725"/>
                <a:gd name="connsiteY7" fmla="*/ 9502 h 66675"/>
                <a:gd name="connsiteX8" fmla="*/ 83283 w 85725"/>
                <a:gd name="connsiteY8" fmla="*/ 9502 h 66675"/>
                <a:gd name="connsiteX9" fmla="*/ 83283 w 85725"/>
                <a:gd name="connsiteY9" fmla="*/ 5812 h 66675"/>
                <a:gd name="connsiteX10" fmla="*/ 83283 w 85725"/>
                <a:gd name="connsiteY10" fmla="*/ 9502 h 66675"/>
                <a:gd name="connsiteX11" fmla="*/ 86969 w 85725"/>
                <a:gd name="connsiteY11" fmla="*/ 13192 h 66675"/>
                <a:gd name="connsiteX12" fmla="*/ 83283 w 85725"/>
                <a:gd name="connsiteY12" fmla="*/ 9502 h 66675"/>
                <a:gd name="connsiteX13" fmla="*/ 79597 w 85725"/>
                <a:gd name="connsiteY13" fmla="*/ 9502 h 66675"/>
                <a:gd name="connsiteX14" fmla="*/ 79597 w 85725"/>
                <a:gd name="connsiteY14" fmla="*/ 9502 h 66675"/>
                <a:gd name="connsiteX15" fmla="*/ 72215 w 85725"/>
                <a:gd name="connsiteY15" fmla="*/ 13192 h 66675"/>
                <a:gd name="connsiteX16" fmla="*/ 64843 w 85725"/>
                <a:gd name="connsiteY16" fmla="*/ 13192 h 66675"/>
                <a:gd name="connsiteX17" fmla="*/ 31636 w 85725"/>
                <a:gd name="connsiteY17" fmla="*/ 46407 h 66675"/>
                <a:gd name="connsiteX18" fmla="*/ 27947 w 85725"/>
                <a:gd name="connsiteY18" fmla="*/ 50098 h 66675"/>
                <a:gd name="connsiteX19" fmla="*/ 27947 w 85725"/>
                <a:gd name="connsiteY19" fmla="*/ 50098 h 66675"/>
                <a:gd name="connsiteX20" fmla="*/ 24258 w 85725"/>
                <a:gd name="connsiteY20" fmla="*/ 50098 h 66675"/>
                <a:gd name="connsiteX21" fmla="*/ 20568 w 85725"/>
                <a:gd name="connsiteY21" fmla="*/ 53789 h 66675"/>
                <a:gd name="connsiteX22" fmla="*/ 5812 w 85725"/>
                <a:gd name="connsiteY22" fmla="*/ 68551 h 66675"/>
                <a:gd name="connsiteX23" fmla="*/ 5812 w 85725"/>
                <a:gd name="connsiteY23" fmla="*/ 68551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725" h="66675">
                  <a:moveTo>
                    <a:pt x="5812" y="68551"/>
                  </a:moveTo>
                  <a:lnTo>
                    <a:pt x="20568" y="53789"/>
                  </a:lnTo>
                  <a:lnTo>
                    <a:pt x="24258" y="50098"/>
                  </a:lnTo>
                  <a:lnTo>
                    <a:pt x="64843" y="13192"/>
                  </a:lnTo>
                  <a:lnTo>
                    <a:pt x="68529" y="13192"/>
                  </a:lnTo>
                  <a:lnTo>
                    <a:pt x="79597" y="9502"/>
                  </a:lnTo>
                  <a:lnTo>
                    <a:pt x="83283" y="9502"/>
                  </a:lnTo>
                  <a:lnTo>
                    <a:pt x="83283" y="9502"/>
                  </a:lnTo>
                  <a:lnTo>
                    <a:pt x="83283" y="9502"/>
                  </a:lnTo>
                  <a:lnTo>
                    <a:pt x="83283" y="5812"/>
                  </a:lnTo>
                  <a:lnTo>
                    <a:pt x="83283" y="9502"/>
                  </a:lnTo>
                  <a:lnTo>
                    <a:pt x="86969" y="13192"/>
                  </a:lnTo>
                  <a:lnTo>
                    <a:pt x="83283" y="9502"/>
                  </a:lnTo>
                  <a:lnTo>
                    <a:pt x="79597" y="9502"/>
                  </a:lnTo>
                  <a:lnTo>
                    <a:pt x="79597" y="9502"/>
                  </a:lnTo>
                  <a:lnTo>
                    <a:pt x="72215" y="13192"/>
                  </a:lnTo>
                  <a:lnTo>
                    <a:pt x="64843" y="13192"/>
                  </a:lnTo>
                  <a:lnTo>
                    <a:pt x="31636" y="46407"/>
                  </a:lnTo>
                  <a:lnTo>
                    <a:pt x="27947" y="50098"/>
                  </a:lnTo>
                  <a:lnTo>
                    <a:pt x="27947" y="50098"/>
                  </a:lnTo>
                  <a:lnTo>
                    <a:pt x="24258" y="50098"/>
                  </a:lnTo>
                  <a:lnTo>
                    <a:pt x="20568" y="53789"/>
                  </a:lnTo>
                  <a:lnTo>
                    <a:pt x="5812" y="68551"/>
                  </a:lnTo>
                  <a:lnTo>
                    <a:pt x="5812" y="68551"/>
                  </a:lnTo>
                  <a:close/>
                </a:path>
              </a:pathLst>
            </a:custGeom>
            <a:solidFill>
              <a:schemeClr val="accent3">
                <a:lumMod val="20000"/>
                <a:lumOff val="80000"/>
              </a:schemeClr>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02" name="Freeform: Shape 301">
              <a:extLst>
                <a:ext uri="{FF2B5EF4-FFF2-40B4-BE49-F238E27FC236}">
                  <a16:creationId xmlns:a16="http://schemas.microsoft.com/office/drawing/2014/main" id="{A34C4775-38FE-4238-A11D-A3CB8E7934DF}"/>
                </a:ext>
              </a:extLst>
            </p:cNvPr>
            <p:cNvSpPr/>
            <p:nvPr/>
          </p:nvSpPr>
          <p:spPr>
            <a:xfrm>
              <a:off x="9315266" y="3032771"/>
              <a:ext cx="30745" cy="46118"/>
            </a:xfrm>
            <a:custGeom>
              <a:avLst/>
              <a:gdLst>
                <a:gd name="connsiteX0" fmla="*/ 9507 w 19050"/>
                <a:gd name="connsiteY0" fmla="*/ 16883 h 28575"/>
                <a:gd name="connsiteX1" fmla="*/ 9507 w 19050"/>
                <a:gd name="connsiteY1" fmla="*/ 13192 h 28575"/>
                <a:gd name="connsiteX2" fmla="*/ 5812 w 19050"/>
                <a:gd name="connsiteY2" fmla="*/ 5812 h 28575"/>
                <a:gd name="connsiteX3" fmla="*/ 5812 w 19050"/>
                <a:gd name="connsiteY3" fmla="*/ 5812 h 28575"/>
                <a:gd name="connsiteX4" fmla="*/ 9507 w 19050"/>
                <a:gd name="connsiteY4" fmla="*/ 5812 h 28575"/>
                <a:gd name="connsiteX5" fmla="*/ 9507 w 19050"/>
                <a:gd name="connsiteY5" fmla="*/ 9502 h 28575"/>
                <a:gd name="connsiteX6" fmla="*/ 13193 w 19050"/>
                <a:gd name="connsiteY6" fmla="*/ 9502 h 28575"/>
                <a:gd name="connsiteX7" fmla="*/ 16880 w 19050"/>
                <a:gd name="connsiteY7" fmla="*/ 9502 h 28575"/>
                <a:gd name="connsiteX8" fmla="*/ 16880 w 19050"/>
                <a:gd name="connsiteY8" fmla="*/ 13192 h 28575"/>
                <a:gd name="connsiteX9" fmla="*/ 16880 w 19050"/>
                <a:gd name="connsiteY9" fmla="*/ 16883 h 28575"/>
                <a:gd name="connsiteX10" fmla="*/ 20575 w 19050"/>
                <a:gd name="connsiteY10" fmla="*/ 16883 h 28575"/>
                <a:gd name="connsiteX11" fmla="*/ 20575 w 19050"/>
                <a:gd name="connsiteY11" fmla="*/ 20573 h 28575"/>
                <a:gd name="connsiteX12" fmla="*/ 20575 w 19050"/>
                <a:gd name="connsiteY12" fmla="*/ 20573 h 28575"/>
                <a:gd name="connsiteX13" fmla="*/ 20575 w 19050"/>
                <a:gd name="connsiteY13" fmla="*/ 24264 h 28575"/>
                <a:gd name="connsiteX14" fmla="*/ 16880 w 19050"/>
                <a:gd name="connsiteY14" fmla="*/ 24264 h 28575"/>
                <a:gd name="connsiteX15" fmla="*/ 13193 w 19050"/>
                <a:gd name="connsiteY15" fmla="*/ 20573 h 28575"/>
                <a:gd name="connsiteX16" fmla="*/ 9507 w 19050"/>
                <a:gd name="connsiteY16" fmla="*/ 16883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50" h="28575">
                  <a:moveTo>
                    <a:pt x="9507" y="16883"/>
                  </a:moveTo>
                  <a:lnTo>
                    <a:pt x="9507" y="13192"/>
                  </a:lnTo>
                  <a:lnTo>
                    <a:pt x="5812" y="5812"/>
                  </a:lnTo>
                  <a:lnTo>
                    <a:pt x="5812" y="5812"/>
                  </a:lnTo>
                  <a:lnTo>
                    <a:pt x="9507" y="5812"/>
                  </a:lnTo>
                  <a:lnTo>
                    <a:pt x="9507" y="9502"/>
                  </a:lnTo>
                  <a:lnTo>
                    <a:pt x="13193" y="9502"/>
                  </a:lnTo>
                  <a:lnTo>
                    <a:pt x="16880" y="9502"/>
                  </a:lnTo>
                  <a:lnTo>
                    <a:pt x="16880" y="13192"/>
                  </a:lnTo>
                  <a:lnTo>
                    <a:pt x="16880" y="16883"/>
                  </a:lnTo>
                  <a:lnTo>
                    <a:pt x="20575" y="16883"/>
                  </a:lnTo>
                  <a:lnTo>
                    <a:pt x="20575" y="20573"/>
                  </a:lnTo>
                  <a:lnTo>
                    <a:pt x="20575" y="20573"/>
                  </a:lnTo>
                  <a:lnTo>
                    <a:pt x="20575" y="24264"/>
                  </a:lnTo>
                  <a:lnTo>
                    <a:pt x="16880" y="24264"/>
                  </a:lnTo>
                  <a:lnTo>
                    <a:pt x="13193" y="20573"/>
                  </a:lnTo>
                  <a:lnTo>
                    <a:pt x="9507" y="16883"/>
                  </a:lnTo>
                  <a:close/>
                </a:path>
              </a:pathLst>
            </a:custGeom>
            <a:solidFill>
              <a:schemeClr val="accent3">
                <a:lumMod val="20000"/>
                <a:lumOff val="80000"/>
              </a:schemeClr>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03" name="Freeform: Shape 302">
              <a:extLst>
                <a:ext uri="{FF2B5EF4-FFF2-40B4-BE49-F238E27FC236}">
                  <a16:creationId xmlns:a16="http://schemas.microsoft.com/office/drawing/2014/main" id="{70E48376-6E06-4A96-9F15-B5F6F7B507BC}"/>
                </a:ext>
              </a:extLst>
            </p:cNvPr>
            <p:cNvSpPr/>
            <p:nvPr/>
          </p:nvSpPr>
          <p:spPr>
            <a:xfrm>
              <a:off x="9940458" y="2520529"/>
              <a:ext cx="830125" cy="814752"/>
            </a:xfrm>
            <a:custGeom>
              <a:avLst/>
              <a:gdLst>
                <a:gd name="connsiteX0" fmla="*/ 275121 w 514350"/>
                <a:gd name="connsiteY0" fmla="*/ 5812 h 504825"/>
                <a:gd name="connsiteX1" fmla="*/ 267740 w 514350"/>
                <a:gd name="connsiteY1" fmla="*/ 9502 h 504825"/>
                <a:gd name="connsiteX2" fmla="*/ 238222 w 514350"/>
                <a:gd name="connsiteY2" fmla="*/ 13193 h 504825"/>
                <a:gd name="connsiteX3" fmla="*/ 234535 w 514350"/>
                <a:gd name="connsiteY3" fmla="*/ 16883 h 504825"/>
                <a:gd name="connsiteX4" fmla="*/ 223467 w 514350"/>
                <a:gd name="connsiteY4" fmla="*/ 20574 h 504825"/>
                <a:gd name="connsiteX5" fmla="*/ 219781 w 514350"/>
                <a:gd name="connsiteY5" fmla="*/ 20574 h 504825"/>
                <a:gd name="connsiteX6" fmla="*/ 216095 w 514350"/>
                <a:gd name="connsiteY6" fmla="*/ 24264 h 504825"/>
                <a:gd name="connsiteX7" fmla="*/ 208713 w 514350"/>
                <a:gd name="connsiteY7" fmla="*/ 24264 h 504825"/>
                <a:gd name="connsiteX8" fmla="*/ 201331 w 514350"/>
                <a:gd name="connsiteY8" fmla="*/ 31645 h 504825"/>
                <a:gd name="connsiteX9" fmla="*/ 197645 w 514350"/>
                <a:gd name="connsiteY9" fmla="*/ 31645 h 504825"/>
                <a:gd name="connsiteX10" fmla="*/ 193959 w 514350"/>
                <a:gd name="connsiteY10" fmla="*/ 31645 h 504825"/>
                <a:gd name="connsiteX11" fmla="*/ 190263 w 514350"/>
                <a:gd name="connsiteY11" fmla="*/ 31645 h 504825"/>
                <a:gd name="connsiteX12" fmla="*/ 182891 w 514350"/>
                <a:gd name="connsiteY12" fmla="*/ 35336 h 504825"/>
                <a:gd name="connsiteX13" fmla="*/ 175509 w 514350"/>
                <a:gd name="connsiteY13" fmla="*/ 39027 h 504825"/>
                <a:gd name="connsiteX14" fmla="*/ 171823 w 514350"/>
                <a:gd name="connsiteY14" fmla="*/ 35336 h 504825"/>
                <a:gd name="connsiteX15" fmla="*/ 168127 w 514350"/>
                <a:gd name="connsiteY15" fmla="*/ 39027 h 504825"/>
                <a:gd name="connsiteX16" fmla="*/ 149687 w 514350"/>
                <a:gd name="connsiteY16" fmla="*/ 39027 h 504825"/>
                <a:gd name="connsiteX17" fmla="*/ 138619 w 514350"/>
                <a:gd name="connsiteY17" fmla="*/ 42717 h 504825"/>
                <a:gd name="connsiteX18" fmla="*/ 123864 w 514350"/>
                <a:gd name="connsiteY18" fmla="*/ 46408 h 504825"/>
                <a:gd name="connsiteX19" fmla="*/ 116483 w 514350"/>
                <a:gd name="connsiteY19" fmla="*/ 46408 h 504825"/>
                <a:gd name="connsiteX20" fmla="*/ 109101 w 514350"/>
                <a:gd name="connsiteY20" fmla="*/ 50098 h 504825"/>
                <a:gd name="connsiteX21" fmla="*/ 101728 w 514350"/>
                <a:gd name="connsiteY21" fmla="*/ 50098 h 504825"/>
                <a:gd name="connsiteX22" fmla="*/ 90660 w 514350"/>
                <a:gd name="connsiteY22" fmla="*/ 53789 h 504825"/>
                <a:gd name="connsiteX23" fmla="*/ 79592 w 514350"/>
                <a:gd name="connsiteY23" fmla="*/ 57480 h 504825"/>
                <a:gd name="connsiteX24" fmla="*/ 75906 w 514350"/>
                <a:gd name="connsiteY24" fmla="*/ 61170 h 504825"/>
                <a:gd name="connsiteX25" fmla="*/ 75906 w 514350"/>
                <a:gd name="connsiteY25" fmla="*/ 64861 h 504825"/>
                <a:gd name="connsiteX26" fmla="*/ 68524 w 514350"/>
                <a:gd name="connsiteY26" fmla="*/ 68551 h 504825"/>
                <a:gd name="connsiteX27" fmla="*/ 64838 w 514350"/>
                <a:gd name="connsiteY27" fmla="*/ 64861 h 504825"/>
                <a:gd name="connsiteX28" fmla="*/ 61142 w 514350"/>
                <a:gd name="connsiteY28" fmla="*/ 61170 h 504825"/>
                <a:gd name="connsiteX29" fmla="*/ 42702 w 514350"/>
                <a:gd name="connsiteY29" fmla="*/ 50098 h 504825"/>
                <a:gd name="connsiteX30" fmla="*/ 39006 w 514350"/>
                <a:gd name="connsiteY30" fmla="*/ 50098 h 504825"/>
                <a:gd name="connsiteX31" fmla="*/ 24252 w 514350"/>
                <a:gd name="connsiteY31" fmla="*/ 57480 h 504825"/>
                <a:gd name="connsiteX32" fmla="*/ 24252 w 514350"/>
                <a:gd name="connsiteY32" fmla="*/ 53789 h 504825"/>
                <a:gd name="connsiteX33" fmla="*/ 20566 w 514350"/>
                <a:gd name="connsiteY33" fmla="*/ 53789 h 504825"/>
                <a:gd name="connsiteX34" fmla="*/ 20566 w 514350"/>
                <a:gd name="connsiteY34" fmla="*/ 57480 h 504825"/>
                <a:gd name="connsiteX35" fmla="*/ 16870 w 514350"/>
                <a:gd name="connsiteY35" fmla="*/ 57480 h 504825"/>
                <a:gd name="connsiteX36" fmla="*/ 16870 w 514350"/>
                <a:gd name="connsiteY36" fmla="*/ 53789 h 504825"/>
                <a:gd name="connsiteX37" fmla="*/ 13184 w 514350"/>
                <a:gd name="connsiteY37" fmla="*/ 57480 h 504825"/>
                <a:gd name="connsiteX38" fmla="*/ 16870 w 514350"/>
                <a:gd name="connsiteY38" fmla="*/ 61170 h 504825"/>
                <a:gd name="connsiteX39" fmla="*/ 20566 w 514350"/>
                <a:gd name="connsiteY39" fmla="*/ 61170 h 504825"/>
                <a:gd name="connsiteX40" fmla="*/ 24252 w 514350"/>
                <a:gd name="connsiteY40" fmla="*/ 64861 h 504825"/>
                <a:gd name="connsiteX41" fmla="*/ 27938 w 514350"/>
                <a:gd name="connsiteY41" fmla="*/ 64861 h 504825"/>
                <a:gd name="connsiteX42" fmla="*/ 31634 w 514350"/>
                <a:gd name="connsiteY42" fmla="*/ 68551 h 504825"/>
                <a:gd name="connsiteX43" fmla="*/ 35320 w 514350"/>
                <a:gd name="connsiteY43" fmla="*/ 68551 h 504825"/>
                <a:gd name="connsiteX44" fmla="*/ 35320 w 514350"/>
                <a:gd name="connsiteY44" fmla="*/ 72242 h 504825"/>
                <a:gd name="connsiteX45" fmla="*/ 31634 w 514350"/>
                <a:gd name="connsiteY45" fmla="*/ 72242 h 504825"/>
                <a:gd name="connsiteX46" fmla="*/ 27938 w 514350"/>
                <a:gd name="connsiteY46" fmla="*/ 72242 h 504825"/>
                <a:gd name="connsiteX47" fmla="*/ 24252 w 514350"/>
                <a:gd name="connsiteY47" fmla="*/ 72242 h 504825"/>
                <a:gd name="connsiteX48" fmla="*/ 24252 w 514350"/>
                <a:gd name="connsiteY48" fmla="*/ 68551 h 504825"/>
                <a:gd name="connsiteX49" fmla="*/ 16870 w 514350"/>
                <a:gd name="connsiteY49" fmla="*/ 64861 h 504825"/>
                <a:gd name="connsiteX50" fmla="*/ 16870 w 514350"/>
                <a:gd name="connsiteY50" fmla="*/ 61170 h 504825"/>
                <a:gd name="connsiteX51" fmla="*/ 9498 w 514350"/>
                <a:gd name="connsiteY51" fmla="*/ 61170 h 504825"/>
                <a:gd name="connsiteX52" fmla="*/ 5812 w 514350"/>
                <a:gd name="connsiteY52" fmla="*/ 68551 h 504825"/>
                <a:gd name="connsiteX53" fmla="*/ 9498 w 514350"/>
                <a:gd name="connsiteY53" fmla="*/ 68551 h 504825"/>
                <a:gd name="connsiteX54" fmla="*/ 13184 w 514350"/>
                <a:gd name="connsiteY54" fmla="*/ 72242 h 504825"/>
                <a:gd name="connsiteX55" fmla="*/ 16870 w 514350"/>
                <a:gd name="connsiteY55" fmla="*/ 72242 h 504825"/>
                <a:gd name="connsiteX56" fmla="*/ 16870 w 514350"/>
                <a:gd name="connsiteY56" fmla="*/ 75933 h 504825"/>
                <a:gd name="connsiteX57" fmla="*/ 13184 w 514350"/>
                <a:gd name="connsiteY57" fmla="*/ 79623 h 504825"/>
                <a:gd name="connsiteX58" fmla="*/ 9498 w 514350"/>
                <a:gd name="connsiteY58" fmla="*/ 75933 h 504825"/>
                <a:gd name="connsiteX59" fmla="*/ 9498 w 514350"/>
                <a:gd name="connsiteY59" fmla="*/ 79623 h 504825"/>
                <a:gd name="connsiteX60" fmla="*/ 13184 w 514350"/>
                <a:gd name="connsiteY60" fmla="*/ 83314 h 504825"/>
                <a:gd name="connsiteX61" fmla="*/ 16870 w 514350"/>
                <a:gd name="connsiteY61" fmla="*/ 83314 h 504825"/>
                <a:gd name="connsiteX62" fmla="*/ 20566 w 514350"/>
                <a:gd name="connsiteY62" fmla="*/ 83314 h 504825"/>
                <a:gd name="connsiteX63" fmla="*/ 24252 w 514350"/>
                <a:gd name="connsiteY63" fmla="*/ 83314 h 504825"/>
                <a:gd name="connsiteX64" fmla="*/ 27938 w 514350"/>
                <a:gd name="connsiteY64" fmla="*/ 83314 h 504825"/>
                <a:gd name="connsiteX65" fmla="*/ 31634 w 514350"/>
                <a:gd name="connsiteY65" fmla="*/ 83314 h 504825"/>
                <a:gd name="connsiteX66" fmla="*/ 31634 w 514350"/>
                <a:gd name="connsiteY66" fmla="*/ 87005 h 504825"/>
                <a:gd name="connsiteX67" fmla="*/ 24252 w 514350"/>
                <a:gd name="connsiteY67" fmla="*/ 87005 h 504825"/>
                <a:gd name="connsiteX68" fmla="*/ 20566 w 514350"/>
                <a:gd name="connsiteY68" fmla="*/ 87005 h 504825"/>
                <a:gd name="connsiteX69" fmla="*/ 20566 w 514350"/>
                <a:gd name="connsiteY69" fmla="*/ 90695 h 504825"/>
                <a:gd name="connsiteX70" fmla="*/ 24252 w 514350"/>
                <a:gd name="connsiteY70" fmla="*/ 90695 h 504825"/>
                <a:gd name="connsiteX71" fmla="*/ 27938 w 514350"/>
                <a:gd name="connsiteY71" fmla="*/ 90695 h 504825"/>
                <a:gd name="connsiteX72" fmla="*/ 31634 w 514350"/>
                <a:gd name="connsiteY72" fmla="*/ 90695 h 504825"/>
                <a:gd name="connsiteX73" fmla="*/ 35320 w 514350"/>
                <a:gd name="connsiteY73" fmla="*/ 87005 h 504825"/>
                <a:gd name="connsiteX74" fmla="*/ 35320 w 514350"/>
                <a:gd name="connsiteY74" fmla="*/ 90695 h 504825"/>
                <a:gd name="connsiteX75" fmla="*/ 35320 w 514350"/>
                <a:gd name="connsiteY75" fmla="*/ 94385 h 504825"/>
                <a:gd name="connsiteX76" fmla="*/ 31634 w 514350"/>
                <a:gd name="connsiteY76" fmla="*/ 94385 h 504825"/>
                <a:gd name="connsiteX77" fmla="*/ 35320 w 514350"/>
                <a:gd name="connsiteY77" fmla="*/ 98075 h 504825"/>
                <a:gd name="connsiteX78" fmla="*/ 39006 w 514350"/>
                <a:gd name="connsiteY78" fmla="*/ 94385 h 504825"/>
                <a:gd name="connsiteX79" fmla="*/ 42702 w 514350"/>
                <a:gd name="connsiteY79" fmla="*/ 94385 h 504825"/>
                <a:gd name="connsiteX80" fmla="*/ 42702 w 514350"/>
                <a:gd name="connsiteY80" fmla="*/ 98075 h 504825"/>
                <a:gd name="connsiteX81" fmla="*/ 39006 w 514350"/>
                <a:gd name="connsiteY81" fmla="*/ 101766 h 504825"/>
                <a:gd name="connsiteX82" fmla="*/ 31634 w 514350"/>
                <a:gd name="connsiteY82" fmla="*/ 101766 h 504825"/>
                <a:gd name="connsiteX83" fmla="*/ 31634 w 514350"/>
                <a:gd name="connsiteY83" fmla="*/ 105457 h 504825"/>
                <a:gd name="connsiteX84" fmla="*/ 35320 w 514350"/>
                <a:gd name="connsiteY84" fmla="*/ 109147 h 504825"/>
                <a:gd name="connsiteX85" fmla="*/ 39006 w 514350"/>
                <a:gd name="connsiteY85" fmla="*/ 105457 h 504825"/>
                <a:gd name="connsiteX86" fmla="*/ 42702 w 514350"/>
                <a:gd name="connsiteY86" fmla="*/ 105457 h 504825"/>
                <a:gd name="connsiteX87" fmla="*/ 46388 w 514350"/>
                <a:gd name="connsiteY87" fmla="*/ 105457 h 504825"/>
                <a:gd name="connsiteX88" fmla="*/ 50074 w 514350"/>
                <a:gd name="connsiteY88" fmla="*/ 105457 h 504825"/>
                <a:gd name="connsiteX89" fmla="*/ 53770 w 514350"/>
                <a:gd name="connsiteY89" fmla="*/ 109147 h 504825"/>
                <a:gd name="connsiteX90" fmla="*/ 57456 w 514350"/>
                <a:gd name="connsiteY90" fmla="*/ 109147 h 504825"/>
                <a:gd name="connsiteX91" fmla="*/ 57456 w 514350"/>
                <a:gd name="connsiteY91" fmla="*/ 131291 h 504825"/>
                <a:gd name="connsiteX92" fmla="*/ 57456 w 514350"/>
                <a:gd name="connsiteY92" fmla="*/ 134981 h 504825"/>
                <a:gd name="connsiteX93" fmla="*/ 61142 w 514350"/>
                <a:gd name="connsiteY93" fmla="*/ 134981 h 504825"/>
                <a:gd name="connsiteX94" fmla="*/ 61142 w 514350"/>
                <a:gd name="connsiteY94" fmla="*/ 138672 h 504825"/>
                <a:gd name="connsiteX95" fmla="*/ 57456 w 514350"/>
                <a:gd name="connsiteY95" fmla="*/ 138672 h 504825"/>
                <a:gd name="connsiteX96" fmla="*/ 53770 w 514350"/>
                <a:gd name="connsiteY96" fmla="*/ 142363 h 504825"/>
                <a:gd name="connsiteX97" fmla="*/ 53770 w 514350"/>
                <a:gd name="connsiteY97" fmla="*/ 146053 h 504825"/>
                <a:gd name="connsiteX98" fmla="*/ 50074 w 514350"/>
                <a:gd name="connsiteY98" fmla="*/ 149744 h 504825"/>
                <a:gd name="connsiteX99" fmla="*/ 46388 w 514350"/>
                <a:gd name="connsiteY99" fmla="*/ 149744 h 504825"/>
                <a:gd name="connsiteX100" fmla="*/ 42702 w 514350"/>
                <a:gd name="connsiteY100" fmla="*/ 153435 h 504825"/>
                <a:gd name="connsiteX101" fmla="*/ 42702 w 514350"/>
                <a:gd name="connsiteY101" fmla="*/ 157125 h 504825"/>
                <a:gd name="connsiteX102" fmla="*/ 42702 w 514350"/>
                <a:gd name="connsiteY102" fmla="*/ 160816 h 504825"/>
                <a:gd name="connsiteX103" fmla="*/ 42702 w 514350"/>
                <a:gd name="connsiteY103" fmla="*/ 164506 h 504825"/>
                <a:gd name="connsiteX104" fmla="*/ 46388 w 514350"/>
                <a:gd name="connsiteY104" fmla="*/ 164506 h 504825"/>
                <a:gd name="connsiteX105" fmla="*/ 42702 w 514350"/>
                <a:gd name="connsiteY105" fmla="*/ 168197 h 504825"/>
                <a:gd name="connsiteX106" fmla="*/ 39006 w 514350"/>
                <a:gd name="connsiteY106" fmla="*/ 168197 h 504825"/>
                <a:gd name="connsiteX107" fmla="*/ 39006 w 514350"/>
                <a:gd name="connsiteY107" fmla="*/ 171888 h 504825"/>
                <a:gd name="connsiteX108" fmla="*/ 35320 w 514350"/>
                <a:gd name="connsiteY108" fmla="*/ 175578 h 504825"/>
                <a:gd name="connsiteX109" fmla="*/ 35320 w 514350"/>
                <a:gd name="connsiteY109" fmla="*/ 179268 h 504825"/>
                <a:gd name="connsiteX110" fmla="*/ 35320 w 514350"/>
                <a:gd name="connsiteY110" fmla="*/ 182958 h 504825"/>
                <a:gd name="connsiteX111" fmla="*/ 31634 w 514350"/>
                <a:gd name="connsiteY111" fmla="*/ 186649 h 504825"/>
                <a:gd name="connsiteX112" fmla="*/ 27938 w 514350"/>
                <a:gd name="connsiteY112" fmla="*/ 190340 h 504825"/>
                <a:gd name="connsiteX113" fmla="*/ 24252 w 514350"/>
                <a:gd name="connsiteY113" fmla="*/ 194030 h 504825"/>
                <a:gd name="connsiteX114" fmla="*/ 24252 w 514350"/>
                <a:gd name="connsiteY114" fmla="*/ 197721 h 504825"/>
                <a:gd name="connsiteX115" fmla="*/ 27938 w 514350"/>
                <a:gd name="connsiteY115" fmla="*/ 197721 h 504825"/>
                <a:gd name="connsiteX116" fmla="*/ 31634 w 514350"/>
                <a:gd name="connsiteY116" fmla="*/ 197721 h 504825"/>
                <a:gd name="connsiteX117" fmla="*/ 31634 w 514350"/>
                <a:gd name="connsiteY117" fmla="*/ 205102 h 504825"/>
                <a:gd name="connsiteX118" fmla="*/ 31634 w 514350"/>
                <a:gd name="connsiteY118" fmla="*/ 208793 h 504825"/>
                <a:gd name="connsiteX119" fmla="*/ 31634 w 514350"/>
                <a:gd name="connsiteY119" fmla="*/ 212483 h 504825"/>
                <a:gd name="connsiteX120" fmla="*/ 27938 w 514350"/>
                <a:gd name="connsiteY120" fmla="*/ 219865 h 504825"/>
                <a:gd name="connsiteX121" fmla="*/ 24252 w 514350"/>
                <a:gd name="connsiteY121" fmla="*/ 223555 h 504825"/>
                <a:gd name="connsiteX122" fmla="*/ 20566 w 514350"/>
                <a:gd name="connsiteY122" fmla="*/ 223555 h 504825"/>
                <a:gd name="connsiteX123" fmla="*/ 16870 w 514350"/>
                <a:gd name="connsiteY123" fmla="*/ 227246 h 504825"/>
                <a:gd name="connsiteX124" fmla="*/ 16870 w 514350"/>
                <a:gd name="connsiteY124" fmla="*/ 230936 h 504825"/>
                <a:gd name="connsiteX125" fmla="*/ 13184 w 514350"/>
                <a:gd name="connsiteY125" fmla="*/ 238318 h 504825"/>
                <a:gd name="connsiteX126" fmla="*/ 9498 w 514350"/>
                <a:gd name="connsiteY126" fmla="*/ 242008 h 504825"/>
                <a:gd name="connsiteX127" fmla="*/ 9498 w 514350"/>
                <a:gd name="connsiteY127" fmla="*/ 249389 h 504825"/>
                <a:gd name="connsiteX128" fmla="*/ 9498 w 514350"/>
                <a:gd name="connsiteY128" fmla="*/ 256771 h 504825"/>
                <a:gd name="connsiteX129" fmla="*/ 9498 w 514350"/>
                <a:gd name="connsiteY129" fmla="*/ 260461 h 504825"/>
                <a:gd name="connsiteX130" fmla="*/ 9498 w 514350"/>
                <a:gd name="connsiteY130" fmla="*/ 275223 h 504825"/>
                <a:gd name="connsiteX131" fmla="*/ 13184 w 514350"/>
                <a:gd name="connsiteY131" fmla="*/ 278913 h 504825"/>
                <a:gd name="connsiteX132" fmla="*/ 16870 w 514350"/>
                <a:gd name="connsiteY132" fmla="*/ 282604 h 504825"/>
                <a:gd name="connsiteX133" fmla="*/ 20566 w 514350"/>
                <a:gd name="connsiteY133" fmla="*/ 289985 h 504825"/>
                <a:gd name="connsiteX134" fmla="*/ 24252 w 514350"/>
                <a:gd name="connsiteY134" fmla="*/ 289985 h 504825"/>
                <a:gd name="connsiteX135" fmla="*/ 31634 w 514350"/>
                <a:gd name="connsiteY135" fmla="*/ 289985 h 504825"/>
                <a:gd name="connsiteX136" fmla="*/ 39006 w 514350"/>
                <a:gd name="connsiteY136" fmla="*/ 289985 h 504825"/>
                <a:gd name="connsiteX137" fmla="*/ 46388 w 514350"/>
                <a:gd name="connsiteY137" fmla="*/ 289985 h 504825"/>
                <a:gd name="connsiteX138" fmla="*/ 50074 w 514350"/>
                <a:gd name="connsiteY138" fmla="*/ 289985 h 504825"/>
                <a:gd name="connsiteX139" fmla="*/ 53770 w 514350"/>
                <a:gd name="connsiteY139" fmla="*/ 293676 h 504825"/>
                <a:gd name="connsiteX140" fmla="*/ 61142 w 514350"/>
                <a:gd name="connsiteY140" fmla="*/ 297366 h 504825"/>
                <a:gd name="connsiteX141" fmla="*/ 64838 w 514350"/>
                <a:gd name="connsiteY141" fmla="*/ 301057 h 504825"/>
                <a:gd name="connsiteX142" fmla="*/ 64838 w 514350"/>
                <a:gd name="connsiteY142" fmla="*/ 304748 h 504825"/>
                <a:gd name="connsiteX143" fmla="*/ 75906 w 514350"/>
                <a:gd name="connsiteY143" fmla="*/ 308438 h 504825"/>
                <a:gd name="connsiteX144" fmla="*/ 86974 w 514350"/>
                <a:gd name="connsiteY144" fmla="*/ 312129 h 504825"/>
                <a:gd name="connsiteX145" fmla="*/ 90660 w 514350"/>
                <a:gd name="connsiteY145" fmla="*/ 312129 h 504825"/>
                <a:gd name="connsiteX146" fmla="*/ 94346 w 514350"/>
                <a:gd name="connsiteY146" fmla="*/ 297366 h 504825"/>
                <a:gd name="connsiteX147" fmla="*/ 98033 w 514350"/>
                <a:gd name="connsiteY147" fmla="*/ 297366 h 504825"/>
                <a:gd name="connsiteX148" fmla="*/ 98033 w 514350"/>
                <a:gd name="connsiteY148" fmla="*/ 286295 h 504825"/>
                <a:gd name="connsiteX149" fmla="*/ 98033 w 514350"/>
                <a:gd name="connsiteY149" fmla="*/ 282604 h 504825"/>
                <a:gd name="connsiteX150" fmla="*/ 105414 w 514350"/>
                <a:gd name="connsiteY150" fmla="*/ 264151 h 504825"/>
                <a:gd name="connsiteX151" fmla="*/ 105414 w 514350"/>
                <a:gd name="connsiteY151" fmla="*/ 260461 h 504825"/>
                <a:gd name="connsiteX152" fmla="*/ 109101 w 514350"/>
                <a:gd name="connsiteY152" fmla="*/ 256771 h 504825"/>
                <a:gd name="connsiteX153" fmla="*/ 112796 w 514350"/>
                <a:gd name="connsiteY153" fmla="*/ 249389 h 504825"/>
                <a:gd name="connsiteX154" fmla="*/ 116483 w 514350"/>
                <a:gd name="connsiteY154" fmla="*/ 245699 h 504825"/>
                <a:gd name="connsiteX155" fmla="*/ 116483 w 514350"/>
                <a:gd name="connsiteY155" fmla="*/ 242008 h 504825"/>
                <a:gd name="connsiteX156" fmla="*/ 120169 w 514350"/>
                <a:gd name="connsiteY156" fmla="*/ 238318 h 504825"/>
                <a:gd name="connsiteX157" fmla="*/ 127551 w 514350"/>
                <a:gd name="connsiteY157" fmla="*/ 234627 h 504825"/>
                <a:gd name="connsiteX158" fmla="*/ 134932 w 514350"/>
                <a:gd name="connsiteY158" fmla="*/ 230936 h 504825"/>
                <a:gd name="connsiteX159" fmla="*/ 134932 w 514350"/>
                <a:gd name="connsiteY159" fmla="*/ 227246 h 504825"/>
                <a:gd name="connsiteX160" fmla="*/ 138619 w 514350"/>
                <a:gd name="connsiteY160" fmla="*/ 223555 h 504825"/>
                <a:gd name="connsiteX161" fmla="*/ 146001 w 514350"/>
                <a:gd name="connsiteY161" fmla="*/ 219865 h 504825"/>
                <a:gd name="connsiteX162" fmla="*/ 153373 w 514350"/>
                <a:gd name="connsiteY162" fmla="*/ 219865 h 504825"/>
                <a:gd name="connsiteX163" fmla="*/ 157069 w 514350"/>
                <a:gd name="connsiteY163" fmla="*/ 219865 h 504825"/>
                <a:gd name="connsiteX164" fmla="*/ 160755 w 514350"/>
                <a:gd name="connsiteY164" fmla="*/ 223555 h 504825"/>
                <a:gd name="connsiteX165" fmla="*/ 164441 w 514350"/>
                <a:gd name="connsiteY165" fmla="*/ 219865 h 504825"/>
                <a:gd name="connsiteX166" fmla="*/ 168127 w 514350"/>
                <a:gd name="connsiteY166" fmla="*/ 223555 h 504825"/>
                <a:gd name="connsiteX167" fmla="*/ 175509 w 514350"/>
                <a:gd name="connsiteY167" fmla="*/ 223555 h 504825"/>
                <a:gd name="connsiteX168" fmla="*/ 179195 w 514350"/>
                <a:gd name="connsiteY168" fmla="*/ 234627 h 504825"/>
                <a:gd name="connsiteX169" fmla="*/ 182891 w 514350"/>
                <a:gd name="connsiteY169" fmla="*/ 238318 h 504825"/>
                <a:gd name="connsiteX170" fmla="*/ 186577 w 514350"/>
                <a:gd name="connsiteY170" fmla="*/ 234627 h 504825"/>
                <a:gd name="connsiteX171" fmla="*/ 190263 w 514350"/>
                <a:gd name="connsiteY171" fmla="*/ 245699 h 504825"/>
                <a:gd name="connsiteX172" fmla="*/ 190263 w 514350"/>
                <a:gd name="connsiteY172" fmla="*/ 249389 h 504825"/>
                <a:gd name="connsiteX173" fmla="*/ 193959 w 514350"/>
                <a:gd name="connsiteY173" fmla="*/ 253080 h 504825"/>
                <a:gd name="connsiteX174" fmla="*/ 201331 w 514350"/>
                <a:gd name="connsiteY174" fmla="*/ 249389 h 504825"/>
                <a:gd name="connsiteX175" fmla="*/ 201331 w 514350"/>
                <a:gd name="connsiteY175" fmla="*/ 253080 h 504825"/>
                <a:gd name="connsiteX176" fmla="*/ 201331 w 514350"/>
                <a:gd name="connsiteY176" fmla="*/ 256771 h 504825"/>
                <a:gd name="connsiteX177" fmla="*/ 205027 w 514350"/>
                <a:gd name="connsiteY177" fmla="*/ 260461 h 504825"/>
                <a:gd name="connsiteX178" fmla="*/ 205027 w 514350"/>
                <a:gd name="connsiteY178" fmla="*/ 264151 h 504825"/>
                <a:gd name="connsiteX179" fmla="*/ 212399 w 514350"/>
                <a:gd name="connsiteY179" fmla="*/ 264151 h 504825"/>
                <a:gd name="connsiteX180" fmla="*/ 212399 w 514350"/>
                <a:gd name="connsiteY180" fmla="*/ 267842 h 504825"/>
                <a:gd name="connsiteX181" fmla="*/ 216095 w 514350"/>
                <a:gd name="connsiteY181" fmla="*/ 271532 h 504825"/>
                <a:gd name="connsiteX182" fmla="*/ 219781 w 514350"/>
                <a:gd name="connsiteY182" fmla="*/ 275223 h 504825"/>
                <a:gd name="connsiteX183" fmla="*/ 223467 w 514350"/>
                <a:gd name="connsiteY183" fmla="*/ 278913 h 504825"/>
                <a:gd name="connsiteX184" fmla="*/ 223467 w 514350"/>
                <a:gd name="connsiteY184" fmla="*/ 282604 h 504825"/>
                <a:gd name="connsiteX185" fmla="*/ 227163 w 514350"/>
                <a:gd name="connsiteY185" fmla="*/ 282604 h 504825"/>
                <a:gd name="connsiteX186" fmla="*/ 223467 w 514350"/>
                <a:gd name="connsiteY186" fmla="*/ 286295 h 504825"/>
                <a:gd name="connsiteX187" fmla="*/ 227163 w 514350"/>
                <a:gd name="connsiteY187" fmla="*/ 289985 h 504825"/>
                <a:gd name="connsiteX188" fmla="*/ 227163 w 514350"/>
                <a:gd name="connsiteY188" fmla="*/ 293676 h 504825"/>
                <a:gd name="connsiteX189" fmla="*/ 245603 w 514350"/>
                <a:gd name="connsiteY189" fmla="*/ 286295 h 504825"/>
                <a:gd name="connsiteX190" fmla="*/ 249290 w 514350"/>
                <a:gd name="connsiteY190" fmla="*/ 286295 h 504825"/>
                <a:gd name="connsiteX191" fmla="*/ 256672 w 514350"/>
                <a:gd name="connsiteY191" fmla="*/ 282604 h 504825"/>
                <a:gd name="connsiteX192" fmla="*/ 267740 w 514350"/>
                <a:gd name="connsiteY192" fmla="*/ 282604 h 504825"/>
                <a:gd name="connsiteX193" fmla="*/ 271426 w 514350"/>
                <a:gd name="connsiteY193" fmla="*/ 282604 h 504825"/>
                <a:gd name="connsiteX194" fmla="*/ 275121 w 514350"/>
                <a:gd name="connsiteY194" fmla="*/ 282604 h 504825"/>
                <a:gd name="connsiteX195" fmla="*/ 278808 w 514350"/>
                <a:gd name="connsiteY195" fmla="*/ 286295 h 504825"/>
                <a:gd name="connsiteX196" fmla="*/ 282494 w 514350"/>
                <a:gd name="connsiteY196" fmla="*/ 286295 h 504825"/>
                <a:gd name="connsiteX197" fmla="*/ 282494 w 514350"/>
                <a:gd name="connsiteY197" fmla="*/ 289985 h 504825"/>
                <a:gd name="connsiteX198" fmla="*/ 297258 w 514350"/>
                <a:gd name="connsiteY198" fmla="*/ 301057 h 504825"/>
                <a:gd name="connsiteX199" fmla="*/ 300944 w 514350"/>
                <a:gd name="connsiteY199" fmla="*/ 308438 h 504825"/>
                <a:gd name="connsiteX200" fmla="*/ 315698 w 514350"/>
                <a:gd name="connsiteY200" fmla="*/ 319510 h 504825"/>
                <a:gd name="connsiteX201" fmla="*/ 315698 w 514350"/>
                <a:gd name="connsiteY201" fmla="*/ 323201 h 504825"/>
                <a:gd name="connsiteX202" fmla="*/ 326766 w 514350"/>
                <a:gd name="connsiteY202" fmla="*/ 334273 h 504825"/>
                <a:gd name="connsiteX203" fmla="*/ 337834 w 514350"/>
                <a:gd name="connsiteY203" fmla="*/ 345344 h 504825"/>
                <a:gd name="connsiteX204" fmla="*/ 356284 w 514350"/>
                <a:gd name="connsiteY204" fmla="*/ 363796 h 504825"/>
                <a:gd name="connsiteX205" fmla="*/ 359970 w 514350"/>
                <a:gd name="connsiteY205" fmla="*/ 367487 h 504825"/>
                <a:gd name="connsiteX206" fmla="*/ 367352 w 514350"/>
                <a:gd name="connsiteY206" fmla="*/ 374868 h 504825"/>
                <a:gd name="connsiteX207" fmla="*/ 374724 w 514350"/>
                <a:gd name="connsiteY207" fmla="*/ 382249 h 504825"/>
                <a:gd name="connsiteX208" fmla="*/ 378410 w 514350"/>
                <a:gd name="connsiteY208" fmla="*/ 385940 h 504825"/>
                <a:gd name="connsiteX209" fmla="*/ 378410 w 514350"/>
                <a:gd name="connsiteY209" fmla="*/ 389631 h 504825"/>
                <a:gd name="connsiteX210" fmla="*/ 382106 w 514350"/>
                <a:gd name="connsiteY210" fmla="*/ 393321 h 504825"/>
                <a:gd name="connsiteX211" fmla="*/ 385792 w 514350"/>
                <a:gd name="connsiteY211" fmla="*/ 397012 h 504825"/>
                <a:gd name="connsiteX212" fmla="*/ 389479 w 514350"/>
                <a:gd name="connsiteY212" fmla="*/ 404393 h 504825"/>
                <a:gd name="connsiteX213" fmla="*/ 393174 w 514350"/>
                <a:gd name="connsiteY213" fmla="*/ 411774 h 504825"/>
                <a:gd name="connsiteX214" fmla="*/ 396861 w 514350"/>
                <a:gd name="connsiteY214" fmla="*/ 411774 h 504825"/>
                <a:gd name="connsiteX215" fmla="*/ 396861 w 514350"/>
                <a:gd name="connsiteY215" fmla="*/ 415465 h 504825"/>
                <a:gd name="connsiteX216" fmla="*/ 400547 w 514350"/>
                <a:gd name="connsiteY216" fmla="*/ 415465 h 504825"/>
                <a:gd name="connsiteX217" fmla="*/ 407928 w 514350"/>
                <a:gd name="connsiteY217" fmla="*/ 426537 h 504825"/>
                <a:gd name="connsiteX218" fmla="*/ 411615 w 514350"/>
                <a:gd name="connsiteY218" fmla="*/ 433917 h 504825"/>
                <a:gd name="connsiteX219" fmla="*/ 415310 w 514350"/>
                <a:gd name="connsiteY219" fmla="*/ 437608 h 504825"/>
                <a:gd name="connsiteX220" fmla="*/ 418997 w 514350"/>
                <a:gd name="connsiteY220" fmla="*/ 441298 h 504825"/>
                <a:gd name="connsiteX221" fmla="*/ 426378 w 514350"/>
                <a:gd name="connsiteY221" fmla="*/ 441298 h 504825"/>
                <a:gd name="connsiteX222" fmla="*/ 426378 w 514350"/>
                <a:gd name="connsiteY222" fmla="*/ 448680 h 504825"/>
                <a:gd name="connsiteX223" fmla="*/ 422683 w 514350"/>
                <a:gd name="connsiteY223" fmla="*/ 452370 h 504825"/>
                <a:gd name="connsiteX224" fmla="*/ 415310 w 514350"/>
                <a:gd name="connsiteY224" fmla="*/ 474514 h 504825"/>
                <a:gd name="connsiteX225" fmla="*/ 415310 w 514350"/>
                <a:gd name="connsiteY225" fmla="*/ 478204 h 504825"/>
                <a:gd name="connsiteX226" fmla="*/ 426378 w 514350"/>
                <a:gd name="connsiteY226" fmla="*/ 478204 h 504825"/>
                <a:gd name="connsiteX227" fmla="*/ 426378 w 514350"/>
                <a:gd name="connsiteY227" fmla="*/ 481895 h 504825"/>
                <a:gd name="connsiteX228" fmla="*/ 430065 w 514350"/>
                <a:gd name="connsiteY228" fmla="*/ 481895 h 504825"/>
                <a:gd name="connsiteX229" fmla="*/ 437447 w 514350"/>
                <a:gd name="connsiteY229" fmla="*/ 492967 h 504825"/>
                <a:gd name="connsiteX230" fmla="*/ 441133 w 514350"/>
                <a:gd name="connsiteY230" fmla="*/ 496657 h 504825"/>
                <a:gd name="connsiteX231" fmla="*/ 444819 w 514350"/>
                <a:gd name="connsiteY231" fmla="*/ 492967 h 504825"/>
                <a:gd name="connsiteX232" fmla="*/ 444819 w 514350"/>
                <a:gd name="connsiteY232" fmla="*/ 496657 h 504825"/>
                <a:gd name="connsiteX233" fmla="*/ 441133 w 514350"/>
                <a:gd name="connsiteY233" fmla="*/ 496657 h 504825"/>
                <a:gd name="connsiteX234" fmla="*/ 441133 w 514350"/>
                <a:gd name="connsiteY234" fmla="*/ 504039 h 504825"/>
                <a:gd name="connsiteX235" fmla="*/ 452201 w 514350"/>
                <a:gd name="connsiteY235" fmla="*/ 504039 h 504825"/>
                <a:gd name="connsiteX236" fmla="*/ 448505 w 514350"/>
                <a:gd name="connsiteY236" fmla="*/ 496657 h 504825"/>
                <a:gd name="connsiteX237" fmla="*/ 448505 w 514350"/>
                <a:gd name="connsiteY237" fmla="*/ 492967 h 504825"/>
                <a:gd name="connsiteX238" fmla="*/ 455887 w 514350"/>
                <a:gd name="connsiteY238" fmla="*/ 481895 h 504825"/>
                <a:gd name="connsiteX239" fmla="*/ 478023 w 514350"/>
                <a:gd name="connsiteY239" fmla="*/ 444989 h 504825"/>
                <a:gd name="connsiteX240" fmla="*/ 492777 w 514350"/>
                <a:gd name="connsiteY240" fmla="*/ 419156 h 504825"/>
                <a:gd name="connsiteX241" fmla="*/ 500159 w 514350"/>
                <a:gd name="connsiteY241" fmla="*/ 389631 h 504825"/>
                <a:gd name="connsiteX242" fmla="*/ 503845 w 514350"/>
                <a:gd name="connsiteY242" fmla="*/ 371178 h 504825"/>
                <a:gd name="connsiteX243" fmla="*/ 507541 w 514350"/>
                <a:gd name="connsiteY243" fmla="*/ 367487 h 504825"/>
                <a:gd name="connsiteX244" fmla="*/ 507541 w 514350"/>
                <a:gd name="connsiteY244" fmla="*/ 363796 h 504825"/>
                <a:gd name="connsiteX245" fmla="*/ 500159 w 514350"/>
                <a:gd name="connsiteY245" fmla="*/ 330582 h 504825"/>
                <a:gd name="connsiteX246" fmla="*/ 500159 w 514350"/>
                <a:gd name="connsiteY246" fmla="*/ 312129 h 504825"/>
                <a:gd name="connsiteX247" fmla="*/ 500159 w 514350"/>
                <a:gd name="connsiteY247" fmla="*/ 308438 h 504825"/>
                <a:gd name="connsiteX248" fmla="*/ 500159 w 514350"/>
                <a:gd name="connsiteY248" fmla="*/ 282604 h 504825"/>
                <a:gd name="connsiteX249" fmla="*/ 489091 w 514350"/>
                <a:gd name="connsiteY249" fmla="*/ 275223 h 504825"/>
                <a:gd name="connsiteX250" fmla="*/ 489091 w 514350"/>
                <a:gd name="connsiteY250" fmla="*/ 267842 h 504825"/>
                <a:gd name="connsiteX251" fmla="*/ 489091 w 514350"/>
                <a:gd name="connsiteY251" fmla="*/ 264151 h 504825"/>
                <a:gd name="connsiteX252" fmla="*/ 489091 w 514350"/>
                <a:gd name="connsiteY252" fmla="*/ 260461 h 504825"/>
                <a:gd name="connsiteX253" fmla="*/ 492777 w 514350"/>
                <a:gd name="connsiteY253" fmla="*/ 256771 h 504825"/>
                <a:gd name="connsiteX254" fmla="*/ 492777 w 514350"/>
                <a:gd name="connsiteY254" fmla="*/ 249389 h 504825"/>
                <a:gd name="connsiteX255" fmla="*/ 492777 w 514350"/>
                <a:gd name="connsiteY255" fmla="*/ 245699 h 504825"/>
                <a:gd name="connsiteX256" fmla="*/ 496473 w 514350"/>
                <a:gd name="connsiteY256" fmla="*/ 234627 h 504825"/>
                <a:gd name="connsiteX257" fmla="*/ 500159 w 514350"/>
                <a:gd name="connsiteY257" fmla="*/ 234627 h 504825"/>
                <a:gd name="connsiteX258" fmla="*/ 503845 w 514350"/>
                <a:gd name="connsiteY258" fmla="*/ 230936 h 504825"/>
                <a:gd name="connsiteX259" fmla="*/ 511227 w 514350"/>
                <a:gd name="connsiteY259" fmla="*/ 230936 h 504825"/>
                <a:gd name="connsiteX260" fmla="*/ 503845 w 514350"/>
                <a:gd name="connsiteY260" fmla="*/ 227246 h 504825"/>
                <a:gd name="connsiteX261" fmla="*/ 500159 w 514350"/>
                <a:gd name="connsiteY261" fmla="*/ 223555 h 504825"/>
                <a:gd name="connsiteX262" fmla="*/ 503845 w 514350"/>
                <a:gd name="connsiteY262" fmla="*/ 219865 h 504825"/>
                <a:gd name="connsiteX263" fmla="*/ 503845 w 514350"/>
                <a:gd name="connsiteY263" fmla="*/ 216174 h 504825"/>
                <a:gd name="connsiteX264" fmla="*/ 503845 w 514350"/>
                <a:gd name="connsiteY264" fmla="*/ 201412 h 504825"/>
                <a:gd name="connsiteX265" fmla="*/ 500159 w 514350"/>
                <a:gd name="connsiteY265" fmla="*/ 190340 h 504825"/>
                <a:gd name="connsiteX266" fmla="*/ 500159 w 514350"/>
                <a:gd name="connsiteY266" fmla="*/ 186649 h 504825"/>
                <a:gd name="connsiteX267" fmla="*/ 496473 w 514350"/>
                <a:gd name="connsiteY267" fmla="*/ 186649 h 504825"/>
                <a:gd name="connsiteX268" fmla="*/ 485405 w 514350"/>
                <a:gd name="connsiteY268" fmla="*/ 182958 h 504825"/>
                <a:gd name="connsiteX269" fmla="*/ 481709 w 514350"/>
                <a:gd name="connsiteY269" fmla="*/ 182958 h 504825"/>
                <a:gd name="connsiteX270" fmla="*/ 481709 w 514350"/>
                <a:gd name="connsiteY270" fmla="*/ 179268 h 504825"/>
                <a:gd name="connsiteX271" fmla="*/ 478023 w 514350"/>
                <a:gd name="connsiteY271" fmla="*/ 179268 h 504825"/>
                <a:gd name="connsiteX272" fmla="*/ 474337 w 514350"/>
                <a:gd name="connsiteY272" fmla="*/ 179268 h 504825"/>
                <a:gd name="connsiteX273" fmla="*/ 470641 w 514350"/>
                <a:gd name="connsiteY273" fmla="*/ 179268 h 504825"/>
                <a:gd name="connsiteX274" fmla="*/ 466955 w 514350"/>
                <a:gd name="connsiteY274" fmla="*/ 179268 h 504825"/>
                <a:gd name="connsiteX275" fmla="*/ 466955 w 514350"/>
                <a:gd name="connsiteY275" fmla="*/ 175578 h 504825"/>
                <a:gd name="connsiteX276" fmla="*/ 463269 w 514350"/>
                <a:gd name="connsiteY276" fmla="*/ 175578 h 504825"/>
                <a:gd name="connsiteX277" fmla="*/ 459573 w 514350"/>
                <a:gd name="connsiteY277" fmla="*/ 175578 h 504825"/>
                <a:gd name="connsiteX278" fmla="*/ 452201 w 514350"/>
                <a:gd name="connsiteY278" fmla="*/ 175578 h 504825"/>
                <a:gd name="connsiteX279" fmla="*/ 448505 w 514350"/>
                <a:gd name="connsiteY279" fmla="*/ 171888 h 504825"/>
                <a:gd name="connsiteX280" fmla="*/ 444819 w 514350"/>
                <a:gd name="connsiteY280" fmla="*/ 171888 h 504825"/>
                <a:gd name="connsiteX281" fmla="*/ 441133 w 514350"/>
                <a:gd name="connsiteY281" fmla="*/ 168197 h 504825"/>
                <a:gd name="connsiteX282" fmla="*/ 437447 w 514350"/>
                <a:gd name="connsiteY282" fmla="*/ 164506 h 504825"/>
                <a:gd name="connsiteX283" fmla="*/ 437447 w 514350"/>
                <a:gd name="connsiteY283" fmla="*/ 160816 h 504825"/>
                <a:gd name="connsiteX284" fmla="*/ 437447 w 514350"/>
                <a:gd name="connsiteY284" fmla="*/ 153435 h 504825"/>
                <a:gd name="connsiteX285" fmla="*/ 441133 w 514350"/>
                <a:gd name="connsiteY285" fmla="*/ 149744 h 504825"/>
                <a:gd name="connsiteX286" fmla="*/ 437447 w 514350"/>
                <a:gd name="connsiteY286" fmla="*/ 142363 h 504825"/>
                <a:gd name="connsiteX287" fmla="*/ 437447 w 514350"/>
                <a:gd name="connsiteY287" fmla="*/ 138672 h 504825"/>
                <a:gd name="connsiteX288" fmla="*/ 441133 w 514350"/>
                <a:gd name="connsiteY288" fmla="*/ 138672 h 504825"/>
                <a:gd name="connsiteX289" fmla="*/ 444819 w 514350"/>
                <a:gd name="connsiteY289" fmla="*/ 131291 h 504825"/>
                <a:gd name="connsiteX290" fmla="*/ 444819 w 514350"/>
                <a:gd name="connsiteY290" fmla="*/ 127600 h 504825"/>
                <a:gd name="connsiteX291" fmla="*/ 437447 w 514350"/>
                <a:gd name="connsiteY291" fmla="*/ 131291 h 504825"/>
                <a:gd name="connsiteX292" fmla="*/ 433751 w 514350"/>
                <a:gd name="connsiteY292" fmla="*/ 134981 h 504825"/>
                <a:gd name="connsiteX293" fmla="*/ 422683 w 514350"/>
                <a:gd name="connsiteY293" fmla="*/ 134981 h 504825"/>
                <a:gd name="connsiteX294" fmla="*/ 418997 w 514350"/>
                <a:gd name="connsiteY294" fmla="*/ 134981 h 504825"/>
                <a:gd name="connsiteX295" fmla="*/ 415310 w 514350"/>
                <a:gd name="connsiteY295" fmla="*/ 134981 h 504825"/>
                <a:gd name="connsiteX296" fmla="*/ 411615 w 514350"/>
                <a:gd name="connsiteY296" fmla="*/ 134981 h 504825"/>
                <a:gd name="connsiteX297" fmla="*/ 404242 w 514350"/>
                <a:gd name="connsiteY297" fmla="*/ 131291 h 504825"/>
                <a:gd name="connsiteX298" fmla="*/ 404242 w 514350"/>
                <a:gd name="connsiteY298" fmla="*/ 127600 h 504825"/>
                <a:gd name="connsiteX299" fmla="*/ 400547 w 514350"/>
                <a:gd name="connsiteY299" fmla="*/ 127600 h 504825"/>
                <a:gd name="connsiteX300" fmla="*/ 396861 w 514350"/>
                <a:gd name="connsiteY300" fmla="*/ 127600 h 504825"/>
                <a:gd name="connsiteX301" fmla="*/ 389479 w 514350"/>
                <a:gd name="connsiteY301" fmla="*/ 123910 h 504825"/>
                <a:gd name="connsiteX302" fmla="*/ 382106 w 514350"/>
                <a:gd name="connsiteY302" fmla="*/ 120219 h 504825"/>
                <a:gd name="connsiteX303" fmla="*/ 382106 w 514350"/>
                <a:gd name="connsiteY303" fmla="*/ 123910 h 504825"/>
                <a:gd name="connsiteX304" fmla="*/ 374724 w 514350"/>
                <a:gd name="connsiteY304" fmla="*/ 120219 h 504825"/>
                <a:gd name="connsiteX305" fmla="*/ 367352 w 514350"/>
                <a:gd name="connsiteY305" fmla="*/ 116528 h 504825"/>
                <a:gd name="connsiteX306" fmla="*/ 363656 w 514350"/>
                <a:gd name="connsiteY306" fmla="*/ 116528 h 504825"/>
                <a:gd name="connsiteX307" fmla="*/ 363656 w 514350"/>
                <a:gd name="connsiteY307" fmla="*/ 112838 h 504825"/>
                <a:gd name="connsiteX308" fmla="*/ 367352 w 514350"/>
                <a:gd name="connsiteY308" fmla="*/ 112838 h 504825"/>
                <a:gd name="connsiteX309" fmla="*/ 363656 w 514350"/>
                <a:gd name="connsiteY309" fmla="*/ 109147 h 504825"/>
                <a:gd name="connsiteX310" fmla="*/ 356284 w 514350"/>
                <a:gd name="connsiteY310" fmla="*/ 101766 h 504825"/>
                <a:gd name="connsiteX311" fmla="*/ 352588 w 514350"/>
                <a:gd name="connsiteY311" fmla="*/ 101766 h 504825"/>
                <a:gd name="connsiteX312" fmla="*/ 348902 w 514350"/>
                <a:gd name="connsiteY312" fmla="*/ 98075 h 504825"/>
                <a:gd name="connsiteX313" fmla="*/ 348902 w 514350"/>
                <a:gd name="connsiteY313" fmla="*/ 94385 h 504825"/>
                <a:gd name="connsiteX314" fmla="*/ 348902 w 514350"/>
                <a:gd name="connsiteY314" fmla="*/ 87005 h 504825"/>
                <a:gd name="connsiteX315" fmla="*/ 348902 w 514350"/>
                <a:gd name="connsiteY315" fmla="*/ 79623 h 504825"/>
                <a:gd name="connsiteX316" fmla="*/ 345216 w 514350"/>
                <a:gd name="connsiteY316" fmla="*/ 75933 h 504825"/>
                <a:gd name="connsiteX317" fmla="*/ 345216 w 514350"/>
                <a:gd name="connsiteY317" fmla="*/ 72242 h 504825"/>
                <a:gd name="connsiteX318" fmla="*/ 345216 w 514350"/>
                <a:gd name="connsiteY318" fmla="*/ 68551 h 504825"/>
                <a:gd name="connsiteX319" fmla="*/ 345216 w 514350"/>
                <a:gd name="connsiteY319" fmla="*/ 61170 h 504825"/>
                <a:gd name="connsiteX320" fmla="*/ 341520 w 514350"/>
                <a:gd name="connsiteY320" fmla="*/ 53789 h 504825"/>
                <a:gd name="connsiteX321" fmla="*/ 337834 w 514350"/>
                <a:gd name="connsiteY321" fmla="*/ 53789 h 504825"/>
                <a:gd name="connsiteX322" fmla="*/ 337834 w 514350"/>
                <a:gd name="connsiteY322" fmla="*/ 42717 h 504825"/>
                <a:gd name="connsiteX323" fmla="*/ 341520 w 514350"/>
                <a:gd name="connsiteY323" fmla="*/ 31645 h 504825"/>
                <a:gd name="connsiteX324" fmla="*/ 341520 w 514350"/>
                <a:gd name="connsiteY324" fmla="*/ 27955 h 504825"/>
                <a:gd name="connsiteX325" fmla="*/ 330452 w 514350"/>
                <a:gd name="connsiteY325" fmla="*/ 16883 h 504825"/>
                <a:gd name="connsiteX326" fmla="*/ 323080 w 514350"/>
                <a:gd name="connsiteY326" fmla="*/ 13193 h 504825"/>
                <a:gd name="connsiteX327" fmla="*/ 319384 w 514350"/>
                <a:gd name="connsiteY327" fmla="*/ 20574 h 504825"/>
                <a:gd name="connsiteX328" fmla="*/ 323080 w 514350"/>
                <a:gd name="connsiteY328" fmla="*/ 24264 h 504825"/>
                <a:gd name="connsiteX329" fmla="*/ 319384 w 514350"/>
                <a:gd name="connsiteY329" fmla="*/ 24264 h 504825"/>
                <a:gd name="connsiteX330" fmla="*/ 315698 w 514350"/>
                <a:gd name="connsiteY330" fmla="*/ 24264 h 504825"/>
                <a:gd name="connsiteX331" fmla="*/ 312012 w 514350"/>
                <a:gd name="connsiteY331" fmla="*/ 24264 h 504825"/>
                <a:gd name="connsiteX332" fmla="*/ 312012 w 514350"/>
                <a:gd name="connsiteY332" fmla="*/ 20574 h 504825"/>
                <a:gd name="connsiteX333" fmla="*/ 315698 w 514350"/>
                <a:gd name="connsiteY333" fmla="*/ 24264 h 504825"/>
                <a:gd name="connsiteX334" fmla="*/ 315698 w 514350"/>
                <a:gd name="connsiteY334" fmla="*/ 20574 h 504825"/>
                <a:gd name="connsiteX335" fmla="*/ 319384 w 514350"/>
                <a:gd name="connsiteY335" fmla="*/ 13193 h 504825"/>
                <a:gd name="connsiteX336" fmla="*/ 315698 w 514350"/>
                <a:gd name="connsiteY336" fmla="*/ 13193 h 504825"/>
                <a:gd name="connsiteX337" fmla="*/ 308316 w 514350"/>
                <a:gd name="connsiteY337" fmla="*/ 9502 h 504825"/>
                <a:gd name="connsiteX338" fmla="*/ 300944 w 514350"/>
                <a:gd name="connsiteY338" fmla="*/ 16883 h 504825"/>
                <a:gd name="connsiteX339" fmla="*/ 297258 w 514350"/>
                <a:gd name="connsiteY339" fmla="*/ 13193 h 504825"/>
                <a:gd name="connsiteX340" fmla="*/ 289876 w 514350"/>
                <a:gd name="connsiteY340" fmla="*/ 9502 h 504825"/>
                <a:gd name="connsiteX341" fmla="*/ 278808 w 514350"/>
                <a:gd name="connsiteY341" fmla="*/ 9502 h 504825"/>
                <a:gd name="connsiteX342" fmla="*/ 275121 w 514350"/>
                <a:gd name="connsiteY342" fmla="*/ 5812 h 504825"/>
                <a:gd name="connsiteX343" fmla="*/ 367352 w 514350"/>
                <a:gd name="connsiteY343" fmla="*/ 112838 h 504825"/>
                <a:gd name="connsiteX344" fmla="*/ 371038 w 514350"/>
                <a:gd name="connsiteY344" fmla="*/ 116528 h 504825"/>
                <a:gd name="connsiteX345" fmla="*/ 371038 w 514350"/>
                <a:gd name="connsiteY345" fmla="*/ 112838 h 504825"/>
                <a:gd name="connsiteX346" fmla="*/ 367352 w 514350"/>
                <a:gd name="connsiteY346" fmla="*/ 112838 h 504825"/>
                <a:gd name="connsiteX347" fmla="*/ 500159 w 514350"/>
                <a:gd name="connsiteY347" fmla="*/ 186649 h 504825"/>
                <a:gd name="connsiteX348" fmla="*/ 500159 w 514350"/>
                <a:gd name="connsiteY348" fmla="*/ 179268 h 504825"/>
                <a:gd name="connsiteX349" fmla="*/ 496473 w 514350"/>
                <a:gd name="connsiteY349" fmla="*/ 182958 h 504825"/>
                <a:gd name="connsiteX350" fmla="*/ 500159 w 514350"/>
                <a:gd name="connsiteY350" fmla="*/ 186649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Lst>
              <a:rect l="l" t="t" r="r" b="b"/>
              <a:pathLst>
                <a:path w="514350" h="504825">
                  <a:moveTo>
                    <a:pt x="275121" y="5812"/>
                  </a:moveTo>
                  <a:lnTo>
                    <a:pt x="267740" y="9502"/>
                  </a:lnTo>
                  <a:lnTo>
                    <a:pt x="238222" y="13193"/>
                  </a:lnTo>
                  <a:lnTo>
                    <a:pt x="234535" y="16883"/>
                  </a:lnTo>
                  <a:lnTo>
                    <a:pt x="223467" y="20574"/>
                  </a:lnTo>
                  <a:lnTo>
                    <a:pt x="219781" y="20574"/>
                  </a:lnTo>
                  <a:lnTo>
                    <a:pt x="216095" y="24264"/>
                  </a:lnTo>
                  <a:lnTo>
                    <a:pt x="208713" y="24264"/>
                  </a:lnTo>
                  <a:lnTo>
                    <a:pt x="201331" y="31645"/>
                  </a:lnTo>
                  <a:lnTo>
                    <a:pt x="197645" y="31645"/>
                  </a:lnTo>
                  <a:lnTo>
                    <a:pt x="193959" y="31645"/>
                  </a:lnTo>
                  <a:lnTo>
                    <a:pt x="190263" y="31645"/>
                  </a:lnTo>
                  <a:lnTo>
                    <a:pt x="182891" y="35336"/>
                  </a:lnTo>
                  <a:lnTo>
                    <a:pt x="175509" y="39027"/>
                  </a:lnTo>
                  <a:lnTo>
                    <a:pt x="171823" y="35336"/>
                  </a:lnTo>
                  <a:lnTo>
                    <a:pt x="168127" y="39027"/>
                  </a:lnTo>
                  <a:lnTo>
                    <a:pt x="149687" y="39027"/>
                  </a:lnTo>
                  <a:lnTo>
                    <a:pt x="138619" y="42717"/>
                  </a:lnTo>
                  <a:lnTo>
                    <a:pt x="123864" y="46408"/>
                  </a:lnTo>
                  <a:lnTo>
                    <a:pt x="116483" y="46408"/>
                  </a:lnTo>
                  <a:lnTo>
                    <a:pt x="109101" y="50098"/>
                  </a:lnTo>
                  <a:lnTo>
                    <a:pt x="101728" y="50098"/>
                  </a:lnTo>
                  <a:lnTo>
                    <a:pt x="90660" y="53789"/>
                  </a:lnTo>
                  <a:lnTo>
                    <a:pt x="79592" y="57480"/>
                  </a:lnTo>
                  <a:lnTo>
                    <a:pt x="75906" y="61170"/>
                  </a:lnTo>
                  <a:lnTo>
                    <a:pt x="75906" y="64861"/>
                  </a:lnTo>
                  <a:lnTo>
                    <a:pt x="68524" y="68551"/>
                  </a:lnTo>
                  <a:lnTo>
                    <a:pt x="64838" y="64861"/>
                  </a:lnTo>
                  <a:lnTo>
                    <a:pt x="61142" y="61170"/>
                  </a:lnTo>
                  <a:lnTo>
                    <a:pt x="42702" y="50098"/>
                  </a:lnTo>
                  <a:lnTo>
                    <a:pt x="39006" y="50098"/>
                  </a:lnTo>
                  <a:lnTo>
                    <a:pt x="24252" y="57480"/>
                  </a:lnTo>
                  <a:lnTo>
                    <a:pt x="24252" y="53789"/>
                  </a:lnTo>
                  <a:lnTo>
                    <a:pt x="20566" y="53789"/>
                  </a:lnTo>
                  <a:lnTo>
                    <a:pt x="20566" y="57480"/>
                  </a:lnTo>
                  <a:lnTo>
                    <a:pt x="16870" y="57480"/>
                  </a:lnTo>
                  <a:lnTo>
                    <a:pt x="16870" y="53789"/>
                  </a:lnTo>
                  <a:lnTo>
                    <a:pt x="13184" y="57480"/>
                  </a:lnTo>
                  <a:lnTo>
                    <a:pt x="16870" y="61170"/>
                  </a:lnTo>
                  <a:lnTo>
                    <a:pt x="20566" y="61170"/>
                  </a:lnTo>
                  <a:lnTo>
                    <a:pt x="24252" y="64861"/>
                  </a:lnTo>
                  <a:lnTo>
                    <a:pt x="27938" y="64861"/>
                  </a:lnTo>
                  <a:lnTo>
                    <a:pt x="31634" y="68551"/>
                  </a:lnTo>
                  <a:lnTo>
                    <a:pt x="35320" y="68551"/>
                  </a:lnTo>
                  <a:lnTo>
                    <a:pt x="35320" y="72242"/>
                  </a:lnTo>
                  <a:lnTo>
                    <a:pt x="31634" y="72242"/>
                  </a:lnTo>
                  <a:lnTo>
                    <a:pt x="27938" y="72242"/>
                  </a:lnTo>
                  <a:lnTo>
                    <a:pt x="24252" y="72242"/>
                  </a:lnTo>
                  <a:lnTo>
                    <a:pt x="24252" y="68551"/>
                  </a:lnTo>
                  <a:lnTo>
                    <a:pt x="16870" y="64861"/>
                  </a:lnTo>
                  <a:lnTo>
                    <a:pt x="16870" y="61170"/>
                  </a:lnTo>
                  <a:lnTo>
                    <a:pt x="9498" y="61170"/>
                  </a:lnTo>
                  <a:lnTo>
                    <a:pt x="5812" y="68551"/>
                  </a:lnTo>
                  <a:lnTo>
                    <a:pt x="9498" y="68551"/>
                  </a:lnTo>
                  <a:lnTo>
                    <a:pt x="13184" y="72242"/>
                  </a:lnTo>
                  <a:lnTo>
                    <a:pt x="16870" y="72242"/>
                  </a:lnTo>
                  <a:lnTo>
                    <a:pt x="16870" y="75933"/>
                  </a:lnTo>
                  <a:lnTo>
                    <a:pt x="13184" y="79623"/>
                  </a:lnTo>
                  <a:lnTo>
                    <a:pt x="9498" y="75933"/>
                  </a:lnTo>
                  <a:lnTo>
                    <a:pt x="9498" y="79623"/>
                  </a:lnTo>
                  <a:lnTo>
                    <a:pt x="13184" y="83314"/>
                  </a:lnTo>
                  <a:lnTo>
                    <a:pt x="16870" y="83314"/>
                  </a:lnTo>
                  <a:lnTo>
                    <a:pt x="20566" y="83314"/>
                  </a:lnTo>
                  <a:lnTo>
                    <a:pt x="24252" y="83314"/>
                  </a:lnTo>
                  <a:lnTo>
                    <a:pt x="27938" y="83314"/>
                  </a:lnTo>
                  <a:lnTo>
                    <a:pt x="31634" y="83314"/>
                  </a:lnTo>
                  <a:lnTo>
                    <a:pt x="31634" y="87005"/>
                  </a:lnTo>
                  <a:lnTo>
                    <a:pt x="24252" y="87005"/>
                  </a:lnTo>
                  <a:lnTo>
                    <a:pt x="20566" y="87005"/>
                  </a:lnTo>
                  <a:lnTo>
                    <a:pt x="20566" y="90695"/>
                  </a:lnTo>
                  <a:lnTo>
                    <a:pt x="24252" y="90695"/>
                  </a:lnTo>
                  <a:lnTo>
                    <a:pt x="27938" y="90695"/>
                  </a:lnTo>
                  <a:lnTo>
                    <a:pt x="31634" y="90695"/>
                  </a:lnTo>
                  <a:lnTo>
                    <a:pt x="35320" y="87005"/>
                  </a:lnTo>
                  <a:lnTo>
                    <a:pt x="35320" y="90695"/>
                  </a:lnTo>
                  <a:lnTo>
                    <a:pt x="35320" y="94385"/>
                  </a:lnTo>
                  <a:lnTo>
                    <a:pt x="31634" y="94385"/>
                  </a:lnTo>
                  <a:lnTo>
                    <a:pt x="35320" y="98075"/>
                  </a:lnTo>
                  <a:lnTo>
                    <a:pt x="39006" y="94385"/>
                  </a:lnTo>
                  <a:lnTo>
                    <a:pt x="42702" y="94385"/>
                  </a:lnTo>
                  <a:lnTo>
                    <a:pt x="42702" y="98075"/>
                  </a:lnTo>
                  <a:lnTo>
                    <a:pt x="39006" y="101766"/>
                  </a:lnTo>
                  <a:lnTo>
                    <a:pt x="31634" y="101766"/>
                  </a:lnTo>
                  <a:lnTo>
                    <a:pt x="31634" y="105457"/>
                  </a:lnTo>
                  <a:lnTo>
                    <a:pt x="35320" y="109147"/>
                  </a:lnTo>
                  <a:lnTo>
                    <a:pt x="39006" y="105457"/>
                  </a:lnTo>
                  <a:lnTo>
                    <a:pt x="42702" y="105457"/>
                  </a:lnTo>
                  <a:lnTo>
                    <a:pt x="46388" y="105457"/>
                  </a:lnTo>
                  <a:lnTo>
                    <a:pt x="50074" y="105457"/>
                  </a:lnTo>
                  <a:lnTo>
                    <a:pt x="53770" y="109147"/>
                  </a:lnTo>
                  <a:lnTo>
                    <a:pt x="57456" y="109147"/>
                  </a:lnTo>
                  <a:lnTo>
                    <a:pt x="57456" y="131291"/>
                  </a:lnTo>
                  <a:lnTo>
                    <a:pt x="57456" y="134981"/>
                  </a:lnTo>
                  <a:lnTo>
                    <a:pt x="61142" y="134981"/>
                  </a:lnTo>
                  <a:lnTo>
                    <a:pt x="61142" y="138672"/>
                  </a:lnTo>
                  <a:lnTo>
                    <a:pt x="57456" y="138672"/>
                  </a:lnTo>
                  <a:lnTo>
                    <a:pt x="53770" y="142363"/>
                  </a:lnTo>
                  <a:lnTo>
                    <a:pt x="53770" y="146053"/>
                  </a:lnTo>
                  <a:lnTo>
                    <a:pt x="50074" y="149744"/>
                  </a:lnTo>
                  <a:lnTo>
                    <a:pt x="46388" y="149744"/>
                  </a:lnTo>
                  <a:lnTo>
                    <a:pt x="42702" y="153435"/>
                  </a:lnTo>
                  <a:lnTo>
                    <a:pt x="42702" y="157125"/>
                  </a:lnTo>
                  <a:lnTo>
                    <a:pt x="42702" y="160816"/>
                  </a:lnTo>
                  <a:lnTo>
                    <a:pt x="42702" y="164506"/>
                  </a:lnTo>
                  <a:lnTo>
                    <a:pt x="46388" y="164506"/>
                  </a:lnTo>
                  <a:lnTo>
                    <a:pt x="42702" y="168197"/>
                  </a:lnTo>
                  <a:lnTo>
                    <a:pt x="39006" y="168197"/>
                  </a:lnTo>
                  <a:lnTo>
                    <a:pt x="39006" y="171888"/>
                  </a:lnTo>
                  <a:lnTo>
                    <a:pt x="35320" y="175578"/>
                  </a:lnTo>
                  <a:lnTo>
                    <a:pt x="35320" y="179268"/>
                  </a:lnTo>
                  <a:lnTo>
                    <a:pt x="35320" y="182958"/>
                  </a:lnTo>
                  <a:lnTo>
                    <a:pt x="31634" y="186649"/>
                  </a:lnTo>
                  <a:lnTo>
                    <a:pt x="27938" y="190340"/>
                  </a:lnTo>
                  <a:lnTo>
                    <a:pt x="24252" y="194030"/>
                  </a:lnTo>
                  <a:lnTo>
                    <a:pt x="24252" y="197721"/>
                  </a:lnTo>
                  <a:lnTo>
                    <a:pt x="27938" y="197721"/>
                  </a:lnTo>
                  <a:lnTo>
                    <a:pt x="31634" y="197721"/>
                  </a:lnTo>
                  <a:lnTo>
                    <a:pt x="31634" y="205102"/>
                  </a:lnTo>
                  <a:lnTo>
                    <a:pt x="31634" y="208793"/>
                  </a:lnTo>
                  <a:lnTo>
                    <a:pt x="31634" y="212483"/>
                  </a:lnTo>
                  <a:lnTo>
                    <a:pt x="27938" y="219865"/>
                  </a:lnTo>
                  <a:lnTo>
                    <a:pt x="24252" y="223555"/>
                  </a:lnTo>
                  <a:lnTo>
                    <a:pt x="20566" y="223555"/>
                  </a:lnTo>
                  <a:lnTo>
                    <a:pt x="16870" y="227246"/>
                  </a:lnTo>
                  <a:lnTo>
                    <a:pt x="16870" y="230936"/>
                  </a:lnTo>
                  <a:lnTo>
                    <a:pt x="13184" y="238318"/>
                  </a:lnTo>
                  <a:lnTo>
                    <a:pt x="9498" y="242008"/>
                  </a:lnTo>
                  <a:lnTo>
                    <a:pt x="9498" y="249389"/>
                  </a:lnTo>
                  <a:lnTo>
                    <a:pt x="9498" y="256771"/>
                  </a:lnTo>
                  <a:lnTo>
                    <a:pt x="9498" y="260461"/>
                  </a:lnTo>
                  <a:lnTo>
                    <a:pt x="9498" y="275223"/>
                  </a:lnTo>
                  <a:lnTo>
                    <a:pt x="13184" y="278913"/>
                  </a:lnTo>
                  <a:lnTo>
                    <a:pt x="16870" y="282604"/>
                  </a:lnTo>
                  <a:lnTo>
                    <a:pt x="20566" y="289985"/>
                  </a:lnTo>
                  <a:lnTo>
                    <a:pt x="24252" y="289985"/>
                  </a:lnTo>
                  <a:lnTo>
                    <a:pt x="31634" y="289985"/>
                  </a:lnTo>
                  <a:lnTo>
                    <a:pt x="39006" y="289985"/>
                  </a:lnTo>
                  <a:lnTo>
                    <a:pt x="46388" y="289985"/>
                  </a:lnTo>
                  <a:lnTo>
                    <a:pt x="50074" y="289985"/>
                  </a:lnTo>
                  <a:lnTo>
                    <a:pt x="53770" y="293676"/>
                  </a:lnTo>
                  <a:lnTo>
                    <a:pt x="61142" y="297366"/>
                  </a:lnTo>
                  <a:lnTo>
                    <a:pt x="64838" y="301057"/>
                  </a:lnTo>
                  <a:lnTo>
                    <a:pt x="64838" y="304748"/>
                  </a:lnTo>
                  <a:lnTo>
                    <a:pt x="75906" y="308438"/>
                  </a:lnTo>
                  <a:lnTo>
                    <a:pt x="86974" y="312129"/>
                  </a:lnTo>
                  <a:lnTo>
                    <a:pt x="90660" y="312129"/>
                  </a:lnTo>
                  <a:lnTo>
                    <a:pt x="94346" y="297366"/>
                  </a:lnTo>
                  <a:lnTo>
                    <a:pt x="98033" y="297366"/>
                  </a:lnTo>
                  <a:lnTo>
                    <a:pt x="98033" y="286295"/>
                  </a:lnTo>
                  <a:lnTo>
                    <a:pt x="98033" y="282604"/>
                  </a:lnTo>
                  <a:lnTo>
                    <a:pt x="105414" y="264151"/>
                  </a:lnTo>
                  <a:lnTo>
                    <a:pt x="105414" y="260461"/>
                  </a:lnTo>
                  <a:lnTo>
                    <a:pt x="109101" y="256771"/>
                  </a:lnTo>
                  <a:lnTo>
                    <a:pt x="112796" y="249389"/>
                  </a:lnTo>
                  <a:lnTo>
                    <a:pt x="116483" y="245699"/>
                  </a:lnTo>
                  <a:lnTo>
                    <a:pt x="116483" y="242008"/>
                  </a:lnTo>
                  <a:lnTo>
                    <a:pt x="120169" y="238318"/>
                  </a:lnTo>
                  <a:lnTo>
                    <a:pt x="127551" y="234627"/>
                  </a:lnTo>
                  <a:lnTo>
                    <a:pt x="134932" y="230936"/>
                  </a:lnTo>
                  <a:lnTo>
                    <a:pt x="134932" y="227246"/>
                  </a:lnTo>
                  <a:lnTo>
                    <a:pt x="138619" y="223555"/>
                  </a:lnTo>
                  <a:lnTo>
                    <a:pt x="146001" y="219865"/>
                  </a:lnTo>
                  <a:lnTo>
                    <a:pt x="153373" y="219865"/>
                  </a:lnTo>
                  <a:lnTo>
                    <a:pt x="157069" y="219865"/>
                  </a:lnTo>
                  <a:lnTo>
                    <a:pt x="160755" y="223555"/>
                  </a:lnTo>
                  <a:lnTo>
                    <a:pt x="164441" y="219865"/>
                  </a:lnTo>
                  <a:lnTo>
                    <a:pt x="168127" y="223555"/>
                  </a:lnTo>
                  <a:lnTo>
                    <a:pt x="175509" y="223555"/>
                  </a:lnTo>
                  <a:lnTo>
                    <a:pt x="179195" y="234627"/>
                  </a:lnTo>
                  <a:lnTo>
                    <a:pt x="182891" y="238318"/>
                  </a:lnTo>
                  <a:lnTo>
                    <a:pt x="186577" y="234627"/>
                  </a:lnTo>
                  <a:lnTo>
                    <a:pt x="190263" y="245699"/>
                  </a:lnTo>
                  <a:lnTo>
                    <a:pt x="190263" y="249389"/>
                  </a:lnTo>
                  <a:lnTo>
                    <a:pt x="193959" y="253080"/>
                  </a:lnTo>
                  <a:lnTo>
                    <a:pt x="201331" y="249389"/>
                  </a:lnTo>
                  <a:lnTo>
                    <a:pt x="201331" y="253080"/>
                  </a:lnTo>
                  <a:lnTo>
                    <a:pt x="201331" y="256771"/>
                  </a:lnTo>
                  <a:lnTo>
                    <a:pt x="205027" y="260461"/>
                  </a:lnTo>
                  <a:lnTo>
                    <a:pt x="205027" y="264151"/>
                  </a:lnTo>
                  <a:lnTo>
                    <a:pt x="212399" y="264151"/>
                  </a:lnTo>
                  <a:lnTo>
                    <a:pt x="212399" y="267842"/>
                  </a:lnTo>
                  <a:lnTo>
                    <a:pt x="216095" y="271532"/>
                  </a:lnTo>
                  <a:lnTo>
                    <a:pt x="219781" y="275223"/>
                  </a:lnTo>
                  <a:lnTo>
                    <a:pt x="223467" y="278913"/>
                  </a:lnTo>
                  <a:lnTo>
                    <a:pt x="223467" y="282604"/>
                  </a:lnTo>
                  <a:lnTo>
                    <a:pt x="227163" y="282604"/>
                  </a:lnTo>
                  <a:lnTo>
                    <a:pt x="223467" y="286295"/>
                  </a:lnTo>
                  <a:lnTo>
                    <a:pt x="227163" y="289985"/>
                  </a:lnTo>
                  <a:lnTo>
                    <a:pt x="227163" y="293676"/>
                  </a:lnTo>
                  <a:lnTo>
                    <a:pt x="245603" y="286295"/>
                  </a:lnTo>
                  <a:lnTo>
                    <a:pt x="249290" y="286295"/>
                  </a:lnTo>
                  <a:lnTo>
                    <a:pt x="256672" y="282604"/>
                  </a:lnTo>
                  <a:lnTo>
                    <a:pt x="267740" y="282604"/>
                  </a:lnTo>
                  <a:lnTo>
                    <a:pt x="271426" y="282604"/>
                  </a:lnTo>
                  <a:lnTo>
                    <a:pt x="275121" y="282604"/>
                  </a:lnTo>
                  <a:lnTo>
                    <a:pt x="278808" y="286295"/>
                  </a:lnTo>
                  <a:lnTo>
                    <a:pt x="282494" y="286295"/>
                  </a:lnTo>
                  <a:lnTo>
                    <a:pt x="282494" y="289985"/>
                  </a:lnTo>
                  <a:lnTo>
                    <a:pt x="297258" y="301057"/>
                  </a:lnTo>
                  <a:lnTo>
                    <a:pt x="300944" y="308438"/>
                  </a:lnTo>
                  <a:lnTo>
                    <a:pt x="315698" y="319510"/>
                  </a:lnTo>
                  <a:lnTo>
                    <a:pt x="315698" y="323201"/>
                  </a:lnTo>
                  <a:lnTo>
                    <a:pt x="326766" y="334273"/>
                  </a:lnTo>
                  <a:lnTo>
                    <a:pt x="337834" y="345344"/>
                  </a:lnTo>
                  <a:lnTo>
                    <a:pt x="356284" y="363796"/>
                  </a:lnTo>
                  <a:lnTo>
                    <a:pt x="359970" y="367487"/>
                  </a:lnTo>
                  <a:lnTo>
                    <a:pt x="367352" y="374868"/>
                  </a:lnTo>
                  <a:lnTo>
                    <a:pt x="374724" y="382249"/>
                  </a:lnTo>
                  <a:lnTo>
                    <a:pt x="378410" y="385940"/>
                  </a:lnTo>
                  <a:lnTo>
                    <a:pt x="378410" y="389631"/>
                  </a:lnTo>
                  <a:lnTo>
                    <a:pt x="382106" y="393321"/>
                  </a:lnTo>
                  <a:lnTo>
                    <a:pt x="385792" y="397012"/>
                  </a:lnTo>
                  <a:lnTo>
                    <a:pt x="389479" y="404393"/>
                  </a:lnTo>
                  <a:lnTo>
                    <a:pt x="393174" y="411774"/>
                  </a:lnTo>
                  <a:lnTo>
                    <a:pt x="396861" y="411774"/>
                  </a:lnTo>
                  <a:lnTo>
                    <a:pt x="396861" y="415465"/>
                  </a:lnTo>
                  <a:lnTo>
                    <a:pt x="400547" y="415465"/>
                  </a:lnTo>
                  <a:lnTo>
                    <a:pt x="407928" y="426537"/>
                  </a:lnTo>
                  <a:lnTo>
                    <a:pt x="411615" y="433917"/>
                  </a:lnTo>
                  <a:lnTo>
                    <a:pt x="415310" y="437608"/>
                  </a:lnTo>
                  <a:lnTo>
                    <a:pt x="418997" y="441298"/>
                  </a:lnTo>
                  <a:lnTo>
                    <a:pt x="426378" y="441298"/>
                  </a:lnTo>
                  <a:lnTo>
                    <a:pt x="426378" y="448680"/>
                  </a:lnTo>
                  <a:lnTo>
                    <a:pt x="422683" y="452370"/>
                  </a:lnTo>
                  <a:lnTo>
                    <a:pt x="415310" y="474514"/>
                  </a:lnTo>
                  <a:lnTo>
                    <a:pt x="415310" y="478204"/>
                  </a:lnTo>
                  <a:lnTo>
                    <a:pt x="426378" y="478204"/>
                  </a:lnTo>
                  <a:lnTo>
                    <a:pt x="426378" y="481895"/>
                  </a:lnTo>
                  <a:lnTo>
                    <a:pt x="430065" y="481895"/>
                  </a:lnTo>
                  <a:lnTo>
                    <a:pt x="437447" y="492967"/>
                  </a:lnTo>
                  <a:lnTo>
                    <a:pt x="441133" y="496657"/>
                  </a:lnTo>
                  <a:lnTo>
                    <a:pt x="444819" y="492967"/>
                  </a:lnTo>
                  <a:lnTo>
                    <a:pt x="444819" y="496657"/>
                  </a:lnTo>
                  <a:lnTo>
                    <a:pt x="441133" y="496657"/>
                  </a:lnTo>
                  <a:lnTo>
                    <a:pt x="441133" y="504039"/>
                  </a:lnTo>
                  <a:lnTo>
                    <a:pt x="452201" y="504039"/>
                  </a:lnTo>
                  <a:lnTo>
                    <a:pt x="448505" y="496657"/>
                  </a:lnTo>
                  <a:lnTo>
                    <a:pt x="448505" y="492967"/>
                  </a:lnTo>
                  <a:lnTo>
                    <a:pt x="455887" y="481895"/>
                  </a:lnTo>
                  <a:lnTo>
                    <a:pt x="478023" y="444989"/>
                  </a:lnTo>
                  <a:lnTo>
                    <a:pt x="492777" y="419156"/>
                  </a:lnTo>
                  <a:lnTo>
                    <a:pt x="500159" y="389631"/>
                  </a:lnTo>
                  <a:lnTo>
                    <a:pt x="503845" y="371178"/>
                  </a:lnTo>
                  <a:lnTo>
                    <a:pt x="507541" y="367487"/>
                  </a:lnTo>
                  <a:lnTo>
                    <a:pt x="507541" y="363796"/>
                  </a:lnTo>
                  <a:lnTo>
                    <a:pt x="500159" y="330582"/>
                  </a:lnTo>
                  <a:lnTo>
                    <a:pt x="500159" y="312129"/>
                  </a:lnTo>
                  <a:lnTo>
                    <a:pt x="500159" y="308438"/>
                  </a:lnTo>
                  <a:lnTo>
                    <a:pt x="500159" y="282604"/>
                  </a:lnTo>
                  <a:lnTo>
                    <a:pt x="489091" y="275223"/>
                  </a:lnTo>
                  <a:lnTo>
                    <a:pt x="489091" y="267842"/>
                  </a:lnTo>
                  <a:lnTo>
                    <a:pt x="489091" y="264151"/>
                  </a:lnTo>
                  <a:lnTo>
                    <a:pt x="489091" y="260461"/>
                  </a:lnTo>
                  <a:lnTo>
                    <a:pt x="492777" y="256771"/>
                  </a:lnTo>
                  <a:lnTo>
                    <a:pt x="492777" y="249389"/>
                  </a:lnTo>
                  <a:lnTo>
                    <a:pt x="492777" y="245699"/>
                  </a:lnTo>
                  <a:lnTo>
                    <a:pt x="496473" y="234627"/>
                  </a:lnTo>
                  <a:lnTo>
                    <a:pt x="500159" y="234627"/>
                  </a:lnTo>
                  <a:lnTo>
                    <a:pt x="503845" y="230936"/>
                  </a:lnTo>
                  <a:lnTo>
                    <a:pt x="511227" y="230936"/>
                  </a:lnTo>
                  <a:lnTo>
                    <a:pt x="503845" y="227246"/>
                  </a:lnTo>
                  <a:lnTo>
                    <a:pt x="500159" y="223555"/>
                  </a:lnTo>
                  <a:lnTo>
                    <a:pt x="503845" y="219865"/>
                  </a:lnTo>
                  <a:lnTo>
                    <a:pt x="503845" y="216174"/>
                  </a:lnTo>
                  <a:lnTo>
                    <a:pt x="503845" y="201412"/>
                  </a:lnTo>
                  <a:lnTo>
                    <a:pt x="500159" y="190340"/>
                  </a:lnTo>
                  <a:lnTo>
                    <a:pt x="500159" y="186649"/>
                  </a:lnTo>
                  <a:lnTo>
                    <a:pt x="496473" y="186649"/>
                  </a:lnTo>
                  <a:lnTo>
                    <a:pt x="485405" y="182958"/>
                  </a:lnTo>
                  <a:lnTo>
                    <a:pt x="481709" y="182958"/>
                  </a:lnTo>
                  <a:lnTo>
                    <a:pt x="481709" y="179268"/>
                  </a:lnTo>
                  <a:lnTo>
                    <a:pt x="478023" y="179268"/>
                  </a:lnTo>
                  <a:lnTo>
                    <a:pt x="474337" y="179268"/>
                  </a:lnTo>
                  <a:lnTo>
                    <a:pt x="470641" y="179268"/>
                  </a:lnTo>
                  <a:lnTo>
                    <a:pt x="466955" y="179268"/>
                  </a:lnTo>
                  <a:lnTo>
                    <a:pt x="466955" y="175578"/>
                  </a:lnTo>
                  <a:lnTo>
                    <a:pt x="463269" y="175578"/>
                  </a:lnTo>
                  <a:lnTo>
                    <a:pt x="459573" y="175578"/>
                  </a:lnTo>
                  <a:lnTo>
                    <a:pt x="452201" y="175578"/>
                  </a:lnTo>
                  <a:lnTo>
                    <a:pt x="448505" y="171888"/>
                  </a:lnTo>
                  <a:lnTo>
                    <a:pt x="444819" y="171888"/>
                  </a:lnTo>
                  <a:lnTo>
                    <a:pt x="441133" y="168197"/>
                  </a:lnTo>
                  <a:lnTo>
                    <a:pt x="437447" y="164506"/>
                  </a:lnTo>
                  <a:lnTo>
                    <a:pt x="437447" y="160816"/>
                  </a:lnTo>
                  <a:lnTo>
                    <a:pt x="437447" y="153435"/>
                  </a:lnTo>
                  <a:lnTo>
                    <a:pt x="441133" y="149744"/>
                  </a:lnTo>
                  <a:lnTo>
                    <a:pt x="437447" y="142363"/>
                  </a:lnTo>
                  <a:lnTo>
                    <a:pt x="437447" y="138672"/>
                  </a:lnTo>
                  <a:lnTo>
                    <a:pt x="441133" y="138672"/>
                  </a:lnTo>
                  <a:lnTo>
                    <a:pt x="444819" y="131291"/>
                  </a:lnTo>
                  <a:lnTo>
                    <a:pt x="444819" y="127600"/>
                  </a:lnTo>
                  <a:lnTo>
                    <a:pt x="437447" y="131291"/>
                  </a:lnTo>
                  <a:lnTo>
                    <a:pt x="433751" y="134981"/>
                  </a:lnTo>
                  <a:lnTo>
                    <a:pt x="422683" y="134981"/>
                  </a:lnTo>
                  <a:lnTo>
                    <a:pt x="418997" y="134981"/>
                  </a:lnTo>
                  <a:lnTo>
                    <a:pt x="415310" y="134981"/>
                  </a:lnTo>
                  <a:lnTo>
                    <a:pt x="411615" y="134981"/>
                  </a:lnTo>
                  <a:lnTo>
                    <a:pt x="404242" y="131291"/>
                  </a:lnTo>
                  <a:lnTo>
                    <a:pt x="404242" y="127600"/>
                  </a:lnTo>
                  <a:lnTo>
                    <a:pt x="400547" y="127600"/>
                  </a:lnTo>
                  <a:lnTo>
                    <a:pt x="396861" y="127600"/>
                  </a:lnTo>
                  <a:lnTo>
                    <a:pt x="389479" y="123910"/>
                  </a:lnTo>
                  <a:lnTo>
                    <a:pt x="382106" y="120219"/>
                  </a:lnTo>
                  <a:lnTo>
                    <a:pt x="382106" y="123910"/>
                  </a:lnTo>
                  <a:lnTo>
                    <a:pt x="374724" y="120219"/>
                  </a:lnTo>
                  <a:lnTo>
                    <a:pt x="367352" y="116528"/>
                  </a:lnTo>
                  <a:lnTo>
                    <a:pt x="363656" y="116528"/>
                  </a:lnTo>
                  <a:lnTo>
                    <a:pt x="363656" y="112838"/>
                  </a:lnTo>
                  <a:lnTo>
                    <a:pt x="367352" y="112838"/>
                  </a:lnTo>
                  <a:lnTo>
                    <a:pt x="363656" y="109147"/>
                  </a:lnTo>
                  <a:lnTo>
                    <a:pt x="356284" y="101766"/>
                  </a:lnTo>
                  <a:lnTo>
                    <a:pt x="352588" y="101766"/>
                  </a:lnTo>
                  <a:lnTo>
                    <a:pt x="348902" y="98075"/>
                  </a:lnTo>
                  <a:lnTo>
                    <a:pt x="348902" y="94385"/>
                  </a:lnTo>
                  <a:lnTo>
                    <a:pt x="348902" y="87005"/>
                  </a:lnTo>
                  <a:lnTo>
                    <a:pt x="348902" y="79623"/>
                  </a:lnTo>
                  <a:lnTo>
                    <a:pt x="345216" y="75933"/>
                  </a:lnTo>
                  <a:lnTo>
                    <a:pt x="345216" y="72242"/>
                  </a:lnTo>
                  <a:lnTo>
                    <a:pt x="345216" y="68551"/>
                  </a:lnTo>
                  <a:lnTo>
                    <a:pt x="345216" y="61170"/>
                  </a:lnTo>
                  <a:lnTo>
                    <a:pt x="341520" y="53789"/>
                  </a:lnTo>
                  <a:lnTo>
                    <a:pt x="337834" y="53789"/>
                  </a:lnTo>
                  <a:lnTo>
                    <a:pt x="337834" y="42717"/>
                  </a:lnTo>
                  <a:lnTo>
                    <a:pt x="341520" y="31645"/>
                  </a:lnTo>
                  <a:lnTo>
                    <a:pt x="341520" y="27955"/>
                  </a:lnTo>
                  <a:lnTo>
                    <a:pt x="330452" y="16883"/>
                  </a:lnTo>
                  <a:lnTo>
                    <a:pt x="323080" y="13193"/>
                  </a:lnTo>
                  <a:lnTo>
                    <a:pt x="319384" y="20574"/>
                  </a:lnTo>
                  <a:lnTo>
                    <a:pt x="323080" y="24264"/>
                  </a:lnTo>
                  <a:lnTo>
                    <a:pt x="319384" y="24264"/>
                  </a:lnTo>
                  <a:lnTo>
                    <a:pt x="315698" y="24264"/>
                  </a:lnTo>
                  <a:lnTo>
                    <a:pt x="312012" y="24264"/>
                  </a:lnTo>
                  <a:lnTo>
                    <a:pt x="312012" y="20574"/>
                  </a:lnTo>
                  <a:lnTo>
                    <a:pt x="315698" y="24264"/>
                  </a:lnTo>
                  <a:lnTo>
                    <a:pt x="315698" y="20574"/>
                  </a:lnTo>
                  <a:lnTo>
                    <a:pt x="319384" y="13193"/>
                  </a:lnTo>
                  <a:lnTo>
                    <a:pt x="315698" y="13193"/>
                  </a:lnTo>
                  <a:lnTo>
                    <a:pt x="308316" y="9502"/>
                  </a:lnTo>
                  <a:lnTo>
                    <a:pt x="300944" y="16883"/>
                  </a:lnTo>
                  <a:lnTo>
                    <a:pt x="297258" y="13193"/>
                  </a:lnTo>
                  <a:lnTo>
                    <a:pt x="289876" y="9502"/>
                  </a:lnTo>
                  <a:lnTo>
                    <a:pt x="278808" y="9502"/>
                  </a:lnTo>
                  <a:lnTo>
                    <a:pt x="275121" y="5812"/>
                  </a:lnTo>
                  <a:close/>
                  <a:moveTo>
                    <a:pt x="367352" y="112838"/>
                  </a:moveTo>
                  <a:lnTo>
                    <a:pt x="371038" y="116528"/>
                  </a:lnTo>
                  <a:lnTo>
                    <a:pt x="371038" y="112838"/>
                  </a:lnTo>
                  <a:lnTo>
                    <a:pt x="367352" y="112838"/>
                  </a:lnTo>
                  <a:close/>
                  <a:moveTo>
                    <a:pt x="500159" y="186649"/>
                  </a:moveTo>
                  <a:lnTo>
                    <a:pt x="500159" y="179268"/>
                  </a:lnTo>
                  <a:lnTo>
                    <a:pt x="496473" y="182958"/>
                  </a:lnTo>
                  <a:lnTo>
                    <a:pt x="500159" y="186649"/>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72000" rIns="91440" bIns="36000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83</a:t>
              </a:r>
            </a:p>
          </p:txBody>
        </p:sp>
        <p:sp>
          <p:nvSpPr>
            <p:cNvPr id="304" name="Freeform: Shape 303">
              <a:extLst>
                <a:ext uri="{FF2B5EF4-FFF2-40B4-BE49-F238E27FC236}">
                  <a16:creationId xmlns:a16="http://schemas.microsoft.com/office/drawing/2014/main" id="{D7DC90E1-733C-4EB2-8D00-05003E451A81}"/>
                </a:ext>
              </a:extLst>
            </p:cNvPr>
            <p:cNvSpPr/>
            <p:nvPr/>
          </p:nvSpPr>
          <p:spPr>
            <a:xfrm>
              <a:off x="7975605" y="4712448"/>
              <a:ext cx="399691" cy="199845"/>
            </a:xfrm>
            <a:custGeom>
              <a:avLst/>
              <a:gdLst>
                <a:gd name="connsiteX0" fmla="*/ 131243 w 247650"/>
                <a:gd name="connsiteY0" fmla="*/ 105462 h 123825"/>
                <a:gd name="connsiteX1" fmla="*/ 127554 w 247650"/>
                <a:gd name="connsiteY1" fmla="*/ 109148 h 123825"/>
                <a:gd name="connsiteX2" fmla="*/ 123865 w 247650"/>
                <a:gd name="connsiteY2" fmla="*/ 109148 h 123825"/>
                <a:gd name="connsiteX3" fmla="*/ 123865 w 247650"/>
                <a:gd name="connsiteY3" fmla="*/ 109148 h 123825"/>
                <a:gd name="connsiteX4" fmla="*/ 120176 w 247650"/>
                <a:gd name="connsiteY4" fmla="*/ 109148 h 123825"/>
                <a:gd name="connsiteX5" fmla="*/ 120176 w 247650"/>
                <a:gd name="connsiteY5" fmla="*/ 109148 h 123825"/>
                <a:gd name="connsiteX6" fmla="*/ 112798 w 247650"/>
                <a:gd name="connsiteY6" fmla="*/ 105462 h 123825"/>
                <a:gd name="connsiteX7" fmla="*/ 109108 w 247650"/>
                <a:gd name="connsiteY7" fmla="*/ 105462 h 123825"/>
                <a:gd name="connsiteX8" fmla="*/ 109108 w 247650"/>
                <a:gd name="connsiteY8" fmla="*/ 105462 h 123825"/>
                <a:gd name="connsiteX9" fmla="*/ 116487 w 247650"/>
                <a:gd name="connsiteY9" fmla="*/ 101766 h 123825"/>
                <a:gd name="connsiteX10" fmla="*/ 116487 w 247650"/>
                <a:gd name="connsiteY10" fmla="*/ 98080 h 123825"/>
                <a:gd name="connsiteX11" fmla="*/ 116487 w 247650"/>
                <a:gd name="connsiteY11" fmla="*/ 101766 h 123825"/>
                <a:gd name="connsiteX12" fmla="*/ 109108 w 247650"/>
                <a:gd name="connsiteY12" fmla="*/ 105462 h 123825"/>
                <a:gd name="connsiteX13" fmla="*/ 105419 w 247650"/>
                <a:gd name="connsiteY13" fmla="*/ 105462 h 123825"/>
                <a:gd name="connsiteX14" fmla="*/ 109108 w 247650"/>
                <a:gd name="connsiteY14" fmla="*/ 98080 h 123825"/>
                <a:gd name="connsiteX15" fmla="*/ 105419 w 247650"/>
                <a:gd name="connsiteY15" fmla="*/ 94385 h 123825"/>
                <a:gd name="connsiteX16" fmla="*/ 105419 w 247650"/>
                <a:gd name="connsiteY16" fmla="*/ 87003 h 123825"/>
                <a:gd name="connsiteX17" fmla="*/ 101730 w 247650"/>
                <a:gd name="connsiteY17" fmla="*/ 87003 h 123825"/>
                <a:gd name="connsiteX18" fmla="*/ 101730 w 247650"/>
                <a:gd name="connsiteY18" fmla="*/ 83317 h 123825"/>
                <a:gd name="connsiteX19" fmla="*/ 101730 w 247650"/>
                <a:gd name="connsiteY19" fmla="*/ 79621 h 123825"/>
                <a:gd name="connsiteX20" fmla="*/ 98041 w 247650"/>
                <a:gd name="connsiteY20" fmla="*/ 72248 h 123825"/>
                <a:gd name="connsiteX21" fmla="*/ 90663 w 247650"/>
                <a:gd name="connsiteY21" fmla="*/ 68553 h 123825"/>
                <a:gd name="connsiteX22" fmla="*/ 86973 w 247650"/>
                <a:gd name="connsiteY22" fmla="*/ 72248 h 123825"/>
                <a:gd name="connsiteX23" fmla="*/ 86973 w 247650"/>
                <a:gd name="connsiteY23" fmla="*/ 68553 h 123825"/>
                <a:gd name="connsiteX24" fmla="*/ 75906 w 247650"/>
                <a:gd name="connsiteY24" fmla="*/ 64867 h 123825"/>
                <a:gd name="connsiteX25" fmla="*/ 75906 w 247650"/>
                <a:gd name="connsiteY25" fmla="*/ 64867 h 123825"/>
                <a:gd name="connsiteX26" fmla="*/ 75906 w 247650"/>
                <a:gd name="connsiteY26" fmla="*/ 64867 h 123825"/>
                <a:gd name="connsiteX27" fmla="*/ 75906 w 247650"/>
                <a:gd name="connsiteY27" fmla="*/ 61171 h 123825"/>
                <a:gd name="connsiteX28" fmla="*/ 75906 w 247650"/>
                <a:gd name="connsiteY28" fmla="*/ 61171 h 123825"/>
                <a:gd name="connsiteX29" fmla="*/ 75906 w 247650"/>
                <a:gd name="connsiteY29" fmla="*/ 57485 h 123825"/>
                <a:gd name="connsiteX30" fmla="*/ 72217 w 247650"/>
                <a:gd name="connsiteY30" fmla="*/ 53789 h 123825"/>
                <a:gd name="connsiteX31" fmla="*/ 64838 w 247650"/>
                <a:gd name="connsiteY31" fmla="*/ 53789 h 123825"/>
                <a:gd name="connsiteX32" fmla="*/ 61149 w 247650"/>
                <a:gd name="connsiteY32" fmla="*/ 53789 h 123825"/>
                <a:gd name="connsiteX33" fmla="*/ 57460 w 247650"/>
                <a:gd name="connsiteY33" fmla="*/ 57485 h 123825"/>
                <a:gd name="connsiteX34" fmla="*/ 57460 w 247650"/>
                <a:gd name="connsiteY34" fmla="*/ 61171 h 123825"/>
                <a:gd name="connsiteX35" fmla="*/ 61149 w 247650"/>
                <a:gd name="connsiteY35" fmla="*/ 61171 h 123825"/>
                <a:gd name="connsiteX36" fmla="*/ 64838 w 247650"/>
                <a:gd name="connsiteY36" fmla="*/ 57485 h 123825"/>
                <a:gd name="connsiteX37" fmla="*/ 68528 w 247650"/>
                <a:gd name="connsiteY37" fmla="*/ 61171 h 123825"/>
                <a:gd name="connsiteX38" fmla="*/ 64838 w 247650"/>
                <a:gd name="connsiteY38" fmla="*/ 57485 h 123825"/>
                <a:gd name="connsiteX39" fmla="*/ 61149 w 247650"/>
                <a:gd name="connsiteY39" fmla="*/ 61171 h 123825"/>
                <a:gd name="connsiteX40" fmla="*/ 53771 w 247650"/>
                <a:gd name="connsiteY40" fmla="*/ 61171 h 123825"/>
                <a:gd name="connsiteX41" fmla="*/ 50082 w 247650"/>
                <a:gd name="connsiteY41" fmla="*/ 68553 h 123825"/>
                <a:gd name="connsiteX42" fmla="*/ 42704 w 247650"/>
                <a:gd name="connsiteY42" fmla="*/ 72248 h 123825"/>
                <a:gd name="connsiteX43" fmla="*/ 42704 w 247650"/>
                <a:gd name="connsiteY43" fmla="*/ 72248 h 123825"/>
                <a:gd name="connsiteX44" fmla="*/ 42704 w 247650"/>
                <a:gd name="connsiteY44" fmla="*/ 72248 h 123825"/>
                <a:gd name="connsiteX45" fmla="*/ 42704 w 247650"/>
                <a:gd name="connsiteY45" fmla="*/ 72248 h 123825"/>
                <a:gd name="connsiteX46" fmla="*/ 39014 w 247650"/>
                <a:gd name="connsiteY46" fmla="*/ 72248 h 123825"/>
                <a:gd name="connsiteX47" fmla="*/ 35325 w 247650"/>
                <a:gd name="connsiteY47" fmla="*/ 72248 h 123825"/>
                <a:gd name="connsiteX48" fmla="*/ 27947 w 247650"/>
                <a:gd name="connsiteY48" fmla="*/ 75935 h 123825"/>
                <a:gd name="connsiteX49" fmla="*/ 24258 w 247650"/>
                <a:gd name="connsiteY49" fmla="*/ 79621 h 123825"/>
                <a:gd name="connsiteX50" fmla="*/ 24258 w 247650"/>
                <a:gd name="connsiteY50" fmla="*/ 87003 h 123825"/>
                <a:gd name="connsiteX51" fmla="*/ 24258 w 247650"/>
                <a:gd name="connsiteY51" fmla="*/ 87003 h 123825"/>
                <a:gd name="connsiteX52" fmla="*/ 27947 w 247650"/>
                <a:gd name="connsiteY52" fmla="*/ 87003 h 123825"/>
                <a:gd name="connsiteX53" fmla="*/ 27947 w 247650"/>
                <a:gd name="connsiteY53" fmla="*/ 90698 h 123825"/>
                <a:gd name="connsiteX54" fmla="*/ 24258 w 247650"/>
                <a:gd name="connsiteY54" fmla="*/ 90698 h 123825"/>
                <a:gd name="connsiteX55" fmla="*/ 24258 w 247650"/>
                <a:gd name="connsiteY55" fmla="*/ 90698 h 123825"/>
                <a:gd name="connsiteX56" fmla="*/ 24258 w 247650"/>
                <a:gd name="connsiteY56" fmla="*/ 90698 h 123825"/>
                <a:gd name="connsiteX57" fmla="*/ 20569 w 247650"/>
                <a:gd name="connsiteY57" fmla="*/ 87003 h 123825"/>
                <a:gd name="connsiteX58" fmla="*/ 20569 w 247650"/>
                <a:gd name="connsiteY58" fmla="*/ 87003 h 123825"/>
                <a:gd name="connsiteX59" fmla="*/ 20569 w 247650"/>
                <a:gd name="connsiteY59" fmla="*/ 87003 h 123825"/>
                <a:gd name="connsiteX60" fmla="*/ 24258 w 247650"/>
                <a:gd name="connsiteY60" fmla="*/ 87003 h 123825"/>
                <a:gd name="connsiteX61" fmla="*/ 24258 w 247650"/>
                <a:gd name="connsiteY61" fmla="*/ 87003 h 123825"/>
                <a:gd name="connsiteX62" fmla="*/ 24258 w 247650"/>
                <a:gd name="connsiteY62" fmla="*/ 79621 h 123825"/>
                <a:gd name="connsiteX63" fmla="*/ 24258 w 247650"/>
                <a:gd name="connsiteY63" fmla="*/ 79621 h 123825"/>
                <a:gd name="connsiteX64" fmla="*/ 20569 w 247650"/>
                <a:gd name="connsiteY64" fmla="*/ 75935 h 123825"/>
                <a:gd name="connsiteX65" fmla="*/ 16879 w 247650"/>
                <a:gd name="connsiteY65" fmla="*/ 75935 h 123825"/>
                <a:gd name="connsiteX66" fmla="*/ 13190 w 247650"/>
                <a:gd name="connsiteY66" fmla="*/ 75935 h 123825"/>
                <a:gd name="connsiteX67" fmla="*/ 13190 w 247650"/>
                <a:gd name="connsiteY67" fmla="*/ 72248 h 123825"/>
                <a:gd name="connsiteX68" fmla="*/ 9501 w 247650"/>
                <a:gd name="connsiteY68" fmla="*/ 68553 h 123825"/>
                <a:gd name="connsiteX69" fmla="*/ 5812 w 247650"/>
                <a:gd name="connsiteY69" fmla="*/ 61171 h 123825"/>
                <a:gd name="connsiteX70" fmla="*/ 5812 w 247650"/>
                <a:gd name="connsiteY70" fmla="*/ 53789 h 123825"/>
                <a:gd name="connsiteX71" fmla="*/ 5812 w 247650"/>
                <a:gd name="connsiteY71" fmla="*/ 46407 h 123825"/>
                <a:gd name="connsiteX72" fmla="*/ 5812 w 247650"/>
                <a:gd name="connsiteY72" fmla="*/ 42721 h 123825"/>
                <a:gd name="connsiteX73" fmla="*/ 9501 w 247650"/>
                <a:gd name="connsiteY73" fmla="*/ 35339 h 123825"/>
                <a:gd name="connsiteX74" fmla="*/ 16879 w 247650"/>
                <a:gd name="connsiteY74" fmla="*/ 27957 h 123825"/>
                <a:gd name="connsiteX75" fmla="*/ 24258 w 247650"/>
                <a:gd name="connsiteY75" fmla="*/ 24271 h 123825"/>
                <a:gd name="connsiteX76" fmla="*/ 27947 w 247650"/>
                <a:gd name="connsiteY76" fmla="*/ 24271 h 123825"/>
                <a:gd name="connsiteX77" fmla="*/ 31636 w 247650"/>
                <a:gd name="connsiteY77" fmla="*/ 24271 h 123825"/>
                <a:gd name="connsiteX78" fmla="*/ 46393 w 247650"/>
                <a:gd name="connsiteY78" fmla="*/ 20575 h 123825"/>
                <a:gd name="connsiteX79" fmla="*/ 50082 w 247650"/>
                <a:gd name="connsiteY79" fmla="*/ 16889 h 123825"/>
                <a:gd name="connsiteX80" fmla="*/ 57460 w 247650"/>
                <a:gd name="connsiteY80" fmla="*/ 16889 h 123825"/>
                <a:gd name="connsiteX81" fmla="*/ 64838 w 247650"/>
                <a:gd name="connsiteY81" fmla="*/ 16889 h 123825"/>
                <a:gd name="connsiteX82" fmla="*/ 75906 w 247650"/>
                <a:gd name="connsiteY82" fmla="*/ 20575 h 123825"/>
                <a:gd name="connsiteX83" fmla="*/ 75906 w 247650"/>
                <a:gd name="connsiteY83" fmla="*/ 16889 h 123825"/>
                <a:gd name="connsiteX84" fmla="*/ 75906 w 247650"/>
                <a:gd name="connsiteY84" fmla="*/ 16889 h 123825"/>
                <a:gd name="connsiteX85" fmla="*/ 75906 w 247650"/>
                <a:gd name="connsiteY85" fmla="*/ 13194 h 123825"/>
                <a:gd name="connsiteX86" fmla="*/ 79595 w 247650"/>
                <a:gd name="connsiteY86" fmla="*/ 9507 h 123825"/>
                <a:gd name="connsiteX87" fmla="*/ 79595 w 247650"/>
                <a:gd name="connsiteY87" fmla="*/ 5812 h 123825"/>
                <a:gd name="connsiteX88" fmla="*/ 83284 w 247650"/>
                <a:gd name="connsiteY88" fmla="*/ 5812 h 123825"/>
                <a:gd name="connsiteX89" fmla="*/ 86973 w 247650"/>
                <a:gd name="connsiteY89" fmla="*/ 5812 h 123825"/>
                <a:gd name="connsiteX90" fmla="*/ 83284 w 247650"/>
                <a:gd name="connsiteY90" fmla="*/ 9507 h 123825"/>
                <a:gd name="connsiteX91" fmla="*/ 86973 w 247650"/>
                <a:gd name="connsiteY91" fmla="*/ 9507 h 123825"/>
                <a:gd name="connsiteX92" fmla="*/ 83284 w 247650"/>
                <a:gd name="connsiteY92" fmla="*/ 13194 h 123825"/>
                <a:gd name="connsiteX93" fmla="*/ 83284 w 247650"/>
                <a:gd name="connsiteY93" fmla="*/ 13194 h 123825"/>
                <a:gd name="connsiteX94" fmla="*/ 83284 w 247650"/>
                <a:gd name="connsiteY94" fmla="*/ 13194 h 123825"/>
                <a:gd name="connsiteX95" fmla="*/ 83284 w 247650"/>
                <a:gd name="connsiteY95" fmla="*/ 13194 h 123825"/>
                <a:gd name="connsiteX96" fmla="*/ 83284 w 247650"/>
                <a:gd name="connsiteY96" fmla="*/ 9507 h 123825"/>
                <a:gd name="connsiteX97" fmla="*/ 83284 w 247650"/>
                <a:gd name="connsiteY97" fmla="*/ 9507 h 123825"/>
                <a:gd name="connsiteX98" fmla="*/ 79595 w 247650"/>
                <a:gd name="connsiteY98" fmla="*/ 9507 h 123825"/>
                <a:gd name="connsiteX99" fmla="*/ 79595 w 247650"/>
                <a:gd name="connsiteY99" fmla="*/ 13194 h 123825"/>
                <a:gd name="connsiteX100" fmla="*/ 75906 w 247650"/>
                <a:gd name="connsiteY100" fmla="*/ 20575 h 123825"/>
                <a:gd name="connsiteX101" fmla="*/ 79595 w 247650"/>
                <a:gd name="connsiteY101" fmla="*/ 20575 h 123825"/>
                <a:gd name="connsiteX102" fmla="*/ 83284 w 247650"/>
                <a:gd name="connsiteY102" fmla="*/ 20575 h 123825"/>
                <a:gd name="connsiteX103" fmla="*/ 86973 w 247650"/>
                <a:gd name="connsiteY103" fmla="*/ 20575 h 123825"/>
                <a:gd name="connsiteX104" fmla="*/ 90663 w 247650"/>
                <a:gd name="connsiteY104" fmla="*/ 20575 h 123825"/>
                <a:gd name="connsiteX105" fmla="*/ 90663 w 247650"/>
                <a:gd name="connsiteY105" fmla="*/ 20575 h 123825"/>
                <a:gd name="connsiteX106" fmla="*/ 90663 w 247650"/>
                <a:gd name="connsiteY106" fmla="*/ 20575 h 123825"/>
                <a:gd name="connsiteX107" fmla="*/ 101730 w 247650"/>
                <a:gd name="connsiteY107" fmla="*/ 20575 h 123825"/>
                <a:gd name="connsiteX108" fmla="*/ 109108 w 247650"/>
                <a:gd name="connsiteY108" fmla="*/ 16889 h 123825"/>
                <a:gd name="connsiteX109" fmla="*/ 109108 w 247650"/>
                <a:gd name="connsiteY109" fmla="*/ 16889 h 123825"/>
                <a:gd name="connsiteX110" fmla="*/ 112798 w 247650"/>
                <a:gd name="connsiteY110" fmla="*/ 20575 h 123825"/>
                <a:gd name="connsiteX111" fmla="*/ 112798 w 247650"/>
                <a:gd name="connsiteY111" fmla="*/ 20575 h 123825"/>
                <a:gd name="connsiteX112" fmla="*/ 116487 w 247650"/>
                <a:gd name="connsiteY112" fmla="*/ 24271 h 123825"/>
                <a:gd name="connsiteX113" fmla="*/ 116487 w 247650"/>
                <a:gd name="connsiteY113" fmla="*/ 27957 h 123825"/>
                <a:gd name="connsiteX114" fmla="*/ 120176 w 247650"/>
                <a:gd name="connsiteY114" fmla="*/ 27957 h 123825"/>
                <a:gd name="connsiteX115" fmla="*/ 120176 w 247650"/>
                <a:gd name="connsiteY115" fmla="*/ 27957 h 123825"/>
                <a:gd name="connsiteX116" fmla="*/ 123865 w 247650"/>
                <a:gd name="connsiteY116" fmla="*/ 27957 h 123825"/>
                <a:gd name="connsiteX117" fmla="*/ 127554 w 247650"/>
                <a:gd name="connsiteY117" fmla="*/ 27957 h 123825"/>
                <a:gd name="connsiteX118" fmla="*/ 134932 w 247650"/>
                <a:gd name="connsiteY118" fmla="*/ 24271 h 123825"/>
                <a:gd name="connsiteX119" fmla="*/ 138622 w 247650"/>
                <a:gd name="connsiteY119" fmla="*/ 27957 h 123825"/>
                <a:gd name="connsiteX120" fmla="*/ 149690 w 247650"/>
                <a:gd name="connsiteY120" fmla="*/ 27957 h 123825"/>
                <a:gd name="connsiteX121" fmla="*/ 149690 w 247650"/>
                <a:gd name="connsiteY121" fmla="*/ 27957 h 123825"/>
                <a:gd name="connsiteX122" fmla="*/ 149690 w 247650"/>
                <a:gd name="connsiteY122" fmla="*/ 31643 h 123825"/>
                <a:gd name="connsiteX123" fmla="*/ 149690 w 247650"/>
                <a:gd name="connsiteY123" fmla="*/ 31643 h 123825"/>
                <a:gd name="connsiteX124" fmla="*/ 149690 w 247650"/>
                <a:gd name="connsiteY124" fmla="*/ 27957 h 123825"/>
                <a:gd name="connsiteX125" fmla="*/ 153379 w 247650"/>
                <a:gd name="connsiteY125" fmla="*/ 31643 h 123825"/>
                <a:gd name="connsiteX126" fmla="*/ 153379 w 247650"/>
                <a:gd name="connsiteY126" fmla="*/ 39025 h 123825"/>
                <a:gd name="connsiteX127" fmla="*/ 153379 w 247650"/>
                <a:gd name="connsiteY127" fmla="*/ 39025 h 123825"/>
                <a:gd name="connsiteX128" fmla="*/ 157068 w 247650"/>
                <a:gd name="connsiteY128" fmla="*/ 42721 h 123825"/>
                <a:gd name="connsiteX129" fmla="*/ 164447 w 247650"/>
                <a:gd name="connsiteY129" fmla="*/ 50103 h 123825"/>
                <a:gd name="connsiteX130" fmla="*/ 168136 w 247650"/>
                <a:gd name="connsiteY130" fmla="*/ 57485 h 123825"/>
                <a:gd name="connsiteX131" fmla="*/ 168136 w 247650"/>
                <a:gd name="connsiteY131" fmla="*/ 64867 h 123825"/>
                <a:gd name="connsiteX132" fmla="*/ 171825 w 247650"/>
                <a:gd name="connsiteY132" fmla="*/ 64867 h 123825"/>
                <a:gd name="connsiteX133" fmla="*/ 179203 w 247650"/>
                <a:gd name="connsiteY133" fmla="*/ 64867 h 123825"/>
                <a:gd name="connsiteX134" fmla="*/ 182893 w 247650"/>
                <a:gd name="connsiteY134" fmla="*/ 64867 h 123825"/>
                <a:gd name="connsiteX135" fmla="*/ 190271 w 247650"/>
                <a:gd name="connsiteY135" fmla="*/ 68553 h 123825"/>
                <a:gd name="connsiteX136" fmla="*/ 190271 w 247650"/>
                <a:gd name="connsiteY136" fmla="*/ 68553 h 123825"/>
                <a:gd name="connsiteX137" fmla="*/ 201338 w 247650"/>
                <a:gd name="connsiteY137" fmla="*/ 75935 h 123825"/>
                <a:gd name="connsiteX138" fmla="*/ 205028 w 247650"/>
                <a:gd name="connsiteY138" fmla="*/ 75935 h 123825"/>
                <a:gd name="connsiteX139" fmla="*/ 205028 w 247650"/>
                <a:gd name="connsiteY139" fmla="*/ 75935 h 123825"/>
                <a:gd name="connsiteX140" fmla="*/ 205028 w 247650"/>
                <a:gd name="connsiteY140" fmla="*/ 79621 h 123825"/>
                <a:gd name="connsiteX141" fmla="*/ 208717 w 247650"/>
                <a:gd name="connsiteY141" fmla="*/ 79621 h 123825"/>
                <a:gd name="connsiteX142" fmla="*/ 216095 w 247650"/>
                <a:gd name="connsiteY142" fmla="*/ 72248 h 123825"/>
                <a:gd name="connsiteX143" fmla="*/ 219784 w 247650"/>
                <a:gd name="connsiteY143" fmla="*/ 72248 h 123825"/>
                <a:gd name="connsiteX144" fmla="*/ 223473 w 247650"/>
                <a:gd name="connsiteY144" fmla="*/ 72248 h 123825"/>
                <a:gd name="connsiteX145" fmla="*/ 223473 w 247650"/>
                <a:gd name="connsiteY145" fmla="*/ 72248 h 123825"/>
                <a:gd name="connsiteX146" fmla="*/ 234541 w 247650"/>
                <a:gd name="connsiteY146" fmla="*/ 72248 h 123825"/>
                <a:gd name="connsiteX147" fmla="*/ 234541 w 247650"/>
                <a:gd name="connsiteY147" fmla="*/ 72248 h 123825"/>
                <a:gd name="connsiteX148" fmla="*/ 238230 w 247650"/>
                <a:gd name="connsiteY148" fmla="*/ 68553 h 123825"/>
                <a:gd name="connsiteX149" fmla="*/ 241919 w 247650"/>
                <a:gd name="connsiteY149" fmla="*/ 68553 h 123825"/>
                <a:gd name="connsiteX150" fmla="*/ 241919 w 247650"/>
                <a:gd name="connsiteY150" fmla="*/ 75935 h 123825"/>
                <a:gd name="connsiteX151" fmla="*/ 241919 w 247650"/>
                <a:gd name="connsiteY151" fmla="*/ 79621 h 123825"/>
                <a:gd name="connsiteX152" fmla="*/ 245608 w 247650"/>
                <a:gd name="connsiteY152" fmla="*/ 79621 h 123825"/>
                <a:gd name="connsiteX153" fmla="*/ 245608 w 247650"/>
                <a:gd name="connsiteY153" fmla="*/ 79621 h 123825"/>
                <a:gd name="connsiteX154" fmla="*/ 241919 w 247650"/>
                <a:gd name="connsiteY154" fmla="*/ 83317 h 123825"/>
                <a:gd name="connsiteX155" fmla="*/ 241919 w 247650"/>
                <a:gd name="connsiteY155" fmla="*/ 83317 h 123825"/>
                <a:gd name="connsiteX156" fmla="*/ 238230 w 247650"/>
                <a:gd name="connsiteY156" fmla="*/ 83317 h 123825"/>
                <a:gd name="connsiteX157" fmla="*/ 241919 w 247650"/>
                <a:gd name="connsiteY157" fmla="*/ 79621 h 123825"/>
                <a:gd name="connsiteX158" fmla="*/ 241919 w 247650"/>
                <a:gd name="connsiteY158" fmla="*/ 79621 h 123825"/>
                <a:gd name="connsiteX159" fmla="*/ 238230 w 247650"/>
                <a:gd name="connsiteY159" fmla="*/ 75935 h 123825"/>
                <a:gd name="connsiteX160" fmla="*/ 238230 w 247650"/>
                <a:gd name="connsiteY160" fmla="*/ 72248 h 123825"/>
                <a:gd name="connsiteX161" fmla="*/ 234541 w 247650"/>
                <a:gd name="connsiteY161" fmla="*/ 72248 h 123825"/>
                <a:gd name="connsiteX162" fmla="*/ 234541 w 247650"/>
                <a:gd name="connsiteY162" fmla="*/ 75935 h 123825"/>
                <a:gd name="connsiteX163" fmla="*/ 230852 w 247650"/>
                <a:gd name="connsiteY163" fmla="*/ 72248 h 123825"/>
                <a:gd name="connsiteX164" fmla="*/ 219784 w 247650"/>
                <a:gd name="connsiteY164" fmla="*/ 75935 h 123825"/>
                <a:gd name="connsiteX165" fmla="*/ 216095 w 247650"/>
                <a:gd name="connsiteY165" fmla="*/ 75935 h 123825"/>
                <a:gd name="connsiteX166" fmla="*/ 212406 w 247650"/>
                <a:gd name="connsiteY166" fmla="*/ 79621 h 123825"/>
                <a:gd name="connsiteX167" fmla="*/ 208717 w 247650"/>
                <a:gd name="connsiteY167" fmla="*/ 79621 h 123825"/>
                <a:gd name="connsiteX168" fmla="*/ 208717 w 247650"/>
                <a:gd name="connsiteY168" fmla="*/ 83317 h 123825"/>
                <a:gd name="connsiteX169" fmla="*/ 212406 w 247650"/>
                <a:gd name="connsiteY169" fmla="*/ 87003 h 123825"/>
                <a:gd name="connsiteX170" fmla="*/ 212406 w 247650"/>
                <a:gd name="connsiteY170" fmla="*/ 87003 h 123825"/>
                <a:gd name="connsiteX171" fmla="*/ 212406 w 247650"/>
                <a:gd name="connsiteY171" fmla="*/ 90698 h 123825"/>
                <a:gd name="connsiteX172" fmla="*/ 212406 w 247650"/>
                <a:gd name="connsiteY172" fmla="*/ 90698 h 123825"/>
                <a:gd name="connsiteX173" fmla="*/ 212406 w 247650"/>
                <a:gd name="connsiteY173" fmla="*/ 90698 h 123825"/>
                <a:gd name="connsiteX174" fmla="*/ 212406 w 247650"/>
                <a:gd name="connsiteY174" fmla="*/ 90698 h 123825"/>
                <a:gd name="connsiteX175" fmla="*/ 208717 w 247650"/>
                <a:gd name="connsiteY175" fmla="*/ 94385 h 123825"/>
                <a:gd name="connsiteX176" fmla="*/ 212406 w 247650"/>
                <a:gd name="connsiteY176" fmla="*/ 94385 h 123825"/>
                <a:gd name="connsiteX177" fmla="*/ 212406 w 247650"/>
                <a:gd name="connsiteY177" fmla="*/ 90698 h 123825"/>
                <a:gd name="connsiteX178" fmla="*/ 208717 w 247650"/>
                <a:gd name="connsiteY178" fmla="*/ 94385 h 123825"/>
                <a:gd name="connsiteX179" fmla="*/ 208717 w 247650"/>
                <a:gd name="connsiteY179" fmla="*/ 98080 h 123825"/>
                <a:gd name="connsiteX180" fmla="*/ 205028 w 247650"/>
                <a:gd name="connsiteY180" fmla="*/ 98080 h 123825"/>
                <a:gd name="connsiteX181" fmla="*/ 201338 w 247650"/>
                <a:gd name="connsiteY181" fmla="*/ 101766 h 123825"/>
                <a:gd name="connsiteX182" fmla="*/ 197649 w 247650"/>
                <a:gd name="connsiteY182" fmla="*/ 109148 h 123825"/>
                <a:gd name="connsiteX183" fmla="*/ 193960 w 247650"/>
                <a:gd name="connsiteY183" fmla="*/ 109148 h 123825"/>
                <a:gd name="connsiteX184" fmla="*/ 190271 w 247650"/>
                <a:gd name="connsiteY184" fmla="*/ 112844 h 123825"/>
                <a:gd name="connsiteX185" fmla="*/ 186582 w 247650"/>
                <a:gd name="connsiteY185" fmla="*/ 109148 h 123825"/>
                <a:gd name="connsiteX186" fmla="*/ 179203 w 247650"/>
                <a:gd name="connsiteY186" fmla="*/ 112844 h 123825"/>
                <a:gd name="connsiteX187" fmla="*/ 175514 w 247650"/>
                <a:gd name="connsiteY187" fmla="*/ 116530 h 123825"/>
                <a:gd name="connsiteX188" fmla="*/ 168136 w 247650"/>
                <a:gd name="connsiteY188" fmla="*/ 116530 h 123825"/>
                <a:gd name="connsiteX189" fmla="*/ 168136 w 247650"/>
                <a:gd name="connsiteY189" fmla="*/ 120226 h 123825"/>
                <a:gd name="connsiteX190" fmla="*/ 157068 w 247650"/>
                <a:gd name="connsiteY190" fmla="*/ 120226 h 123825"/>
                <a:gd name="connsiteX191" fmla="*/ 153379 w 247650"/>
                <a:gd name="connsiteY191" fmla="*/ 120226 h 123825"/>
                <a:gd name="connsiteX192" fmla="*/ 146000 w 247650"/>
                <a:gd name="connsiteY192" fmla="*/ 120226 h 123825"/>
                <a:gd name="connsiteX193" fmla="*/ 142311 w 247650"/>
                <a:gd name="connsiteY193" fmla="*/ 120226 h 123825"/>
                <a:gd name="connsiteX194" fmla="*/ 142311 w 247650"/>
                <a:gd name="connsiteY194" fmla="*/ 120226 h 123825"/>
                <a:gd name="connsiteX195" fmla="*/ 134932 w 247650"/>
                <a:gd name="connsiteY195" fmla="*/ 112844 h 123825"/>
                <a:gd name="connsiteX196" fmla="*/ 134932 w 247650"/>
                <a:gd name="connsiteY196" fmla="*/ 112844 h 123825"/>
                <a:gd name="connsiteX197" fmla="*/ 134932 w 247650"/>
                <a:gd name="connsiteY197" fmla="*/ 112844 h 123825"/>
                <a:gd name="connsiteX198" fmla="*/ 131243 w 247650"/>
                <a:gd name="connsiteY198" fmla="*/ 105462 h 123825"/>
                <a:gd name="connsiteX199" fmla="*/ 131243 w 247650"/>
                <a:gd name="connsiteY199" fmla="*/ 105462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247650" h="123825">
                  <a:moveTo>
                    <a:pt x="131243" y="105462"/>
                  </a:moveTo>
                  <a:lnTo>
                    <a:pt x="127554" y="109148"/>
                  </a:lnTo>
                  <a:lnTo>
                    <a:pt x="123865" y="109148"/>
                  </a:lnTo>
                  <a:lnTo>
                    <a:pt x="123865" y="109148"/>
                  </a:lnTo>
                  <a:lnTo>
                    <a:pt x="120176" y="109148"/>
                  </a:lnTo>
                  <a:lnTo>
                    <a:pt x="120176" y="109148"/>
                  </a:lnTo>
                  <a:lnTo>
                    <a:pt x="112798" y="105462"/>
                  </a:lnTo>
                  <a:lnTo>
                    <a:pt x="109108" y="105462"/>
                  </a:lnTo>
                  <a:lnTo>
                    <a:pt x="109108" y="105462"/>
                  </a:lnTo>
                  <a:lnTo>
                    <a:pt x="116487" y="101766"/>
                  </a:lnTo>
                  <a:lnTo>
                    <a:pt x="116487" y="98080"/>
                  </a:lnTo>
                  <a:lnTo>
                    <a:pt x="116487" y="101766"/>
                  </a:lnTo>
                  <a:lnTo>
                    <a:pt x="109108" y="105462"/>
                  </a:lnTo>
                  <a:lnTo>
                    <a:pt x="105419" y="105462"/>
                  </a:lnTo>
                  <a:lnTo>
                    <a:pt x="109108" y="98080"/>
                  </a:lnTo>
                  <a:lnTo>
                    <a:pt x="105419" y="94385"/>
                  </a:lnTo>
                  <a:lnTo>
                    <a:pt x="105419" y="87003"/>
                  </a:lnTo>
                  <a:lnTo>
                    <a:pt x="101730" y="87003"/>
                  </a:lnTo>
                  <a:lnTo>
                    <a:pt x="101730" y="83317"/>
                  </a:lnTo>
                  <a:lnTo>
                    <a:pt x="101730" y="79621"/>
                  </a:lnTo>
                  <a:lnTo>
                    <a:pt x="98041" y="72248"/>
                  </a:lnTo>
                  <a:lnTo>
                    <a:pt x="90663" y="68553"/>
                  </a:lnTo>
                  <a:lnTo>
                    <a:pt x="86973" y="72248"/>
                  </a:lnTo>
                  <a:lnTo>
                    <a:pt x="86973" y="68553"/>
                  </a:lnTo>
                  <a:lnTo>
                    <a:pt x="75906" y="64867"/>
                  </a:lnTo>
                  <a:lnTo>
                    <a:pt x="75906" y="64867"/>
                  </a:lnTo>
                  <a:lnTo>
                    <a:pt x="75906" y="64867"/>
                  </a:lnTo>
                  <a:lnTo>
                    <a:pt x="75906" y="61171"/>
                  </a:lnTo>
                  <a:lnTo>
                    <a:pt x="75906" y="61171"/>
                  </a:lnTo>
                  <a:lnTo>
                    <a:pt x="75906" y="57485"/>
                  </a:lnTo>
                  <a:lnTo>
                    <a:pt x="72217" y="53789"/>
                  </a:lnTo>
                  <a:lnTo>
                    <a:pt x="64838" y="53789"/>
                  </a:lnTo>
                  <a:lnTo>
                    <a:pt x="61149" y="53789"/>
                  </a:lnTo>
                  <a:lnTo>
                    <a:pt x="57460" y="57485"/>
                  </a:lnTo>
                  <a:lnTo>
                    <a:pt x="57460" y="61171"/>
                  </a:lnTo>
                  <a:lnTo>
                    <a:pt x="61149" y="61171"/>
                  </a:lnTo>
                  <a:lnTo>
                    <a:pt x="64838" y="57485"/>
                  </a:lnTo>
                  <a:lnTo>
                    <a:pt x="68528" y="61171"/>
                  </a:lnTo>
                  <a:lnTo>
                    <a:pt x="64838" y="57485"/>
                  </a:lnTo>
                  <a:lnTo>
                    <a:pt x="61149" y="61171"/>
                  </a:lnTo>
                  <a:lnTo>
                    <a:pt x="53771" y="61171"/>
                  </a:lnTo>
                  <a:lnTo>
                    <a:pt x="50082" y="68553"/>
                  </a:lnTo>
                  <a:lnTo>
                    <a:pt x="42704" y="72248"/>
                  </a:lnTo>
                  <a:lnTo>
                    <a:pt x="42704" y="72248"/>
                  </a:lnTo>
                  <a:lnTo>
                    <a:pt x="42704" y="72248"/>
                  </a:lnTo>
                  <a:lnTo>
                    <a:pt x="42704" y="72248"/>
                  </a:lnTo>
                  <a:lnTo>
                    <a:pt x="39014" y="72248"/>
                  </a:lnTo>
                  <a:lnTo>
                    <a:pt x="35325" y="72248"/>
                  </a:lnTo>
                  <a:lnTo>
                    <a:pt x="27947" y="75935"/>
                  </a:lnTo>
                  <a:lnTo>
                    <a:pt x="24258" y="79621"/>
                  </a:lnTo>
                  <a:lnTo>
                    <a:pt x="24258" y="87003"/>
                  </a:lnTo>
                  <a:lnTo>
                    <a:pt x="24258" y="87003"/>
                  </a:lnTo>
                  <a:lnTo>
                    <a:pt x="27947" y="87003"/>
                  </a:lnTo>
                  <a:lnTo>
                    <a:pt x="27947" y="90698"/>
                  </a:lnTo>
                  <a:lnTo>
                    <a:pt x="24258" y="90698"/>
                  </a:lnTo>
                  <a:lnTo>
                    <a:pt x="24258" y="90698"/>
                  </a:lnTo>
                  <a:lnTo>
                    <a:pt x="24258" y="90698"/>
                  </a:lnTo>
                  <a:lnTo>
                    <a:pt x="20569" y="87003"/>
                  </a:lnTo>
                  <a:lnTo>
                    <a:pt x="20569" y="87003"/>
                  </a:lnTo>
                  <a:lnTo>
                    <a:pt x="20569" y="87003"/>
                  </a:lnTo>
                  <a:lnTo>
                    <a:pt x="24258" y="87003"/>
                  </a:lnTo>
                  <a:lnTo>
                    <a:pt x="24258" y="87003"/>
                  </a:lnTo>
                  <a:lnTo>
                    <a:pt x="24258" y="79621"/>
                  </a:lnTo>
                  <a:lnTo>
                    <a:pt x="24258" y="79621"/>
                  </a:lnTo>
                  <a:lnTo>
                    <a:pt x="20569" y="75935"/>
                  </a:lnTo>
                  <a:lnTo>
                    <a:pt x="16879" y="75935"/>
                  </a:lnTo>
                  <a:lnTo>
                    <a:pt x="13190" y="75935"/>
                  </a:lnTo>
                  <a:lnTo>
                    <a:pt x="13190" y="72248"/>
                  </a:lnTo>
                  <a:lnTo>
                    <a:pt x="9501" y="68553"/>
                  </a:lnTo>
                  <a:lnTo>
                    <a:pt x="5812" y="61171"/>
                  </a:lnTo>
                  <a:lnTo>
                    <a:pt x="5812" y="53789"/>
                  </a:lnTo>
                  <a:lnTo>
                    <a:pt x="5812" y="46407"/>
                  </a:lnTo>
                  <a:lnTo>
                    <a:pt x="5812" y="42721"/>
                  </a:lnTo>
                  <a:lnTo>
                    <a:pt x="9501" y="35339"/>
                  </a:lnTo>
                  <a:lnTo>
                    <a:pt x="16879" y="27957"/>
                  </a:lnTo>
                  <a:lnTo>
                    <a:pt x="24258" y="24271"/>
                  </a:lnTo>
                  <a:lnTo>
                    <a:pt x="27947" y="24271"/>
                  </a:lnTo>
                  <a:lnTo>
                    <a:pt x="31636" y="24271"/>
                  </a:lnTo>
                  <a:lnTo>
                    <a:pt x="46393" y="20575"/>
                  </a:lnTo>
                  <a:lnTo>
                    <a:pt x="50082" y="16889"/>
                  </a:lnTo>
                  <a:lnTo>
                    <a:pt x="57460" y="16889"/>
                  </a:lnTo>
                  <a:lnTo>
                    <a:pt x="64838" y="16889"/>
                  </a:lnTo>
                  <a:lnTo>
                    <a:pt x="75906" y="20575"/>
                  </a:lnTo>
                  <a:lnTo>
                    <a:pt x="75906" y="16889"/>
                  </a:lnTo>
                  <a:lnTo>
                    <a:pt x="75906" y="16889"/>
                  </a:lnTo>
                  <a:lnTo>
                    <a:pt x="75906" y="13194"/>
                  </a:lnTo>
                  <a:lnTo>
                    <a:pt x="79595" y="9507"/>
                  </a:lnTo>
                  <a:lnTo>
                    <a:pt x="79595" y="5812"/>
                  </a:lnTo>
                  <a:lnTo>
                    <a:pt x="83284" y="5812"/>
                  </a:lnTo>
                  <a:lnTo>
                    <a:pt x="86973" y="5812"/>
                  </a:lnTo>
                  <a:lnTo>
                    <a:pt x="83284" y="9507"/>
                  </a:lnTo>
                  <a:lnTo>
                    <a:pt x="86973" y="9507"/>
                  </a:lnTo>
                  <a:lnTo>
                    <a:pt x="83284" y="13194"/>
                  </a:lnTo>
                  <a:lnTo>
                    <a:pt x="83284" y="13194"/>
                  </a:lnTo>
                  <a:lnTo>
                    <a:pt x="83284" y="13194"/>
                  </a:lnTo>
                  <a:lnTo>
                    <a:pt x="83284" y="13194"/>
                  </a:lnTo>
                  <a:lnTo>
                    <a:pt x="83284" y="9507"/>
                  </a:lnTo>
                  <a:lnTo>
                    <a:pt x="83284" y="9507"/>
                  </a:lnTo>
                  <a:lnTo>
                    <a:pt x="79595" y="9507"/>
                  </a:lnTo>
                  <a:lnTo>
                    <a:pt x="79595" y="13194"/>
                  </a:lnTo>
                  <a:lnTo>
                    <a:pt x="75906" y="20575"/>
                  </a:lnTo>
                  <a:lnTo>
                    <a:pt x="79595" y="20575"/>
                  </a:lnTo>
                  <a:lnTo>
                    <a:pt x="83284" y="20575"/>
                  </a:lnTo>
                  <a:lnTo>
                    <a:pt x="86973" y="20575"/>
                  </a:lnTo>
                  <a:lnTo>
                    <a:pt x="90663" y="20575"/>
                  </a:lnTo>
                  <a:lnTo>
                    <a:pt x="90663" y="20575"/>
                  </a:lnTo>
                  <a:lnTo>
                    <a:pt x="90663" y="20575"/>
                  </a:lnTo>
                  <a:lnTo>
                    <a:pt x="101730" y="20575"/>
                  </a:lnTo>
                  <a:lnTo>
                    <a:pt x="109108" y="16889"/>
                  </a:lnTo>
                  <a:lnTo>
                    <a:pt x="109108" y="16889"/>
                  </a:lnTo>
                  <a:lnTo>
                    <a:pt x="112798" y="20575"/>
                  </a:lnTo>
                  <a:lnTo>
                    <a:pt x="112798" y="20575"/>
                  </a:lnTo>
                  <a:lnTo>
                    <a:pt x="116487" y="24271"/>
                  </a:lnTo>
                  <a:lnTo>
                    <a:pt x="116487" y="27957"/>
                  </a:lnTo>
                  <a:lnTo>
                    <a:pt x="120176" y="27957"/>
                  </a:lnTo>
                  <a:lnTo>
                    <a:pt x="120176" y="27957"/>
                  </a:lnTo>
                  <a:lnTo>
                    <a:pt x="123865" y="27957"/>
                  </a:lnTo>
                  <a:lnTo>
                    <a:pt x="127554" y="27957"/>
                  </a:lnTo>
                  <a:lnTo>
                    <a:pt x="134932" y="24271"/>
                  </a:lnTo>
                  <a:lnTo>
                    <a:pt x="138622" y="27957"/>
                  </a:lnTo>
                  <a:lnTo>
                    <a:pt x="149690" y="27957"/>
                  </a:lnTo>
                  <a:lnTo>
                    <a:pt x="149690" y="27957"/>
                  </a:lnTo>
                  <a:lnTo>
                    <a:pt x="149690" y="31643"/>
                  </a:lnTo>
                  <a:lnTo>
                    <a:pt x="149690" y="31643"/>
                  </a:lnTo>
                  <a:lnTo>
                    <a:pt x="149690" y="27957"/>
                  </a:lnTo>
                  <a:lnTo>
                    <a:pt x="153379" y="31643"/>
                  </a:lnTo>
                  <a:lnTo>
                    <a:pt x="153379" y="39025"/>
                  </a:lnTo>
                  <a:lnTo>
                    <a:pt x="153379" y="39025"/>
                  </a:lnTo>
                  <a:lnTo>
                    <a:pt x="157068" y="42721"/>
                  </a:lnTo>
                  <a:lnTo>
                    <a:pt x="164447" y="50103"/>
                  </a:lnTo>
                  <a:lnTo>
                    <a:pt x="168136" y="57485"/>
                  </a:lnTo>
                  <a:lnTo>
                    <a:pt x="168136" y="64867"/>
                  </a:lnTo>
                  <a:lnTo>
                    <a:pt x="171825" y="64867"/>
                  </a:lnTo>
                  <a:lnTo>
                    <a:pt x="179203" y="64867"/>
                  </a:lnTo>
                  <a:lnTo>
                    <a:pt x="182893" y="64867"/>
                  </a:lnTo>
                  <a:lnTo>
                    <a:pt x="190271" y="68553"/>
                  </a:lnTo>
                  <a:lnTo>
                    <a:pt x="190271" y="68553"/>
                  </a:lnTo>
                  <a:lnTo>
                    <a:pt x="201338" y="75935"/>
                  </a:lnTo>
                  <a:lnTo>
                    <a:pt x="205028" y="75935"/>
                  </a:lnTo>
                  <a:lnTo>
                    <a:pt x="205028" y="75935"/>
                  </a:lnTo>
                  <a:lnTo>
                    <a:pt x="205028" y="79621"/>
                  </a:lnTo>
                  <a:lnTo>
                    <a:pt x="208717" y="79621"/>
                  </a:lnTo>
                  <a:lnTo>
                    <a:pt x="216095" y="72248"/>
                  </a:lnTo>
                  <a:lnTo>
                    <a:pt x="219784" y="72248"/>
                  </a:lnTo>
                  <a:lnTo>
                    <a:pt x="223473" y="72248"/>
                  </a:lnTo>
                  <a:lnTo>
                    <a:pt x="223473" y="72248"/>
                  </a:lnTo>
                  <a:lnTo>
                    <a:pt x="234541" y="72248"/>
                  </a:lnTo>
                  <a:lnTo>
                    <a:pt x="234541" y="72248"/>
                  </a:lnTo>
                  <a:lnTo>
                    <a:pt x="238230" y="68553"/>
                  </a:lnTo>
                  <a:lnTo>
                    <a:pt x="241919" y="68553"/>
                  </a:lnTo>
                  <a:lnTo>
                    <a:pt x="241919" y="75935"/>
                  </a:lnTo>
                  <a:lnTo>
                    <a:pt x="241919" y="79621"/>
                  </a:lnTo>
                  <a:lnTo>
                    <a:pt x="245608" y="79621"/>
                  </a:lnTo>
                  <a:lnTo>
                    <a:pt x="245608" y="79621"/>
                  </a:lnTo>
                  <a:lnTo>
                    <a:pt x="241919" y="83317"/>
                  </a:lnTo>
                  <a:lnTo>
                    <a:pt x="241919" y="83317"/>
                  </a:lnTo>
                  <a:lnTo>
                    <a:pt x="238230" y="83317"/>
                  </a:lnTo>
                  <a:lnTo>
                    <a:pt x="241919" y="79621"/>
                  </a:lnTo>
                  <a:lnTo>
                    <a:pt x="241919" y="79621"/>
                  </a:lnTo>
                  <a:lnTo>
                    <a:pt x="238230" y="75935"/>
                  </a:lnTo>
                  <a:lnTo>
                    <a:pt x="238230" y="72248"/>
                  </a:lnTo>
                  <a:lnTo>
                    <a:pt x="234541" y="72248"/>
                  </a:lnTo>
                  <a:lnTo>
                    <a:pt x="234541" y="75935"/>
                  </a:lnTo>
                  <a:lnTo>
                    <a:pt x="230852" y="72248"/>
                  </a:lnTo>
                  <a:lnTo>
                    <a:pt x="219784" y="75935"/>
                  </a:lnTo>
                  <a:lnTo>
                    <a:pt x="216095" y="75935"/>
                  </a:lnTo>
                  <a:lnTo>
                    <a:pt x="212406" y="79621"/>
                  </a:lnTo>
                  <a:lnTo>
                    <a:pt x="208717" y="79621"/>
                  </a:lnTo>
                  <a:lnTo>
                    <a:pt x="208717" y="83317"/>
                  </a:lnTo>
                  <a:lnTo>
                    <a:pt x="212406" y="87003"/>
                  </a:lnTo>
                  <a:lnTo>
                    <a:pt x="212406" y="87003"/>
                  </a:lnTo>
                  <a:lnTo>
                    <a:pt x="212406" y="90698"/>
                  </a:lnTo>
                  <a:lnTo>
                    <a:pt x="212406" y="90698"/>
                  </a:lnTo>
                  <a:lnTo>
                    <a:pt x="212406" y="90698"/>
                  </a:lnTo>
                  <a:lnTo>
                    <a:pt x="212406" y="90698"/>
                  </a:lnTo>
                  <a:lnTo>
                    <a:pt x="208717" y="94385"/>
                  </a:lnTo>
                  <a:lnTo>
                    <a:pt x="212406" y="94385"/>
                  </a:lnTo>
                  <a:lnTo>
                    <a:pt x="212406" y="90698"/>
                  </a:lnTo>
                  <a:lnTo>
                    <a:pt x="208717" y="94385"/>
                  </a:lnTo>
                  <a:lnTo>
                    <a:pt x="208717" y="98080"/>
                  </a:lnTo>
                  <a:lnTo>
                    <a:pt x="205028" y="98080"/>
                  </a:lnTo>
                  <a:lnTo>
                    <a:pt x="201338" y="101766"/>
                  </a:lnTo>
                  <a:lnTo>
                    <a:pt x="197649" y="109148"/>
                  </a:lnTo>
                  <a:lnTo>
                    <a:pt x="193960" y="109148"/>
                  </a:lnTo>
                  <a:lnTo>
                    <a:pt x="190271" y="112844"/>
                  </a:lnTo>
                  <a:lnTo>
                    <a:pt x="186582" y="109148"/>
                  </a:lnTo>
                  <a:lnTo>
                    <a:pt x="179203" y="112844"/>
                  </a:lnTo>
                  <a:lnTo>
                    <a:pt x="175514" y="116530"/>
                  </a:lnTo>
                  <a:lnTo>
                    <a:pt x="168136" y="116530"/>
                  </a:lnTo>
                  <a:lnTo>
                    <a:pt x="168136" y="120226"/>
                  </a:lnTo>
                  <a:lnTo>
                    <a:pt x="157068" y="120226"/>
                  </a:lnTo>
                  <a:lnTo>
                    <a:pt x="153379" y="120226"/>
                  </a:lnTo>
                  <a:lnTo>
                    <a:pt x="146000" y="120226"/>
                  </a:lnTo>
                  <a:lnTo>
                    <a:pt x="142311" y="120226"/>
                  </a:lnTo>
                  <a:lnTo>
                    <a:pt x="142311" y="120226"/>
                  </a:lnTo>
                  <a:lnTo>
                    <a:pt x="134932" y="112844"/>
                  </a:lnTo>
                  <a:lnTo>
                    <a:pt x="134932" y="112844"/>
                  </a:lnTo>
                  <a:lnTo>
                    <a:pt x="134932" y="112844"/>
                  </a:lnTo>
                  <a:lnTo>
                    <a:pt x="131243" y="105462"/>
                  </a:lnTo>
                  <a:lnTo>
                    <a:pt x="131243" y="105462"/>
                  </a:lnTo>
                  <a:close/>
                </a:path>
              </a:pathLst>
            </a:custGeom>
            <a:solidFill>
              <a:srgbClr val="FFE8BA"/>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20" name="Freeform: Shape 319">
              <a:extLst>
                <a:ext uri="{FF2B5EF4-FFF2-40B4-BE49-F238E27FC236}">
                  <a16:creationId xmlns:a16="http://schemas.microsoft.com/office/drawing/2014/main" id="{345CD8B6-5DEE-4C20-A209-007235FF1638}"/>
                </a:ext>
              </a:extLst>
            </p:cNvPr>
            <p:cNvSpPr/>
            <p:nvPr/>
          </p:nvSpPr>
          <p:spPr>
            <a:xfrm>
              <a:off x="8219724" y="3991730"/>
              <a:ext cx="937734" cy="814751"/>
            </a:xfrm>
            <a:custGeom>
              <a:avLst/>
              <a:gdLst>
                <a:gd name="connsiteX0" fmla="*/ 260365 w 581025"/>
                <a:gd name="connsiteY0" fmla="*/ 5812 h 504825"/>
                <a:gd name="connsiteX1" fmla="*/ 238230 w 581025"/>
                <a:gd name="connsiteY1" fmla="*/ 53789 h 504825"/>
                <a:gd name="connsiteX2" fmla="*/ 230852 w 581025"/>
                <a:gd name="connsiteY2" fmla="*/ 64867 h 504825"/>
                <a:gd name="connsiteX3" fmla="*/ 227163 w 581025"/>
                <a:gd name="connsiteY3" fmla="*/ 72248 h 504825"/>
                <a:gd name="connsiteX4" fmla="*/ 216096 w 581025"/>
                <a:gd name="connsiteY4" fmla="*/ 90698 h 504825"/>
                <a:gd name="connsiteX5" fmla="*/ 212406 w 581025"/>
                <a:gd name="connsiteY5" fmla="*/ 94385 h 504825"/>
                <a:gd name="connsiteX6" fmla="*/ 212406 w 581025"/>
                <a:gd name="connsiteY6" fmla="*/ 98080 h 504825"/>
                <a:gd name="connsiteX7" fmla="*/ 205028 w 581025"/>
                <a:gd name="connsiteY7" fmla="*/ 109148 h 504825"/>
                <a:gd name="connsiteX8" fmla="*/ 201339 w 581025"/>
                <a:gd name="connsiteY8" fmla="*/ 116530 h 504825"/>
                <a:gd name="connsiteX9" fmla="*/ 190271 w 581025"/>
                <a:gd name="connsiteY9" fmla="*/ 131294 h 504825"/>
                <a:gd name="connsiteX10" fmla="*/ 168136 w 581025"/>
                <a:gd name="connsiteY10" fmla="*/ 160821 h 504825"/>
                <a:gd name="connsiteX11" fmla="*/ 157069 w 581025"/>
                <a:gd name="connsiteY11" fmla="*/ 168203 h 504825"/>
                <a:gd name="connsiteX12" fmla="*/ 157069 w 581025"/>
                <a:gd name="connsiteY12" fmla="*/ 171889 h 504825"/>
                <a:gd name="connsiteX13" fmla="*/ 149690 w 581025"/>
                <a:gd name="connsiteY13" fmla="*/ 179271 h 504825"/>
                <a:gd name="connsiteX14" fmla="*/ 146001 w 581025"/>
                <a:gd name="connsiteY14" fmla="*/ 179271 h 504825"/>
                <a:gd name="connsiteX15" fmla="*/ 146001 w 581025"/>
                <a:gd name="connsiteY15" fmla="*/ 182967 h 504825"/>
                <a:gd name="connsiteX16" fmla="*/ 146001 w 581025"/>
                <a:gd name="connsiteY16" fmla="*/ 186653 h 504825"/>
                <a:gd name="connsiteX17" fmla="*/ 149690 w 581025"/>
                <a:gd name="connsiteY17" fmla="*/ 186653 h 504825"/>
                <a:gd name="connsiteX18" fmla="*/ 146001 w 581025"/>
                <a:gd name="connsiteY18" fmla="*/ 190339 h 504825"/>
                <a:gd name="connsiteX19" fmla="*/ 146001 w 581025"/>
                <a:gd name="connsiteY19" fmla="*/ 186653 h 504825"/>
                <a:gd name="connsiteX20" fmla="*/ 142311 w 581025"/>
                <a:gd name="connsiteY20" fmla="*/ 186653 h 504825"/>
                <a:gd name="connsiteX21" fmla="*/ 138622 w 581025"/>
                <a:gd name="connsiteY21" fmla="*/ 190339 h 504825"/>
                <a:gd name="connsiteX22" fmla="*/ 134933 w 581025"/>
                <a:gd name="connsiteY22" fmla="*/ 197721 h 504825"/>
                <a:gd name="connsiteX23" fmla="*/ 131244 w 581025"/>
                <a:gd name="connsiteY23" fmla="*/ 201417 h 504825"/>
                <a:gd name="connsiteX24" fmla="*/ 120176 w 581025"/>
                <a:gd name="connsiteY24" fmla="*/ 212485 h 504825"/>
                <a:gd name="connsiteX25" fmla="*/ 112798 w 581025"/>
                <a:gd name="connsiteY25" fmla="*/ 219867 h 504825"/>
                <a:gd name="connsiteX26" fmla="*/ 101731 w 581025"/>
                <a:gd name="connsiteY26" fmla="*/ 234631 h 504825"/>
                <a:gd name="connsiteX27" fmla="*/ 98041 w 581025"/>
                <a:gd name="connsiteY27" fmla="*/ 238317 h 504825"/>
                <a:gd name="connsiteX28" fmla="*/ 90663 w 581025"/>
                <a:gd name="connsiteY28" fmla="*/ 245699 h 504825"/>
                <a:gd name="connsiteX29" fmla="*/ 86974 w 581025"/>
                <a:gd name="connsiteY29" fmla="*/ 249394 h 504825"/>
                <a:gd name="connsiteX30" fmla="*/ 86974 w 581025"/>
                <a:gd name="connsiteY30" fmla="*/ 253081 h 504825"/>
                <a:gd name="connsiteX31" fmla="*/ 79596 w 581025"/>
                <a:gd name="connsiteY31" fmla="*/ 264158 h 504825"/>
                <a:gd name="connsiteX32" fmla="*/ 72217 w 581025"/>
                <a:gd name="connsiteY32" fmla="*/ 267844 h 504825"/>
                <a:gd name="connsiteX33" fmla="*/ 64839 w 581025"/>
                <a:gd name="connsiteY33" fmla="*/ 275226 h 504825"/>
                <a:gd name="connsiteX34" fmla="*/ 61150 w 581025"/>
                <a:gd name="connsiteY34" fmla="*/ 275226 h 504825"/>
                <a:gd name="connsiteX35" fmla="*/ 57461 w 581025"/>
                <a:gd name="connsiteY35" fmla="*/ 271540 h 504825"/>
                <a:gd name="connsiteX36" fmla="*/ 39015 w 581025"/>
                <a:gd name="connsiteY36" fmla="*/ 267844 h 504825"/>
                <a:gd name="connsiteX37" fmla="*/ 35326 w 581025"/>
                <a:gd name="connsiteY37" fmla="*/ 271540 h 504825"/>
                <a:gd name="connsiteX38" fmla="*/ 31637 w 581025"/>
                <a:gd name="connsiteY38" fmla="*/ 271540 h 504825"/>
                <a:gd name="connsiteX39" fmla="*/ 27947 w 581025"/>
                <a:gd name="connsiteY39" fmla="*/ 271540 h 504825"/>
                <a:gd name="connsiteX40" fmla="*/ 24258 w 581025"/>
                <a:gd name="connsiteY40" fmla="*/ 275226 h 504825"/>
                <a:gd name="connsiteX41" fmla="*/ 24258 w 581025"/>
                <a:gd name="connsiteY41" fmla="*/ 278922 h 504825"/>
                <a:gd name="connsiteX42" fmla="*/ 20569 w 581025"/>
                <a:gd name="connsiteY42" fmla="*/ 282608 h 504825"/>
                <a:gd name="connsiteX43" fmla="*/ 16880 w 581025"/>
                <a:gd name="connsiteY43" fmla="*/ 289990 h 504825"/>
                <a:gd name="connsiteX44" fmla="*/ 20569 w 581025"/>
                <a:gd name="connsiteY44" fmla="*/ 293676 h 504825"/>
                <a:gd name="connsiteX45" fmla="*/ 24258 w 581025"/>
                <a:gd name="connsiteY45" fmla="*/ 297372 h 504825"/>
                <a:gd name="connsiteX46" fmla="*/ 24258 w 581025"/>
                <a:gd name="connsiteY46" fmla="*/ 301058 h 504825"/>
                <a:gd name="connsiteX47" fmla="*/ 16880 w 581025"/>
                <a:gd name="connsiteY47" fmla="*/ 308440 h 504825"/>
                <a:gd name="connsiteX48" fmla="*/ 13191 w 581025"/>
                <a:gd name="connsiteY48" fmla="*/ 315822 h 504825"/>
                <a:gd name="connsiteX49" fmla="*/ 5812 w 581025"/>
                <a:gd name="connsiteY49" fmla="*/ 326899 h 504825"/>
                <a:gd name="connsiteX50" fmla="*/ 9502 w 581025"/>
                <a:gd name="connsiteY50" fmla="*/ 326899 h 504825"/>
                <a:gd name="connsiteX51" fmla="*/ 13191 w 581025"/>
                <a:gd name="connsiteY51" fmla="*/ 326899 h 504825"/>
                <a:gd name="connsiteX52" fmla="*/ 16880 w 581025"/>
                <a:gd name="connsiteY52" fmla="*/ 330585 h 504825"/>
                <a:gd name="connsiteX53" fmla="*/ 20569 w 581025"/>
                <a:gd name="connsiteY53" fmla="*/ 326899 h 504825"/>
                <a:gd name="connsiteX54" fmla="*/ 35326 w 581025"/>
                <a:gd name="connsiteY54" fmla="*/ 323204 h 504825"/>
                <a:gd name="connsiteX55" fmla="*/ 39015 w 581025"/>
                <a:gd name="connsiteY55" fmla="*/ 323204 h 504825"/>
                <a:gd name="connsiteX56" fmla="*/ 42704 w 581025"/>
                <a:gd name="connsiteY56" fmla="*/ 330585 h 504825"/>
                <a:gd name="connsiteX57" fmla="*/ 39015 w 581025"/>
                <a:gd name="connsiteY57" fmla="*/ 330585 h 504825"/>
                <a:gd name="connsiteX58" fmla="*/ 39015 w 581025"/>
                <a:gd name="connsiteY58" fmla="*/ 334272 h 504825"/>
                <a:gd name="connsiteX59" fmla="*/ 31637 w 581025"/>
                <a:gd name="connsiteY59" fmla="*/ 341654 h 504825"/>
                <a:gd name="connsiteX60" fmla="*/ 31637 w 581025"/>
                <a:gd name="connsiteY60" fmla="*/ 345349 h 504825"/>
                <a:gd name="connsiteX61" fmla="*/ 27947 w 581025"/>
                <a:gd name="connsiteY61" fmla="*/ 349035 h 504825"/>
                <a:gd name="connsiteX62" fmla="*/ 27947 w 581025"/>
                <a:gd name="connsiteY62" fmla="*/ 352731 h 504825"/>
                <a:gd name="connsiteX63" fmla="*/ 31637 w 581025"/>
                <a:gd name="connsiteY63" fmla="*/ 356417 h 504825"/>
                <a:gd name="connsiteX64" fmla="*/ 46393 w 581025"/>
                <a:gd name="connsiteY64" fmla="*/ 378563 h 504825"/>
                <a:gd name="connsiteX65" fmla="*/ 46393 w 581025"/>
                <a:gd name="connsiteY65" fmla="*/ 382249 h 504825"/>
                <a:gd name="connsiteX66" fmla="*/ 46393 w 581025"/>
                <a:gd name="connsiteY66" fmla="*/ 385945 h 504825"/>
                <a:gd name="connsiteX67" fmla="*/ 42704 w 581025"/>
                <a:gd name="connsiteY67" fmla="*/ 389631 h 504825"/>
                <a:gd name="connsiteX68" fmla="*/ 50082 w 581025"/>
                <a:gd name="connsiteY68" fmla="*/ 385945 h 504825"/>
                <a:gd name="connsiteX69" fmla="*/ 53772 w 581025"/>
                <a:gd name="connsiteY69" fmla="*/ 389631 h 504825"/>
                <a:gd name="connsiteX70" fmla="*/ 57461 w 581025"/>
                <a:gd name="connsiteY70" fmla="*/ 393327 h 504825"/>
                <a:gd name="connsiteX71" fmla="*/ 61150 w 581025"/>
                <a:gd name="connsiteY71" fmla="*/ 397013 h 504825"/>
                <a:gd name="connsiteX72" fmla="*/ 61150 w 581025"/>
                <a:gd name="connsiteY72" fmla="*/ 400709 h 504825"/>
                <a:gd name="connsiteX73" fmla="*/ 64839 w 581025"/>
                <a:gd name="connsiteY73" fmla="*/ 400709 h 504825"/>
                <a:gd name="connsiteX74" fmla="*/ 68528 w 581025"/>
                <a:gd name="connsiteY74" fmla="*/ 400709 h 504825"/>
                <a:gd name="connsiteX75" fmla="*/ 72217 w 581025"/>
                <a:gd name="connsiteY75" fmla="*/ 400709 h 504825"/>
                <a:gd name="connsiteX76" fmla="*/ 75906 w 581025"/>
                <a:gd name="connsiteY76" fmla="*/ 400709 h 504825"/>
                <a:gd name="connsiteX77" fmla="*/ 72217 w 581025"/>
                <a:gd name="connsiteY77" fmla="*/ 404395 h 504825"/>
                <a:gd name="connsiteX78" fmla="*/ 75906 w 581025"/>
                <a:gd name="connsiteY78" fmla="*/ 408090 h 504825"/>
                <a:gd name="connsiteX79" fmla="*/ 79596 w 581025"/>
                <a:gd name="connsiteY79" fmla="*/ 408090 h 504825"/>
                <a:gd name="connsiteX80" fmla="*/ 79596 w 581025"/>
                <a:gd name="connsiteY80" fmla="*/ 404395 h 504825"/>
                <a:gd name="connsiteX81" fmla="*/ 83285 w 581025"/>
                <a:gd name="connsiteY81" fmla="*/ 404395 h 504825"/>
                <a:gd name="connsiteX82" fmla="*/ 86974 w 581025"/>
                <a:gd name="connsiteY82" fmla="*/ 404395 h 504825"/>
                <a:gd name="connsiteX83" fmla="*/ 90663 w 581025"/>
                <a:gd name="connsiteY83" fmla="*/ 404395 h 504825"/>
                <a:gd name="connsiteX84" fmla="*/ 94352 w 581025"/>
                <a:gd name="connsiteY84" fmla="*/ 408090 h 504825"/>
                <a:gd name="connsiteX85" fmla="*/ 101731 w 581025"/>
                <a:gd name="connsiteY85" fmla="*/ 419158 h 504825"/>
                <a:gd name="connsiteX86" fmla="*/ 105420 w 581025"/>
                <a:gd name="connsiteY86" fmla="*/ 419158 h 504825"/>
                <a:gd name="connsiteX87" fmla="*/ 109109 w 581025"/>
                <a:gd name="connsiteY87" fmla="*/ 419158 h 504825"/>
                <a:gd name="connsiteX88" fmla="*/ 112798 w 581025"/>
                <a:gd name="connsiteY88" fmla="*/ 419158 h 504825"/>
                <a:gd name="connsiteX89" fmla="*/ 112798 w 581025"/>
                <a:gd name="connsiteY89" fmla="*/ 422854 h 504825"/>
                <a:gd name="connsiteX90" fmla="*/ 120176 w 581025"/>
                <a:gd name="connsiteY90" fmla="*/ 422854 h 504825"/>
                <a:gd name="connsiteX91" fmla="*/ 123866 w 581025"/>
                <a:gd name="connsiteY91" fmla="*/ 430227 h 504825"/>
                <a:gd name="connsiteX92" fmla="*/ 127555 w 581025"/>
                <a:gd name="connsiteY92" fmla="*/ 433922 h 504825"/>
                <a:gd name="connsiteX93" fmla="*/ 131244 w 581025"/>
                <a:gd name="connsiteY93" fmla="*/ 433922 h 504825"/>
                <a:gd name="connsiteX94" fmla="*/ 134933 w 581025"/>
                <a:gd name="connsiteY94" fmla="*/ 433922 h 504825"/>
                <a:gd name="connsiteX95" fmla="*/ 131244 w 581025"/>
                <a:gd name="connsiteY95" fmla="*/ 437608 h 504825"/>
                <a:gd name="connsiteX96" fmla="*/ 127555 w 581025"/>
                <a:gd name="connsiteY96" fmla="*/ 437608 h 504825"/>
                <a:gd name="connsiteX97" fmla="*/ 131244 w 581025"/>
                <a:gd name="connsiteY97" fmla="*/ 444990 h 504825"/>
                <a:gd name="connsiteX98" fmla="*/ 134933 w 581025"/>
                <a:gd name="connsiteY98" fmla="*/ 448686 h 504825"/>
                <a:gd name="connsiteX99" fmla="*/ 146001 w 581025"/>
                <a:gd name="connsiteY99" fmla="*/ 452372 h 504825"/>
                <a:gd name="connsiteX100" fmla="*/ 146001 w 581025"/>
                <a:gd name="connsiteY100" fmla="*/ 456068 h 504825"/>
                <a:gd name="connsiteX101" fmla="*/ 153380 w 581025"/>
                <a:gd name="connsiteY101" fmla="*/ 456068 h 504825"/>
                <a:gd name="connsiteX102" fmla="*/ 160758 w 581025"/>
                <a:gd name="connsiteY102" fmla="*/ 459754 h 504825"/>
                <a:gd name="connsiteX103" fmla="*/ 168136 w 581025"/>
                <a:gd name="connsiteY103" fmla="*/ 459754 h 504825"/>
                <a:gd name="connsiteX104" fmla="*/ 168136 w 581025"/>
                <a:gd name="connsiteY104" fmla="*/ 463450 h 504825"/>
                <a:gd name="connsiteX105" fmla="*/ 182893 w 581025"/>
                <a:gd name="connsiteY105" fmla="*/ 467136 h 504825"/>
                <a:gd name="connsiteX106" fmla="*/ 190271 w 581025"/>
                <a:gd name="connsiteY106" fmla="*/ 474518 h 504825"/>
                <a:gd name="connsiteX107" fmla="*/ 193961 w 581025"/>
                <a:gd name="connsiteY107" fmla="*/ 474518 h 504825"/>
                <a:gd name="connsiteX108" fmla="*/ 201339 w 581025"/>
                <a:gd name="connsiteY108" fmla="*/ 478204 h 504825"/>
                <a:gd name="connsiteX109" fmla="*/ 212406 w 581025"/>
                <a:gd name="connsiteY109" fmla="*/ 485586 h 504825"/>
                <a:gd name="connsiteX110" fmla="*/ 216096 w 581025"/>
                <a:gd name="connsiteY110" fmla="*/ 485586 h 504825"/>
                <a:gd name="connsiteX111" fmla="*/ 219785 w 581025"/>
                <a:gd name="connsiteY111" fmla="*/ 489281 h 504825"/>
                <a:gd name="connsiteX112" fmla="*/ 227163 w 581025"/>
                <a:gd name="connsiteY112" fmla="*/ 489281 h 504825"/>
                <a:gd name="connsiteX113" fmla="*/ 227163 w 581025"/>
                <a:gd name="connsiteY113" fmla="*/ 492968 h 504825"/>
                <a:gd name="connsiteX114" fmla="*/ 241920 w 581025"/>
                <a:gd name="connsiteY114" fmla="*/ 492968 h 504825"/>
                <a:gd name="connsiteX115" fmla="*/ 245609 w 581025"/>
                <a:gd name="connsiteY115" fmla="*/ 492968 h 504825"/>
                <a:gd name="connsiteX116" fmla="*/ 252987 w 581025"/>
                <a:gd name="connsiteY116" fmla="*/ 496663 h 504825"/>
                <a:gd name="connsiteX117" fmla="*/ 256676 w 581025"/>
                <a:gd name="connsiteY117" fmla="*/ 496663 h 504825"/>
                <a:gd name="connsiteX118" fmla="*/ 260365 w 581025"/>
                <a:gd name="connsiteY118" fmla="*/ 496663 h 504825"/>
                <a:gd name="connsiteX119" fmla="*/ 264055 w 581025"/>
                <a:gd name="connsiteY119" fmla="*/ 500350 h 504825"/>
                <a:gd name="connsiteX120" fmla="*/ 267744 w 581025"/>
                <a:gd name="connsiteY120" fmla="*/ 500350 h 504825"/>
                <a:gd name="connsiteX121" fmla="*/ 271433 w 581025"/>
                <a:gd name="connsiteY121" fmla="*/ 504045 h 504825"/>
                <a:gd name="connsiteX122" fmla="*/ 275122 w 581025"/>
                <a:gd name="connsiteY122" fmla="*/ 504045 h 504825"/>
                <a:gd name="connsiteX123" fmla="*/ 282500 w 581025"/>
                <a:gd name="connsiteY123" fmla="*/ 500350 h 504825"/>
                <a:gd name="connsiteX124" fmla="*/ 286190 w 581025"/>
                <a:gd name="connsiteY124" fmla="*/ 500350 h 504825"/>
                <a:gd name="connsiteX125" fmla="*/ 297258 w 581025"/>
                <a:gd name="connsiteY125" fmla="*/ 496663 h 504825"/>
                <a:gd name="connsiteX126" fmla="*/ 300947 w 581025"/>
                <a:gd name="connsiteY126" fmla="*/ 496663 h 504825"/>
                <a:gd name="connsiteX127" fmla="*/ 304636 w 581025"/>
                <a:gd name="connsiteY127" fmla="*/ 492968 h 504825"/>
                <a:gd name="connsiteX128" fmla="*/ 312015 w 581025"/>
                <a:gd name="connsiteY128" fmla="*/ 492968 h 504825"/>
                <a:gd name="connsiteX129" fmla="*/ 315704 w 581025"/>
                <a:gd name="connsiteY129" fmla="*/ 485586 h 504825"/>
                <a:gd name="connsiteX130" fmla="*/ 319393 w 581025"/>
                <a:gd name="connsiteY130" fmla="*/ 489281 h 504825"/>
                <a:gd name="connsiteX131" fmla="*/ 323082 w 581025"/>
                <a:gd name="connsiteY131" fmla="*/ 489281 h 504825"/>
                <a:gd name="connsiteX132" fmla="*/ 330460 w 581025"/>
                <a:gd name="connsiteY132" fmla="*/ 485586 h 504825"/>
                <a:gd name="connsiteX133" fmla="*/ 330460 w 581025"/>
                <a:gd name="connsiteY133" fmla="*/ 489281 h 504825"/>
                <a:gd name="connsiteX134" fmla="*/ 345217 w 581025"/>
                <a:gd name="connsiteY134" fmla="*/ 485586 h 504825"/>
                <a:gd name="connsiteX135" fmla="*/ 348906 w 581025"/>
                <a:gd name="connsiteY135" fmla="*/ 481900 h 504825"/>
                <a:gd name="connsiteX136" fmla="*/ 352595 w 581025"/>
                <a:gd name="connsiteY136" fmla="*/ 478204 h 504825"/>
                <a:gd name="connsiteX137" fmla="*/ 359974 w 581025"/>
                <a:gd name="connsiteY137" fmla="*/ 474518 h 504825"/>
                <a:gd name="connsiteX138" fmla="*/ 371041 w 581025"/>
                <a:gd name="connsiteY138" fmla="*/ 467136 h 504825"/>
                <a:gd name="connsiteX139" fmla="*/ 374730 w 581025"/>
                <a:gd name="connsiteY139" fmla="*/ 459754 h 504825"/>
                <a:gd name="connsiteX140" fmla="*/ 378420 w 581025"/>
                <a:gd name="connsiteY140" fmla="*/ 456068 h 504825"/>
                <a:gd name="connsiteX141" fmla="*/ 382109 w 581025"/>
                <a:gd name="connsiteY141" fmla="*/ 444990 h 504825"/>
                <a:gd name="connsiteX142" fmla="*/ 385798 w 581025"/>
                <a:gd name="connsiteY142" fmla="*/ 441304 h 504825"/>
                <a:gd name="connsiteX143" fmla="*/ 389487 w 581025"/>
                <a:gd name="connsiteY143" fmla="*/ 437608 h 504825"/>
                <a:gd name="connsiteX144" fmla="*/ 389487 w 581025"/>
                <a:gd name="connsiteY144" fmla="*/ 433922 h 504825"/>
                <a:gd name="connsiteX145" fmla="*/ 393176 w 581025"/>
                <a:gd name="connsiteY145" fmla="*/ 430227 h 504825"/>
                <a:gd name="connsiteX146" fmla="*/ 396865 w 581025"/>
                <a:gd name="connsiteY146" fmla="*/ 430227 h 504825"/>
                <a:gd name="connsiteX147" fmla="*/ 404244 w 581025"/>
                <a:gd name="connsiteY147" fmla="*/ 426540 h 504825"/>
                <a:gd name="connsiteX148" fmla="*/ 411622 w 581025"/>
                <a:gd name="connsiteY148" fmla="*/ 426540 h 504825"/>
                <a:gd name="connsiteX149" fmla="*/ 419000 w 581025"/>
                <a:gd name="connsiteY149" fmla="*/ 426540 h 504825"/>
                <a:gd name="connsiteX150" fmla="*/ 426379 w 581025"/>
                <a:gd name="connsiteY150" fmla="*/ 426540 h 504825"/>
                <a:gd name="connsiteX151" fmla="*/ 430068 w 581025"/>
                <a:gd name="connsiteY151" fmla="*/ 426540 h 504825"/>
                <a:gd name="connsiteX152" fmla="*/ 437446 w 581025"/>
                <a:gd name="connsiteY152" fmla="*/ 422854 h 504825"/>
                <a:gd name="connsiteX153" fmla="*/ 441136 w 581025"/>
                <a:gd name="connsiteY153" fmla="*/ 422854 h 504825"/>
                <a:gd name="connsiteX154" fmla="*/ 448515 w 581025"/>
                <a:gd name="connsiteY154" fmla="*/ 411777 h 504825"/>
                <a:gd name="connsiteX155" fmla="*/ 452204 w 581025"/>
                <a:gd name="connsiteY155" fmla="*/ 411777 h 504825"/>
                <a:gd name="connsiteX156" fmla="*/ 459582 w 581025"/>
                <a:gd name="connsiteY156" fmla="*/ 408090 h 504825"/>
                <a:gd name="connsiteX157" fmla="*/ 463271 w 581025"/>
                <a:gd name="connsiteY157" fmla="*/ 404395 h 504825"/>
                <a:gd name="connsiteX158" fmla="*/ 470650 w 581025"/>
                <a:gd name="connsiteY158" fmla="*/ 404395 h 504825"/>
                <a:gd name="connsiteX159" fmla="*/ 474339 w 581025"/>
                <a:gd name="connsiteY159" fmla="*/ 404395 h 504825"/>
                <a:gd name="connsiteX160" fmla="*/ 478028 w 581025"/>
                <a:gd name="connsiteY160" fmla="*/ 404395 h 504825"/>
                <a:gd name="connsiteX161" fmla="*/ 485406 w 581025"/>
                <a:gd name="connsiteY161" fmla="*/ 408090 h 504825"/>
                <a:gd name="connsiteX162" fmla="*/ 492784 w 581025"/>
                <a:gd name="connsiteY162" fmla="*/ 408090 h 504825"/>
                <a:gd name="connsiteX163" fmla="*/ 496474 w 581025"/>
                <a:gd name="connsiteY163" fmla="*/ 408090 h 504825"/>
                <a:gd name="connsiteX164" fmla="*/ 500163 w 581025"/>
                <a:gd name="connsiteY164" fmla="*/ 411777 h 504825"/>
                <a:gd name="connsiteX165" fmla="*/ 507541 w 581025"/>
                <a:gd name="connsiteY165" fmla="*/ 411777 h 504825"/>
                <a:gd name="connsiteX166" fmla="*/ 511230 w 581025"/>
                <a:gd name="connsiteY166" fmla="*/ 411777 h 504825"/>
                <a:gd name="connsiteX167" fmla="*/ 518609 w 581025"/>
                <a:gd name="connsiteY167" fmla="*/ 411777 h 504825"/>
                <a:gd name="connsiteX168" fmla="*/ 518609 w 581025"/>
                <a:gd name="connsiteY168" fmla="*/ 408090 h 504825"/>
                <a:gd name="connsiteX169" fmla="*/ 522298 w 581025"/>
                <a:gd name="connsiteY169" fmla="*/ 393327 h 504825"/>
                <a:gd name="connsiteX170" fmla="*/ 514919 w 581025"/>
                <a:gd name="connsiteY170" fmla="*/ 393327 h 504825"/>
                <a:gd name="connsiteX171" fmla="*/ 511230 w 581025"/>
                <a:gd name="connsiteY171" fmla="*/ 393327 h 504825"/>
                <a:gd name="connsiteX172" fmla="*/ 507541 w 581025"/>
                <a:gd name="connsiteY172" fmla="*/ 393327 h 504825"/>
                <a:gd name="connsiteX173" fmla="*/ 503852 w 581025"/>
                <a:gd name="connsiteY173" fmla="*/ 389631 h 504825"/>
                <a:gd name="connsiteX174" fmla="*/ 507541 w 581025"/>
                <a:gd name="connsiteY174" fmla="*/ 389631 h 504825"/>
                <a:gd name="connsiteX175" fmla="*/ 503852 w 581025"/>
                <a:gd name="connsiteY175" fmla="*/ 385945 h 504825"/>
                <a:gd name="connsiteX176" fmla="*/ 503852 w 581025"/>
                <a:gd name="connsiteY176" fmla="*/ 382249 h 504825"/>
                <a:gd name="connsiteX177" fmla="*/ 503852 w 581025"/>
                <a:gd name="connsiteY177" fmla="*/ 378563 h 504825"/>
                <a:gd name="connsiteX178" fmla="*/ 507541 w 581025"/>
                <a:gd name="connsiteY178" fmla="*/ 382249 h 504825"/>
                <a:gd name="connsiteX179" fmla="*/ 514919 w 581025"/>
                <a:gd name="connsiteY179" fmla="*/ 378563 h 504825"/>
                <a:gd name="connsiteX180" fmla="*/ 518609 w 581025"/>
                <a:gd name="connsiteY180" fmla="*/ 382249 h 504825"/>
                <a:gd name="connsiteX181" fmla="*/ 529676 w 581025"/>
                <a:gd name="connsiteY181" fmla="*/ 378563 h 504825"/>
                <a:gd name="connsiteX182" fmla="*/ 533365 w 581025"/>
                <a:gd name="connsiteY182" fmla="*/ 382249 h 504825"/>
                <a:gd name="connsiteX183" fmla="*/ 537054 w 581025"/>
                <a:gd name="connsiteY183" fmla="*/ 382249 h 504825"/>
                <a:gd name="connsiteX184" fmla="*/ 537054 w 581025"/>
                <a:gd name="connsiteY184" fmla="*/ 378563 h 504825"/>
                <a:gd name="connsiteX185" fmla="*/ 533365 w 581025"/>
                <a:gd name="connsiteY185" fmla="*/ 374877 h 504825"/>
                <a:gd name="connsiteX186" fmla="*/ 533365 w 581025"/>
                <a:gd name="connsiteY186" fmla="*/ 371181 h 504825"/>
                <a:gd name="connsiteX187" fmla="*/ 533365 w 581025"/>
                <a:gd name="connsiteY187" fmla="*/ 367495 h 504825"/>
                <a:gd name="connsiteX188" fmla="*/ 537054 w 581025"/>
                <a:gd name="connsiteY188" fmla="*/ 367495 h 504825"/>
                <a:gd name="connsiteX189" fmla="*/ 540744 w 581025"/>
                <a:gd name="connsiteY189" fmla="*/ 367495 h 504825"/>
                <a:gd name="connsiteX190" fmla="*/ 544433 w 581025"/>
                <a:gd name="connsiteY190" fmla="*/ 367495 h 504825"/>
                <a:gd name="connsiteX191" fmla="*/ 548122 w 581025"/>
                <a:gd name="connsiteY191" fmla="*/ 363799 h 504825"/>
                <a:gd name="connsiteX192" fmla="*/ 548122 w 581025"/>
                <a:gd name="connsiteY192" fmla="*/ 356417 h 504825"/>
                <a:gd name="connsiteX193" fmla="*/ 551811 w 581025"/>
                <a:gd name="connsiteY193" fmla="*/ 356417 h 504825"/>
                <a:gd name="connsiteX194" fmla="*/ 559189 w 581025"/>
                <a:gd name="connsiteY194" fmla="*/ 356417 h 504825"/>
                <a:gd name="connsiteX195" fmla="*/ 562879 w 581025"/>
                <a:gd name="connsiteY195" fmla="*/ 356417 h 504825"/>
                <a:gd name="connsiteX196" fmla="*/ 562879 w 581025"/>
                <a:gd name="connsiteY196" fmla="*/ 352731 h 504825"/>
                <a:gd name="connsiteX197" fmla="*/ 566568 w 581025"/>
                <a:gd name="connsiteY197" fmla="*/ 349035 h 504825"/>
                <a:gd name="connsiteX198" fmla="*/ 570257 w 581025"/>
                <a:gd name="connsiteY198" fmla="*/ 337967 h 504825"/>
                <a:gd name="connsiteX199" fmla="*/ 570257 w 581025"/>
                <a:gd name="connsiteY199" fmla="*/ 334272 h 504825"/>
                <a:gd name="connsiteX200" fmla="*/ 573946 w 581025"/>
                <a:gd name="connsiteY200" fmla="*/ 334272 h 504825"/>
                <a:gd name="connsiteX201" fmla="*/ 577635 w 581025"/>
                <a:gd name="connsiteY201" fmla="*/ 326899 h 504825"/>
                <a:gd name="connsiteX202" fmla="*/ 581324 w 581025"/>
                <a:gd name="connsiteY202" fmla="*/ 323204 h 504825"/>
                <a:gd name="connsiteX203" fmla="*/ 577635 w 581025"/>
                <a:gd name="connsiteY203" fmla="*/ 323204 h 504825"/>
                <a:gd name="connsiteX204" fmla="*/ 581324 w 581025"/>
                <a:gd name="connsiteY204" fmla="*/ 319517 h 504825"/>
                <a:gd name="connsiteX205" fmla="*/ 577635 w 581025"/>
                <a:gd name="connsiteY205" fmla="*/ 319517 h 504825"/>
                <a:gd name="connsiteX206" fmla="*/ 573946 w 581025"/>
                <a:gd name="connsiteY206" fmla="*/ 319517 h 504825"/>
                <a:gd name="connsiteX207" fmla="*/ 570257 w 581025"/>
                <a:gd name="connsiteY207" fmla="*/ 319517 h 504825"/>
                <a:gd name="connsiteX208" fmla="*/ 555500 w 581025"/>
                <a:gd name="connsiteY208" fmla="*/ 312136 h 504825"/>
                <a:gd name="connsiteX209" fmla="*/ 548122 w 581025"/>
                <a:gd name="connsiteY209" fmla="*/ 308440 h 504825"/>
                <a:gd name="connsiteX210" fmla="*/ 533365 w 581025"/>
                <a:gd name="connsiteY210" fmla="*/ 304754 h 504825"/>
                <a:gd name="connsiteX211" fmla="*/ 537054 w 581025"/>
                <a:gd name="connsiteY211" fmla="*/ 297372 h 504825"/>
                <a:gd name="connsiteX212" fmla="*/ 533365 w 581025"/>
                <a:gd name="connsiteY212" fmla="*/ 286294 h 504825"/>
                <a:gd name="connsiteX213" fmla="*/ 529676 w 581025"/>
                <a:gd name="connsiteY213" fmla="*/ 286294 h 504825"/>
                <a:gd name="connsiteX214" fmla="*/ 525987 w 581025"/>
                <a:gd name="connsiteY214" fmla="*/ 286294 h 504825"/>
                <a:gd name="connsiteX215" fmla="*/ 525987 w 581025"/>
                <a:gd name="connsiteY215" fmla="*/ 289990 h 504825"/>
                <a:gd name="connsiteX216" fmla="*/ 522298 w 581025"/>
                <a:gd name="connsiteY216" fmla="*/ 293676 h 504825"/>
                <a:gd name="connsiteX217" fmla="*/ 518609 w 581025"/>
                <a:gd name="connsiteY217" fmla="*/ 293676 h 504825"/>
                <a:gd name="connsiteX218" fmla="*/ 511230 w 581025"/>
                <a:gd name="connsiteY218" fmla="*/ 286294 h 504825"/>
                <a:gd name="connsiteX219" fmla="*/ 507541 w 581025"/>
                <a:gd name="connsiteY219" fmla="*/ 286294 h 504825"/>
                <a:gd name="connsiteX220" fmla="*/ 503852 w 581025"/>
                <a:gd name="connsiteY220" fmla="*/ 286294 h 504825"/>
                <a:gd name="connsiteX221" fmla="*/ 500163 w 581025"/>
                <a:gd name="connsiteY221" fmla="*/ 289990 h 504825"/>
                <a:gd name="connsiteX222" fmla="*/ 496474 w 581025"/>
                <a:gd name="connsiteY222" fmla="*/ 293676 h 504825"/>
                <a:gd name="connsiteX223" fmla="*/ 496474 w 581025"/>
                <a:gd name="connsiteY223" fmla="*/ 297372 h 504825"/>
                <a:gd name="connsiteX224" fmla="*/ 492784 w 581025"/>
                <a:gd name="connsiteY224" fmla="*/ 301058 h 504825"/>
                <a:gd name="connsiteX225" fmla="*/ 489095 w 581025"/>
                <a:gd name="connsiteY225" fmla="*/ 301058 h 504825"/>
                <a:gd name="connsiteX226" fmla="*/ 485406 w 581025"/>
                <a:gd name="connsiteY226" fmla="*/ 297372 h 504825"/>
                <a:gd name="connsiteX227" fmla="*/ 481717 w 581025"/>
                <a:gd name="connsiteY227" fmla="*/ 297372 h 504825"/>
                <a:gd name="connsiteX228" fmla="*/ 478028 w 581025"/>
                <a:gd name="connsiteY228" fmla="*/ 297372 h 504825"/>
                <a:gd name="connsiteX229" fmla="*/ 474339 w 581025"/>
                <a:gd name="connsiteY229" fmla="*/ 301058 h 504825"/>
                <a:gd name="connsiteX230" fmla="*/ 470650 w 581025"/>
                <a:gd name="connsiteY230" fmla="*/ 308440 h 504825"/>
                <a:gd name="connsiteX231" fmla="*/ 466960 w 581025"/>
                <a:gd name="connsiteY231" fmla="*/ 308440 h 504825"/>
                <a:gd name="connsiteX232" fmla="*/ 466960 w 581025"/>
                <a:gd name="connsiteY232" fmla="*/ 312136 h 504825"/>
                <a:gd name="connsiteX233" fmla="*/ 463271 w 581025"/>
                <a:gd name="connsiteY233" fmla="*/ 312136 h 504825"/>
                <a:gd name="connsiteX234" fmla="*/ 459582 w 581025"/>
                <a:gd name="connsiteY234" fmla="*/ 315822 h 504825"/>
                <a:gd name="connsiteX235" fmla="*/ 455893 w 581025"/>
                <a:gd name="connsiteY235" fmla="*/ 315822 h 504825"/>
                <a:gd name="connsiteX236" fmla="*/ 448515 w 581025"/>
                <a:gd name="connsiteY236" fmla="*/ 315822 h 504825"/>
                <a:gd name="connsiteX237" fmla="*/ 444825 w 581025"/>
                <a:gd name="connsiteY237" fmla="*/ 315822 h 504825"/>
                <a:gd name="connsiteX238" fmla="*/ 444825 w 581025"/>
                <a:gd name="connsiteY238" fmla="*/ 312136 h 504825"/>
                <a:gd name="connsiteX239" fmla="*/ 444825 w 581025"/>
                <a:gd name="connsiteY239" fmla="*/ 304754 h 504825"/>
                <a:gd name="connsiteX240" fmla="*/ 441136 w 581025"/>
                <a:gd name="connsiteY240" fmla="*/ 301058 h 504825"/>
                <a:gd name="connsiteX241" fmla="*/ 441136 w 581025"/>
                <a:gd name="connsiteY241" fmla="*/ 297372 h 504825"/>
                <a:gd name="connsiteX242" fmla="*/ 437446 w 581025"/>
                <a:gd name="connsiteY242" fmla="*/ 293676 h 504825"/>
                <a:gd name="connsiteX243" fmla="*/ 433757 w 581025"/>
                <a:gd name="connsiteY243" fmla="*/ 289990 h 504825"/>
                <a:gd name="connsiteX244" fmla="*/ 430068 w 581025"/>
                <a:gd name="connsiteY244" fmla="*/ 286294 h 504825"/>
                <a:gd name="connsiteX245" fmla="*/ 426379 w 581025"/>
                <a:gd name="connsiteY245" fmla="*/ 278922 h 504825"/>
                <a:gd name="connsiteX246" fmla="*/ 422689 w 581025"/>
                <a:gd name="connsiteY246" fmla="*/ 271540 h 504825"/>
                <a:gd name="connsiteX247" fmla="*/ 419000 w 581025"/>
                <a:gd name="connsiteY247" fmla="*/ 267844 h 504825"/>
                <a:gd name="connsiteX248" fmla="*/ 433757 w 581025"/>
                <a:gd name="connsiteY248" fmla="*/ 264158 h 504825"/>
                <a:gd name="connsiteX249" fmla="*/ 437446 w 581025"/>
                <a:gd name="connsiteY249" fmla="*/ 264158 h 504825"/>
                <a:gd name="connsiteX250" fmla="*/ 433757 w 581025"/>
                <a:gd name="connsiteY250" fmla="*/ 253081 h 504825"/>
                <a:gd name="connsiteX251" fmla="*/ 430068 w 581025"/>
                <a:gd name="connsiteY251" fmla="*/ 253081 h 504825"/>
                <a:gd name="connsiteX252" fmla="*/ 426379 w 581025"/>
                <a:gd name="connsiteY252" fmla="*/ 253081 h 504825"/>
                <a:gd name="connsiteX253" fmla="*/ 422689 w 581025"/>
                <a:gd name="connsiteY253" fmla="*/ 253081 h 504825"/>
                <a:gd name="connsiteX254" fmla="*/ 419000 w 581025"/>
                <a:gd name="connsiteY254" fmla="*/ 253081 h 504825"/>
                <a:gd name="connsiteX255" fmla="*/ 415311 w 581025"/>
                <a:gd name="connsiteY255" fmla="*/ 256776 h 504825"/>
                <a:gd name="connsiteX256" fmla="*/ 411622 w 581025"/>
                <a:gd name="connsiteY256" fmla="*/ 256776 h 504825"/>
                <a:gd name="connsiteX257" fmla="*/ 407933 w 581025"/>
                <a:gd name="connsiteY257" fmla="*/ 249394 h 504825"/>
                <a:gd name="connsiteX258" fmla="*/ 411622 w 581025"/>
                <a:gd name="connsiteY258" fmla="*/ 245699 h 504825"/>
                <a:gd name="connsiteX259" fmla="*/ 411622 w 581025"/>
                <a:gd name="connsiteY259" fmla="*/ 242013 h 504825"/>
                <a:gd name="connsiteX260" fmla="*/ 415311 w 581025"/>
                <a:gd name="connsiteY260" fmla="*/ 242013 h 504825"/>
                <a:gd name="connsiteX261" fmla="*/ 419000 w 581025"/>
                <a:gd name="connsiteY261" fmla="*/ 238317 h 504825"/>
                <a:gd name="connsiteX262" fmla="*/ 422689 w 581025"/>
                <a:gd name="connsiteY262" fmla="*/ 227249 h 504825"/>
                <a:gd name="connsiteX263" fmla="*/ 433757 w 581025"/>
                <a:gd name="connsiteY263" fmla="*/ 219867 h 504825"/>
                <a:gd name="connsiteX264" fmla="*/ 437446 w 581025"/>
                <a:gd name="connsiteY264" fmla="*/ 219867 h 504825"/>
                <a:gd name="connsiteX265" fmla="*/ 441136 w 581025"/>
                <a:gd name="connsiteY265" fmla="*/ 216181 h 504825"/>
                <a:gd name="connsiteX266" fmla="*/ 444825 w 581025"/>
                <a:gd name="connsiteY266" fmla="*/ 212485 h 504825"/>
                <a:gd name="connsiteX267" fmla="*/ 430068 w 581025"/>
                <a:gd name="connsiteY267" fmla="*/ 212485 h 504825"/>
                <a:gd name="connsiteX268" fmla="*/ 422689 w 581025"/>
                <a:gd name="connsiteY268" fmla="*/ 212485 h 504825"/>
                <a:gd name="connsiteX269" fmla="*/ 426379 w 581025"/>
                <a:gd name="connsiteY269" fmla="*/ 208799 h 504825"/>
                <a:gd name="connsiteX270" fmla="*/ 422689 w 581025"/>
                <a:gd name="connsiteY270" fmla="*/ 208799 h 504825"/>
                <a:gd name="connsiteX271" fmla="*/ 422689 w 581025"/>
                <a:gd name="connsiteY271" fmla="*/ 205103 h 504825"/>
                <a:gd name="connsiteX272" fmla="*/ 419000 w 581025"/>
                <a:gd name="connsiteY272" fmla="*/ 194035 h 504825"/>
                <a:gd name="connsiteX273" fmla="*/ 419000 w 581025"/>
                <a:gd name="connsiteY273" fmla="*/ 182967 h 504825"/>
                <a:gd name="connsiteX274" fmla="*/ 422689 w 581025"/>
                <a:gd name="connsiteY274" fmla="*/ 182967 h 504825"/>
                <a:gd name="connsiteX275" fmla="*/ 419000 w 581025"/>
                <a:gd name="connsiteY275" fmla="*/ 179271 h 504825"/>
                <a:gd name="connsiteX276" fmla="*/ 404244 w 581025"/>
                <a:gd name="connsiteY276" fmla="*/ 171889 h 504825"/>
                <a:gd name="connsiteX277" fmla="*/ 404244 w 581025"/>
                <a:gd name="connsiteY277" fmla="*/ 168203 h 504825"/>
                <a:gd name="connsiteX278" fmla="*/ 407933 w 581025"/>
                <a:gd name="connsiteY278" fmla="*/ 168203 h 504825"/>
                <a:gd name="connsiteX279" fmla="*/ 411622 w 581025"/>
                <a:gd name="connsiteY279" fmla="*/ 168203 h 504825"/>
                <a:gd name="connsiteX280" fmla="*/ 411622 w 581025"/>
                <a:gd name="connsiteY280" fmla="*/ 164508 h 504825"/>
                <a:gd name="connsiteX281" fmla="*/ 415311 w 581025"/>
                <a:gd name="connsiteY281" fmla="*/ 160821 h 504825"/>
                <a:gd name="connsiteX282" fmla="*/ 411622 w 581025"/>
                <a:gd name="connsiteY282" fmla="*/ 160821 h 504825"/>
                <a:gd name="connsiteX283" fmla="*/ 415311 w 581025"/>
                <a:gd name="connsiteY283" fmla="*/ 157126 h 504825"/>
                <a:gd name="connsiteX284" fmla="*/ 419000 w 581025"/>
                <a:gd name="connsiteY284" fmla="*/ 153440 h 504825"/>
                <a:gd name="connsiteX285" fmla="*/ 426379 w 581025"/>
                <a:gd name="connsiteY285" fmla="*/ 153440 h 504825"/>
                <a:gd name="connsiteX286" fmla="*/ 426379 w 581025"/>
                <a:gd name="connsiteY286" fmla="*/ 157126 h 504825"/>
                <a:gd name="connsiteX287" fmla="*/ 430068 w 581025"/>
                <a:gd name="connsiteY287" fmla="*/ 157126 h 504825"/>
                <a:gd name="connsiteX288" fmla="*/ 437446 w 581025"/>
                <a:gd name="connsiteY288" fmla="*/ 157126 h 504825"/>
                <a:gd name="connsiteX289" fmla="*/ 441136 w 581025"/>
                <a:gd name="connsiteY289" fmla="*/ 157126 h 504825"/>
                <a:gd name="connsiteX290" fmla="*/ 444825 w 581025"/>
                <a:gd name="connsiteY290" fmla="*/ 157126 h 504825"/>
                <a:gd name="connsiteX291" fmla="*/ 444825 w 581025"/>
                <a:gd name="connsiteY291" fmla="*/ 142362 h 504825"/>
                <a:gd name="connsiteX292" fmla="*/ 455893 w 581025"/>
                <a:gd name="connsiteY292" fmla="*/ 138676 h 504825"/>
                <a:gd name="connsiteX293" fmla="*/ 441136 w 581025"/>
                <a:gd name="connsiteY293" fmla="*/ 127608 h 504825"/>
                <a:gd name="connsiteX294" fmla="*/ 437446 w 581025"/>
                <a:gd name="connsiteY294" fmla="*/ 123912 h 504825"/>
                <a:gd name="connsiteX295" fmla="*/ 430068 w 581025"/>
                <a:gd name="connsiteY295" fmla="*/ 123912 h 504825"/>
                <a:gd name="connsiteX296" fmla="*/ 426379 w 581025"/>
                <a:gd name="connsiteY296" fmla="*/ 120226 h 504825"/>
                <a:gd name="connsiteX297" fmla="*/ 422689 w 581025"/>
                <a:gd name="connsiteY297" fmla="*/ 116530 h 504825"/>
                <a:gd name="connsiteX298" fmla="*/ 422689 w 581025"/>
                <a:gd name="connsiteY298" fmla="*/ 112844 h 504825"/>
                <a:gd name="connsiteX299" fmla="*/ 419000 w 581025"/>
                <a:gd name="connsiteY299" fmla="*/ 112844 h 504825"/>
                <a:gd name="connsiteX300" fmla="*/ 415311 w 581025"/>
                <a:gd name="connsiteY300" fmla="*/ 109148 h 504825"/>
                <a:gd name="connsiteX301" fmla="*/ 415311 w 581025"/>
                <a:gd name="connsiteY301" fmla="*/ 105462 h 504825"/>
                <a:gd name="connsiteX302" fmla="*/ 411622 w 581025"/>
                <a:gd name="connsiteY302" fmla="*/ 105462 h 504825"/>
                <a:gd name="connsiteX303" fmla="*/ 411622 w 581025"/>
                <a:gd name="connsiteY303" fmla="*/ 101766 h 504825"/>
                <a:gd name="connsiteX304" fmla="*/ 411622 w 581025"/>
                <a:gd name="connsiteY304" fmla="*/ 94385 h 504825"/>
                <a:gd name="connsiteX305" fmla="*/ 407933 w 581025"/>
                <a:gd name="connsiteY305" fmla="*/ 90698 h 504825"/>
                <a:gd name="connsiteX306" fmla="*/ 407933 w 581025"/>
                <a:gd name="connsiteY306" fmla="*/ 87012 h 504825"/>
                <a:gd name="connsiteX307" fmla="*/ 404244 w 581025"/>
                <a:gd name="connsiteY307" fmla="*/ 87012 h 504825"/>
                <a:gd name="connsiteX308" fmla="*/ 400554 w 581025"/>
                <a:gd name="connsiteY308" fmla="*/ 87012 h 504825"/>
                <a:gd name="connsiteX309" fmla="*/ 396865 w 581025"/>
                <a:gd name="connsiteY309" fmla="*/ 87012 h 504825"/>
                <a:gd name="connsiteX310" fmla="*/ 396865 w 581025"/>
                <a:gd name="connsiteY310" fmla="*/ 90698 h 504825"/>
                <a:gd name="connsiteX311" fmla="*/ 393176 w 581025"/>
                <a:gd name="connsiteY311" fmla="*/ 94385 h 504825"/>
                <a:gd name="connsiteX312" fmla="*/ 385798 w 581025"/>
                <a:gd name="connsiteY312" fmla="*/ 94385 h 504825"/>
                <a:gd name="connsiteX313" fmla="*/ 382109 w 581025"/>
                <a:gd name="connsiteY313" fmla="*/ 94385 h 504825"/>
                <a:gd name="connsiteX314" fmla="*/ 378420 w 581025"/>
                <a:gd name="connsiteY314" fmla="*/ 101766 h 504825"/>
                <a:gd name="connsiteX315" fmla="*/ 374730 w 581025"/>
                <a:gd name="connsiteY315" fmla="*/ 98080 h 504825"/>
                <a:gd name="connsiteX316" fmla="*/ 371041 w 581025"/>
                <a:gd name="connsiteY316" fmla="*/ 94385 h 504825"/>
                <a:gd name="connsiteX317" fmla="*/ 374730 w 581025"/>
                <a:gd name="connsiteY317" fmla="*/ 83316 h 504825"/>
                <a:gd name="connsiteX318" fmla="*/ 363663 w 581025"/>
                <a:gd name="connsiteY318" fmla="*/ 79630 h 504825"/>
                <a:gd name="connsiteX319" fmla="*/ 359974 w 581025"/>
                <a:gd name="connsiteY319" fmla="*/ 83316 h 504825"/>
                <a:gd name="connsiteX320" fmla="*/ 356285 w 581025"/>
                <a:gd name="connsiteY320" fmla="*/ 87012 h 504825"/>
                <a:gd name="connsiteX321" fmla="*/ 352595 w 581025"/>
                <a:gd name="connsiteY321" fmla="*/ 87012 h 504825"/>
                <a:gd name="connsiteX322" fmla="*/ 348906 w 581025"/>
                <a:gd name="connsiteY322" fmla="*/ 87012 h 504825"/>
                <a:gd name="connsiteX323" fmla="*/ 345217 w 581025"/>
                <a:gd name="connsiteY323" fmla="*/ 83316 h 504825"/>
                <a:gd name="connsiteX324" fmla="*/ 345217 w 581025"/>
                <a:gd name="connsiteY324" fmla="*/ 87012 h 504825"/>
                <a:gd name="connsiteX325" fmla="*/ 341528 w 581025"/>
                <a:gd name="connsiteY325" fmla="*/ 87012 h 504825"/>
                <a:gd name="connsiteX326" fmla="*/ 334150 w 581025"/>
                <a:gd name="connsiteY326" fmla="*/ 90698 h 504825"/>
                <a:gd name="connsiteX327" fmla="*/ 330460 w 581025"/>
                <a:gd name="connsiteY327" fmla="*/ 94385 h 504825"/>
                <a:gd name="connsiteX328" fmla="*/ 326771 w 581025"/>
                <a:gd name="connsiteY328" fmla="*/ 94385 h 504825"/>
                <a:gd name="connsiteX329" fmla="*/ 323082 w 581025"/>
                <a:gd name="connsiteY329" fmla="*/ 94385 h 504825"/>
                <a:gd name="connsiteX330" fmla="*/ 312015 w 581025"/>
                <a:gd name="connsiteY330" fmla="*/ 94385 h 504825"/>
                <a:gd name="connsiteX331" fmla="*/ 304636 w 581025"/>
                <a:gd name="connsiteY331" fmla="*/ 90698 h 504825"/>
                <a:gd name="connsiteX332" fmla="*/ 300947 w 581025"/>
                <a:gd name="connsiteY332" fmla="*/ 94385 h 504825"/>
                <a:gd name="connsiteX333" fmla="*/ 297258 w 581025"/>
                <a:gd name="connsiteY333" fmla="*/ 94385 h 504825"/>
                <a:gd name="connsiteX334" fmla="*/ 293568 w 581025"/>
                <a:gd name="connsiteY334" fmla="*/ 90698 h 504825"/>
                <a:gd name="connsiteX335" fmla="*/ 289879 w 581025"/>
                <a:gd name="connsiteY335" fmla="*/ 90698 h 504825"/>
                <a:gd name="connsiteX336" fmla="*/ 289879 w 581025"/>
                <a:gd name="connsiteY336" fmla="*/ 87012 h 504825"/>
                <a:gd name="connsiteX337" fmla="*/ 289879 w 581025"/>
                <a:gd name="connsiteY337" fmla="*/ 83316 h 504825"/>
                <a:gd name="connsiteX338" fmla="*/ 289879 w 581025"/>
                <a:gd name="connsiteY338" fmla="*/ 79630 h 504825"/>
                <a:gd name="connsiteX339" fmla="*/ 293568 w 581025"/>
                <a:gd name="connsiteY339" fmla="*/ 79630 h 504825"/>
                <a:gd name="connsiteX340" fmla="*/ 293568 w 581025"/>
                <a:gd name="connsiteY340" fmla="*/ 75935 h 504825"/>
                <a:gd name="connsiteX341" fmla="*/ 297258 w 581025"/>
                <a:gd name="connsiteY341" fmla="*/ 72248 h 504825"/>
                <a:gd name="connsiteX342" fmla="*/ 297258 w 581025"/>
                <a:gd name="connsiteY342" fmla="*/ 64867 h 504825"/>
                <a:gd name="connsiteX343" fmla="*/ 297258 w 581025"/>
                <a:gd name="connsiteY343" fmla="*/ 61171 h 504825"/>
                <a:gd name="connsiteX344" fmla="*/ 297258 w 581025"/>
                <a:gd name="connsiteY344" fmla="*/ 57485 h 504825"/>
                <a:gd name="connsiteX345" fmla="*/ 297258 w 581025"/>
                <a:gd name="connsiteY345" fmla="*/ 53789 h 504825"/>
                <a:gd name="connsiteX346" fmla="*/ 300947 w 581025"/>
                <a:gd name="connsiteY346" fmla="*/ 50103 h 504825"/>
                <a:gd name="connsiteX347" fmla="*/ 304636 w 581025"/>
                <a:gd name="connsiteY347" fmla="*/ 46407 h 504825"/>
                <a:gd name="connsiteX348" fmla="*/ 308326 w 581025"/>
                <a:gd name="connsiteY348" fmla="*/ 42721 h 504825"/>
                <a:gd name="connsiteX349" fmla="*/ 308326 w 581025"/>
                <a:gd name="connsiteY349" fmla="*/ 39035 h 504825"/>
                <a:gd name="connsiteX350" fmla="*/ 308326 w 581025"/>
                <a:gd name="connsiteY350" fmla="*/ 35339 h 504825"/>
                <a:gd name="connsiteX351" fmla="*/ 312015 w 581025"/>
                <a:gd name="connsiteY351" fmla="*/ 35339 h 504825"/>
                <a:gd name="connsiteX352" fmla="*/ 312015 w 581025"/>
                <a:gd name="connsiteY352" fmla="*/ 27957 h 504825"/>
                <a:gd name="connsiteX353" fmla="*/ 315704 w 581025"/>
                <a:gd name="connsiteY353" fmla="*/ 24271 h 504825"/>
                <a:gd name="connsiteX354" fmla="*/ 319393 w 581025"/>
                <a:gd name="connsiteY354" fmla="*/ 16889 h 504825"/>
                <a:gd name="connsiteX355" fmla="*/ 312015 w 581025"/>
                <a:gd name="connsiteY355" fmla="*/ 13193 h 504825"/>
                <a:gd name="connsiteX356" fmla="*/ 308326 w 581025"/>
                <a:gd name="connsiteY356" fmla="*/ 13193 h 504825"/>
                <a:gd name="connsiteX357" fmla="*/ 304636 w 581025"/>
                <a:gd name="connsiteY357" fmla="*/ 13193 h 504825"/>
                <a:gd name="connsiteX358" fmla="*/ 300947 w 581025"/>
                <a:gd name="connsiteY358" fmla="*/ 16889 h 504825"/>
                <a:gd name="connsiteX359" fmla="*/ 297258 w 581025"/>
                <a:gd name="connsiteY359" fmla="*/ 13193 h 504825"/>
                <a:gd name="connsiteX360" fmla="*/ 297258 w 581025"/>
                <a:gd name="connsiteY360" fmla="*/ 20575 h 504825"/>
                <a:gd name="connsiteX361" fmla="*/ 286190 w 581025"/>
                <a:gd name="connsiteY361" fmla="*/ 16889 h 504825"/>
                <a:gd name="connsiteX362" fmla="*/ 260365 w 581025"/>
                <a:gd name="connsiteY362" fmla="*/ 5812 h 504825"/>
                <a:gd name="connsiteX363" fmla="*/ 42704 w 581025"/>
                <a:gd name="connsiteY363" fmla="*/ 389631 h 504825"/>
                <a:gd name="connsiteX364" fmla="*/ 39015 w 581025"/>
                <a:gd name="connsiteY364" fmla="*/ 393327 h 504825"/>
                <a:gd name="connsiteX365" fmla="*/ 42704 w 581025"/>
                <a:gd name="connsiteY365" fmla="*/ 393327 h 504825"/>
                <a:gd name="connsiteX366" fmla="*/ 42704 w 581025"/>
                <a:gd name="connsiteY366" fmla="*/ 389631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Lst>
              <a:rect l="l" t="t" r="r" b="b"/>
              <a:pathLst>
                <a:path w="581025" h="504825">
                  <a:moveTo>
                    <a:pt x="260365" y="5812"/>
                  </a:moveTo>
                  <a:lnTo>
                    <a:pt x="238230" y="53789"/>
                  </a:lnTo>
                  <a:lnTo>
                    <a:pt x="230852" y="64867"/>
                  </a:lnTo>
                  <a:lnTo>
                    <a:pt x="227163" y="72248"/>
                  </a:lnTo>
                  <a:lnTo>
                    <a:pt x="216096" y="90698"/>
                  </a:lnTo>
                  <a:lnTo>
                    <a:pt x="212406" y="94385"/>
                  </a:lnTo>
                  <a:lnTo>
                    <a:pt x="212406" y="98080"/>
                  </a:lnTo>
                  <a:lnTo>
                    <a:pt x="205028" y="109148"/>
                  </a:lnTo>
                  <a:lnTo>
                    <a:pt x="201339" y="116530"/>
                  </a:lnTo>
                  <a:lnTo>
                    <a:pt x="190271" y="131294"/>
                  </a:lnTo>
                  <a:lnTo>
                    <a:pt x="168136" y="160821"/>
                  </a:lnTo>
                  <a:lnTo>
                    <a:pt x="157069" y="168203"/>
                  </a:lnTo>
                  <a:lnTo>
                    <a:pt x="157069" y="171889"/>
                  </a:lnTo>
                  <a:lnTo>
                    <a:pt x="149690" y="179271"/>
                  </a:lnTo>
                  <a:lnTo>
                    <a:pt x="146001" y="179271"/>
                  </a:lnTo>
                  <a:lnTo>
                    <a:pt x="146001" y="182967"/>
                  </a:lnTo>
                  <a:lnTo>
                    <a:pt x="146001" y="186653"/>
                  </a:lnTo>
                  <a:lnTo>
                    <a:pt x="149690" y="186653"/>
                  </a:lnTo>
                  <a:lnTo>
                    <a:pt x="146001" y="190339"/>
                  </a:lnTo>
                  <a:lnTo>
                    <a:pt x="146001" y="186653"/>
                  </a:lnTo>
                  <a:lnTo>
                    <a:pt x="142311" y="186653"/>
                  </a:lnTo>
                  <a:lnTo>
                    <a:pt x="138622" y="190339"/>
                  </a:lnTo>
                  <a:lnTo>
                    <a:pt x="134933" y="197721"/>
                  </a:lnTo>
                  <a:lnTo>
                    <a:pt x="131244" y="201417"/>
                  </a:lnTo>
                  <a:lnTo>
                    <a:pt x="120176" y="212485"/>
                  </a:lnTo>
                  <a:lnTo>
                    <a:pt x="112798" y="219867"/>
                  </a:lnTo>
                  <a:lnTo>
                    <a:pt x="101731" y="234631"/>
                  </a:lnTo>
                  <a:lnTo>
                    <a:pt x="98041" y="238317"/>
                  </a:lnTo>
                  <a:lnTo>
                    <a:pt x="90663" y="245699"/>
                  </a:lnTo>
                  <a:lnTo>
                    <a:pt x="86974" y="249394"/>
                  </a:lnTo>
                  <a:lnTo>
                    <a:pt x="86974" y="253081"/>
                  </a:lnTo>
                  <a:lnTo>
                    <a:pt x="79596" y="264158"/>
                  </a:lnTo>
                  <a:lnTo>
                    <a:pt x="72217" y="267844"/>
                  </a:lnTo>
                  <a:lnTo>
                    <a:pt x="64839" y="275226"/>
                  </a:lnTo>
                  <a:lnTo>
                    <a:pt x="61150" y="275226"/>
                  </a:lnTo>
                  <a:lnTo>
                    <a:pt x="57461" y="271540"/>
                  </a:lnTo>
                  <a:lnTo>
                    <a:pt x="39015" y="267844"/>
                  </a:lnTo>
                  <a:lnTo>
                    <a:pt x="35326" y="271540"/>
                  </a:lnTo>
                  <a:lnTo>
                    <a:pt x="31637" y="271540"/>
                  </a:lnTo>
                  <a:lnTo>
                    <a:pt x="27947" y="271540"/>
                  </a:lnTo>
                  <a:lnTo>
                    <a:pt x="24258" y="275226"/>
                  </a:lnTo>
                  <a:lnTo>
                    <a:pt x="24258" y="278922"/>
                  </a:lnTo>
                  <a:lnTo>
                    <a:pt x="20569" y="282608"/>
                  </a:lnTo>
                  <a:lnTo>
                    <a:pt x="16880" y="289990"/>
                  </a:lnTo>
                  <a:lnTo>
                    <a:pt x="20569" y="293676"/>
                  </a:lnTo>
                  <a:lnTo>
                    <a:pt x="24258" y="297372"/>
                  </a:lnTo>
                  <a:lnTo>
                    <a:pt x="24258" y="301058"/>
                  </a:lnTo>
                  <a:lnTo>
                    <a:pt x="16880" y="308440"/>
                  </a:lnTo>
                  <a:lnTo>
                    <a:pt x="13191" y="315822"/>
                  </a:lnTo>
                  <a:lnTo>
                    <a:pt x="5812" y="326899"/>
                  </a:lnTo>
                  <a:lnTo>
                    <a:pt x="9502" y="326899"/>
                  </a:lnTo>
                  <a:lnTo>
                    <a:pt x="13191" y="326899"/>
                  </a:lnTo>
                  <a:lnTo>
                    <a:pt x="16880" y="330585"/>
                  </a:lnTo>
                  <a:lnTo>
                    <a:pt x="20569" y="326899"/>
                  </a:lnTo>
                  <a:lnTo>
                    <a:pt x="35326" y="323204"/>
                  </a:lnTo>
                  <a:lnTo>
                    <a:pt x="39015" y="323204"/>
                  </a:lnTo>
                  <a:lnTo>
                    <a:pt x="42704" y="330585"/>
                  </a:lnTo>
                  <a:lnTo>
                    <a:pt x="39015" y="330585"/>
                  </a:lnTo>
                  <a:lnTo>
                    <a:pt x="39015" y="334272"/>
                  </a:lnTo>
                  <a:lnTo>
                    <a:pt x="31637" y="341654"/>
                  </a:lnTo>
                  <a:lnTo>
                    <a:pt x="31637" y="345349"/>
                  </a:lnTo>
                  <a:lnTo>
                    <a:pt x="27947" y="349035"/>
                  </a:lnTo>
                  <a:lnTo>
                    <a:pt x="27947" y="352731"/>
                  </a:lnTo>
                  <a:lnTo>
                    <a:pt x="31637" y="356417"/>
                  </a:lnTo>
                  <a:lnTo>
                    <a:pt x="46393" y="378563"/>
                  </a:lnTo>
                  <a:lnTo>
                    <a:pt x="46393" y="382249"/>
                  </a:lnTo>
                  <a:lnTo>
                    <a:pt x="46393" y="385945"/>
                  </a:lnTo>
                  <a:lnTo>
                    <a:pt x="42704" y="389631"/>
                  </a:lnTo>
                  <a:lnTo>
                    <a:pt x="50082" y="385945"/>
                  </a:lnTo>
                  <a:lnTo>
                    <a:pt x="53772" y="389631"/>
                  </a:lnTo>
                  <a:lnTo>
                    <a:pt x="57461" y="393327"/>
                  </a:lnTo>
                  <a:lnTo>
                    <a:pt x="61150" y="397013"/>
                  </a:lnTo>
                  <a:lnTo>
                    <a:pt x="61150" y="400709"/>
                  </a:lnTo>
                  <a:lnTo>
                    <a:pt x="64839" y="400709"/>
                  </a:lnTo>
                  <a:lnTo>
                    <a:pt x="68528" y="400709"/>
                  </a:lnTo>
                  <a:lnTo>
                    <a:pt x="72217" y="400709"/>
                  </a:lnTo>
                  <a:lnTo>
                    <a:pt x="75906" y="400709"/>
                  </a:lnTo>
                  <a:lnTo>
                    <a:pt x="72217" y="404395"/>
                  </a:lnTo>
                  <a:lnTo>
                    <a:pt x="75906" y="408090"/>
                  </a:lnTo>
                  <a:lnTo>
                    <a:pt x="79596" y="408090"/>
                  </a:lnTo>
                  <a:lnTo>
                    <a:pt x="79596" y="404395"/>
                  </a:lnTo>
                  <a:lnTo>
                    <a:pt x="83285" y="404395"/>
                  </a:lnTo>
                  <a:lnTo>
                    <a:pt x="86974" y="404395"/>
                  </a:lnTo>
                  <a:lnTo>
                    <a:pt x="90663" y="404395"/>
                  </a:lnTo>
                  <a:lnTo>
                    <a:pt x="94352" y="408090"/>
                  </a:lnTo>
                  <a:lnTo>
                    <a:pt x="101731" y="419158"/>
                  </a:lnTo>
                  <a:lnTo>
                    <a:pt x="105420" y="419158"/>
                  </a:lnTo>
                  <a:lnTo>
                    <a:pt x="109109" y="419158"/>
                  </a:lnTo>
                  <a:lnTo>
                    <a:pt x="112798" y="419158"/>
                  </a:lnTo>
                  <a:lnTo>
                    <a:pt x="112798" y="422854"/>
                  </a:lnTo>
                  <a:lnTo>
                    <a:pt x="120176" y="422854"/>
                  </a:lnTo>
                  <a:lnTo>
                    <a:pt x="123866" y="430227"/>
                  </a:lnTo>
                  <a:lnTo>
                    <a:pt x="127555" y="433922"/>
                  </a:lnTo>
                  <a:lnTo>
                    <a:pt x="131244" y="433922"/>
                  </a:lnTo>
                  <a:lnTo>
                    <a:pt x="134933" y="433922"/>
                  </a:lnTo>
                  <a:lnTo>
                    <a:pt x="131244" y="437608"/>
                  </a:lnTo>
                  <a:lnTo>
                    <a:pt x="127555" y="437608"/>
                  </a:lnTo>
                  <a:lnTo>
                    <a:pt x="131244" y="444990"/>
                  </a:lnTo>
                  <a:lnTo>
                    <a:pt x="134933" y="448686"/>
                  </a:lnTo>
                  <a:lnTo>
                    <a:pt x="146001" y="452372"/>
                  </a:lnTo>
                  <a:lnTo>
                    <a:pt x="146001" y="456068"/>
                  </a:lnTo>
                  <a:lnTo>
                    <a:pt x="153380" y="456068"/>
                  </a:lnTo>
                  <a:lnTo>
                    <a:pt x="160758" y="459754"/>
                  </a:lnTo>
                  <a:lnTo>
                    <a:pt x="168136" y="459754"/>
                  </a:lnTo>
                  <a:lnTo>
                    <a:pt x="168136" y="463450"/>
                  </a:lnTo>
                  <a:lnTo>
                    <a:pt x="182893" y="467136"/>
                  </a:lnTo>
                  <a:lnTo>
                    <a:pt x="190271" y="474518"/>
                  </a:lnTo>
                  <a:lnTo>
                    <a:pt x="193961" y="474518"/>
                  </a:lnTo>
                  <a:lnTo>
                    <a:pt x="201339" y="478204"/>
                  </a:lnTo>
                  <a:lnTo>
                    <a:pt x="212406" y="485586"/>
                  </a:lnTo>
                  <a:lnTo>
                    <a:pt x="216096" y="485586"/>
                  </a:lnTo>
                  <a:lnTo>
                    <a:pt x="219785" y="489281"/>
                  </a:lnTo>
                  <a:lnTo>
                    <a:pt x="227163" y="489281"/>
                  </a:lnTo>
                  <a:lnTo>
                    <a:pt x="227163" y="492968"/>
                  </a:lnTo>
                  <a:lnTo>
                    <a:pt x="241920" y="492968"/>
                  </a:lnTo>
                  <a:lnTo>
                    <a:pt x="245609" y="492968"/>
                  </a:lnTo>
                  <a:lnTo>
                    <a:pt x="252987" y="496663"/>
                  </a:lnTo>
                  <a:lnTo>
                    <a:pt x="256676" y="496663"/>
                  </a:lnTo>
                  <a:lnTo>
                    <a:pt x="260365" y="496663"/>
                  </a:lnTo>
                  <a:lnTo>
                    <a:pt x="264055" y="500350"/>
                  </a:lnTo>
                  <a:lnTo>
                    <a:pt x="267744" y="500350"/>
                  </a:lnTo>
                  <a:lnTo>
                    <a:pt x="271433" y="504045"/>
                  </a:lnTo>
                  <a:lnTo>
                    <a:pt x="275122" y="504045"/>
                  </a:lnTo>
                  <a:lnTo>
                    <a:pt x="282500" y="500350"/>
                  </a:lnTo>
                  <a:lnTo>
                    <a:pt x="286190" y="500350"/>
                  </a:lnTo>
                  <a:lnTo>
                    <a:pt x="297258" y="496663"/>
                  </a:lnTo>
                  <a:lnTo>
                    <a:pt x="300947" y="496663"/>
                  </a:lnTo>
                  <a:lnTo>
                    <a:pt x="304636" y="492968"/>
                  </a:lnTo>
                  <a:lnTo>
                    <a:pt x="312015" y="492968"/>
                  </a:lnTo>
                  <a:lnTo>
                    <a:pt x="315704" y="485586"/>
                  </a:lnTo>
                  <a:lnTo>
                    <a:pt x="319393" y="489281"/>
                  </a:lnTo>
                  <a:lnTo>
                    <a:pt x="323082" y="489281"/>
                  </a:lnTo>
                  <a:lnTo>
                    <a:pt x="330460" y="485586"/>
                  </a:lnTo>
                  <a:lnTo>
                    <a:pt x="330460" y="489281"/>
                  </a:lnTo>
                  <a:lnTo>
                    <a:pt x="345217" y="485586"/>
                  </a:lnTo>
                  <a:lnTo>
                    <a:pt x="348906" y="481900"/>
                  </a:lnTo>
                  <a:lnTo>
                    <a:pt x="352595" y="478204"/>
                  </a:lnTo>
                  <a:lnTo>
                    <a:pt x="359974" y="474518"/>
                  </a:lnTo>
                  <a:lnTo>
                    <a:pt x="371041" y="467136"/>
                  </a:lnTo>
                  <a:lnTo>
                    <a:pt x="374730" y="459754"/>
                  </a:lnTo>
                  <a:lnTo>
                    <a:pt x="378420" y="456068"/>
                  </a:lnTo>
                  <a:lnTo>
                    <a:pt x="382109" y="444990"/>
                  </a:lnTo>
                  <a:lnTo>
                    <a:pt x="385798" y="441304"/>
                  </a:lnTo>
                  <a:lnTo>
                    <a:pt x="389487" y="437608"/>
                  </a:lnTo>
                  <a:lnTo>
                    <a:pt x="389487" y="433922"/>
                  </a:lnTo>
                  <a:lnTo>
                    <a:pt x="393176" y="430227"/>
                  </a:lnTo>
                  <a:lnTo>
                    <a:pt x="396865" y="430227"/>
                  </a:lnTo>
                  <a:lnTo>
                    <a:pt x="404244" y="426540"/>
                  </a:lnTo>
                  <a:lnTo>
                    <a:pt x="411622" y="426540"/>
                  </a:lnTo>
                  <a:lnTo>
                    <a:pt x="419000" y="426540"/>
                  </a:lnTo>
                  <a:lnTo>
                    <a:pt x="426379" y="426540"/>
                  </a:lnTo>
                  <a:lnTo>
                    <a:pt x="430068" y="426540"/>
                  </a:lnTo>
                  <a:lnTo>
                    <a:pt x="437446" y="422854"/>
                  </a:lnTo>
                  <a:lnTo>
                    <a:pt x="441136" y="422854"/>
                  </a:lnTo>
                  <a:lnTo>
                    <a:pt x="448515" y="411777"/>
                  </a:lnTo>
                  <a:lnTo>
                    <a:pt x="452204" y="411777"/>
                  </a:lnTo>
                  <a:lnTo>
                    <a:pt x="459582" y="408090"/>
                  </a:lnTo>
                  <a:lnTo>
                    <a:pt x="463271" y="404395"/>
                  </a:lnTo>
                  <a:lnTo>
                    <a:pt x="470650" y="404395"/>
                  </a:lnTo>
                  <a:lnTo>
                    <a:pt x="474339" y="404395"/>
                  </a:lnTo>
                  <a:lnTo>
                    <a:pt x="478028" y="404395"/>
                  </a:lnTo>
                  <a:lnTo>
                    <a:pt x="485406" y="408090"/>
                  </a:lnTo>
                  <a:lnTo>
                    <a:pt x="492784" y="408090"/>
                  </a:lnTo>
                  <a:lnTo>
                    <a:pt x="496474" y="408090"/>
                  </a:lnTo>
                  <a:lnTo>
                    <a:pt x="500163" y="411777"/>
                  </a:lnTo>
                  <a:lnTo>
                    <a:pt x="507541" y="411777"/>
                  </a:lnTo>
                  <a:lnTo>
                    <a:pt x="511230" y="411777"/>
                  </a:lnTo>
                  <a:lnTo>
                    <a:pt x="518609" y="411777"/>
                  </a:lnTo>
                  <a:lnTo>
                    <a:pt x="518609" y="408090"/>
                  </a:lnTo>
                  <a:lnTo>
                    <a:pt x="522298" y="393327"/>
                  </a:lnTo>
                  <a:lnTo>
                    <a:pt x="514919" y="393327"/>
                  </a:lnTo>
                  <a:lnTo>
                    <a:pt x="511230" y="393327"/>
                  </a:lnTo>
                  <a:lnTo>
                    <a:pt x="507541" y="393327"/>
                  </a:lnTo>
                  <a:lnTo>
                    <a:pt x="503852" y="389631"/>
                  </a:lnTo>
                  <a:lnTo>
                    <a:pt x="507541" y="389631"/>
                  </a:lnTo>
                  <a:lnTo>
                    <a:pt x="503852" y="385945"/>
                  </a:lnTo>
                  <a:lnTo>
                    <a:pt x="503852" y="382249"/>
                  </a:lnTo>
                  <a:lnTo>
                    <a:pt x="503852" y="378563"/>
                  </a:lnTo>
                  <a:lnTo>
                    <a:pt x="507541" y="382249"/>
                  </a:lnTo>
                  <a:lnTo>
                    <a:pt x="514919" y="378563"/>
                  </a:lnTo>
                  <a:lnTo>
                    <a:pt x="518609" y="382249"/>
                  </a:lnTo>
                  <a:lnTo>
                    <a:pt x="529676" y="378563"/>
                  </a:lnTo>
                  <a:lnTo>
                    <a:pt x="533365" y="382249"/>
                  </a:lnTo>
                  <a:lnTo>
                    <a:pt x="537054" y="382249"/>
                  </a:lnTo>
                  <a:lnTo>
                    <a:pt x="537054" y="378563"/>
                  </a:lnTo>
                  <a:lnTo>
                    <a:pt x="533365" y="374877"/>
                  </a:lnTo>
                  <a:lnTo>
                    <a:pt x="533365" y="371181"/>
                  </a:lnTo>
                  <a:lnTo>
                    <a:pt x="533365" y="367495"/>
                  </a:lnTo>
                  <a:lnTo>
                    <a:pt x="537054" y="367495"/>
                  </a:lnTo>
                  <a:lnTo>
                    <a:pt x="540744" y="367495"/>
                  </a:lnTo>
                  <a:lnTo>
                    <a:pt x="544433" y="367495"/>
                  </a:lnTo>
                  <a:lnTo>
                    <a:pt x="548122" y="363799"/>
                  </a:lnTo>
                  <a:lnTo>
                    <a:pt x="548122" y="356417"/>
                  </a:lnTo>
                  <a:lnTo>
                    <a:pt x="551811" y="356417"/>
                  </a:lnTo>
                  <a:lnTo>
                    <a:pt x="559189" y="356417"/>
                  </a:lnTo>
                  <a:lnTo>
                    <a:pt x="562879" y="356417"/>
                  </a:lnTo>
                  <a:lnTo>
                    <a:pt x="562879" y="352731"/>
                  </a:lnTo>
                  <a:lnTo>
                    <a:pt x="566568" y="349035"/>
                  </a:lnTo>
                  <a:lnTo>
                    <a:pt x="570257" y="337967"/>
                  </a:lnTo>
                  <a:lnTo>
                    <a:pt x="570257" y="334272"/>
                  </a:lnTo>
                  <a:lnTo>
                    <a:pt x="573946" y="334272"/>
                  </a:lnTo>
                  <a:lnTo>
                    <a:pt x="577635" y="326899"/>
                  </a:lnTo>
                  <a:lnTo>
                    <a:pt x="581324" y="323204"/>
                  </a:lnTo>
                  <a:lnTo>
                    <a:pt x="577635" y="323204"/>
                  </a:lnTo>
                  <a:lnTo>
                    <a:pt x="581324" y="319517"/>
                  </a:lnTo>
                  <a:lnTo>
                    <a:pt x="577635" y="319517"/>
                  </a:lnTo>
                  <a:lnTo>
                    <a:pt x="573946" y="319517"/>
                  </a:lnTo>
                  <a:lnTo>
                    <a:pt x="570257" y="319517"/>
                  </a:lnTo>
                  <a:lnTo>
                    <a:pt x="555500" y="312136"/>
                  </a:lnTo>
                  <a:lnTo>
                    <a:pt x="548122" y="308440"/>
                  </a:lnTo>
                  <a:lnTo>
                    <a:pt x="533365" y="304754"/>
                  </a:lnTo>
                  <a:lnTo>
                    <a:pt x="537054" y="297372"/>
                  </a:lnTo>
                  <a:lnTo>
                    <a:pt x="533365" y="286294"/>
                  </a:lnTo>
                  <a:lnTo>
                    <a:pt x="529676" y="286294"/>
                  </a:lnTo>
                  <a:lnTo>
                    <a:pt x="525987" y="286294"/>
                  </a:lnTo>
                  <a:lnTo>
                    <a:pt x="525987" y="289990"/>
                  </a:lnTo>
                  <a:lnTo>
                    <a:pt x="522298" y="293676"/>
                  </a:lnTo>
                  <a:lnTo>
                    <a:pt x="518609" y="293676"/>
                  </a:lnTo>
                  <a:lnTo>
                    <a:pt x="511230" y="286294"/>
                  </a:lnTo>
                  <a:lnTo>
                    <a:pt x="507541" y="286294"/>
                  </a:lnTo>
                  <a:lnTo>
                    <a:pt x="503852" y="286294"/>
                  </a:lnTo>
                  <a:lnTo>
                    <a:pt x="500163" y="289990"/>
                  </a:lnTo>
                  <a:lnTo>
                    <a:pt x="496474" y="293676"/>
                  </a:lnTo>
                  <a:lnTo>
                    <a:pt x="496474" y="297372"/>
                  </a:lnTo>
                  <a:lnTo>
                    <a:pt x="492784" y="301058"/>
                  </a:lnTo>
                  <a:lnTo>
                    <a:pt x="489095" y="301058"/>
                  </a:lnTo>
                  <a:lnTo>
                    <a:pt x="485406" y="297372"/>
                  </a:lnTo>
                  <a:lnTo>
                    <a:pt x="481717" y="297372"/>
                  </a:lnTo>
                  <a:lnTo>
                    <a:pt x="478028" y="297372"/>
                  </a:lnTo>
                  <a:lnTo>
                    <a:pt x="474339" y="301058"/>
                  </a:lnTo>
                  <a:lnTo>
                    <a:pt x="470650" y="308440"/>
                  </a:lnTo>
                  <a:lnTo>
                    <a:pt x="466960" y="308440"/>
                  </a:lnTo>
                  <a:lnTo>
                    <a:pt x="466960" y="312136"/>
                  </a:lnTo>
                  <a:lnTo>
                    <a:pt x="463271" y="312136"/>
                  </a:lnTo>
                  <a:lnTo>
                    <a:pt x="459582" y="315822"/>
                  </a:lnTo>
                  <a:lnTo>
                    <a:pt x="455893" y="315822"/>
                  </a:lnTo>
                  <a:lnTo>
                    <a:pt x="448515" y="315822"/>
                  </a:lnTo>
                  <a:lnTo>
                    <a:pt x="444825" y="315822"/>
                  </a:lnTo>
                  <a:lnTo>
                    <a:pt x="444825" y="312136"/>
                  </a:lnTo>
                  <a:lnTo>
                    <a:pt x="444825" y="304754"/>
                  </a:lnTo>
                  <a:lnTo>
                    <a:pt x="441136" y="301058"/>
                  </a:lnTo>
                  <a:lnTo>
                    <a:pt x="441136" y="297372"/>
                  </a:lnTo>
                  <a:lnTo>
                    <a:pt x="437446" y="293676"/>
                  </a:lnTo>
                  <a:lnTo>
                    <a:pt x="433757" y="289990"/>
                  </a:lnTo>
                  <a:lnTo>
                    <a:pt x="430068" y="286294"/>
                  </a:lnTo>
                  <a:lnTo>
                    <a:pt x="426379" y="278922"/>
                  </a:lnTo>
                  <a:lnTo>
                    <a:pt x="422689" y="271540"/>
                  </a:lnTo>
                  <a:lnTo>
                    <a:pt x="419000" y="267844"/>
                  </a:lnTo>
                  <a:lnTo>
                    <a:pt x="433757" y="264158"/>
                  </a:lnTo>
                  <a:lnTo>
                    <a:pt x="437446" y="264158"/>
                  </a:lnTo>
                  <a:lnTo>
                    <a:pt x="433757" y="253081"/>
                  </a:lnTo>
                  <a:lnTo>
                    <a:pt x="430068" y="253081"/>
                  </a:lnTo>
                  <a:lnTo>
                    <a:pt x="426379" y="253081"/>
                  </a:lnTo>
                  <a:lnTo>
                    <a:pt x="422689" y="253081"/>
                  </a:lnTo>
                  <a:lnTo>
                    <a:pt x="419000" y="253081"/>
                  </a:lnTo>
                  <a:lnTo>
                    <a:pt x="415311" y="256776"/>
                  </a:lnTo>
                  <a:lnTo>
                    <a:pt x="411622" y="256776"/>
                  </a:lnTo>
                  <a:lnTo>
                    <a:pt x="407933" y="249394"/>
                  </a:lnTo>
                  <a:lnTo>
                    <a:pt x="411622" y="245699"/>
                  </a:lnTo>
                  <a:lnTo>
                    <a:pt x="411622" y="242013"/>
                  </a:lnTo>
                  <a:lnTo>
                    <a:pt x="415311" y="242013"/>
                  </a:lnTo>
                  <a:lnTo>
                    <a:pt x="419000" y="238317"/>
                  </a:lnTo>
                  <a:lnTo>
                    <a:pt x="422689" y="227249"/>
                  </a:lnTo>
                  <a:lnTo>
                    <a:pt x="433757" y="219867"/>
                  </a:lnTo>
                  <a:lnTo>
                    <a:pt x="437446" y="219867"/>
                  </a:lnTo>
                  <a:lnTo>
                    <a:pt x="441136" y="216181"/>
                  </a:lnTo>
                  <a:lnTo>
                    <a:pt x="444825" y="212485"/>
                  </a:lnTo>
                  <a:lnTo>
                    <a:pt x="430068" y="212485"/>
                  </a:lnTo>
                  <a:lnTo>
                    <a:pt x="422689" y="212485"/>
                  </a:lnTo>
                  <a:lnTo>
                    <a:pt x="426379" y="208799"/>
                  </a:lnTo>
                  <a:lnTo>
                    <a:pt x="422689" y="208799"/>
                  </a:lnTo>
                  <a:lnTo>
                    <a:pt x="422689" y="205103"/>
                  </a:lnTo>
                  <a:lnTo>
                    <a:pt x="419000" y="194035"/>
                  </a:lnTo>
                  <a:lnTo>
                    <a:pt x="419000" y="182967"/>
                  </a:lnTo>
                  <a:lnTo>
                    <a:pt x="422689" y="182967"/>
                  </a:lnTo>
                  <a:lnTo>
                    <a:pt x="419000" y="179271"/>
                  </a:lnTo>
                  <a:lnTo>
                    <a:pt x="404244" y="171889"/>
                  </a:lnTo>
                  <a:lnTo>
                    <a:pt x="404244" y="168203"/>
                  </a:lnTo>
                  <a:lnTo>
                    <a:pt x="407933" y="168203"/>
                  </a:lnTo>
                  <a:lnTo>
                    <a:pt x="411622" y="168203"/>
                  </a:lnTo>
                  <a:lnTo>
                    <a:pt x="411622" y="164508"/>
                  </a:lnTo>
                  <a:lnTo>
                    <a:pt x="415311" y="160821"/>
                  </a:lnTo>
                  <a:lnTo>
                    <a:pt x="411622" y="160821"/>
                  </a:lnTo>
                  <a:lnTo>
                    <a:pt x="415311" y="157126"/>
                  </a:lnTo>
                  <a:lnTo>
                    <a:pt x="419000" y="153440"/>
                  </a:lnTo>
                  <a:lnTo>
                    <a:pt x="426379" y="153440"/>
                  </a:lnTo>
                  <a:lnTo>
                    <a:pt x="426379" y="157126"/>
                  </a:lnTo>
                  <a:lnTo>
                    <a:pt x="430068" y="157126"/>
                  </a:lnTo>
                  <a:lnTo>
                    <a:pt x="437446" y="157126"/>
                  </a:lnTo>
                  <a:lnTo>
                    <a:pt x="441136" y="157126"/>
                  </a:lnTo>
                  <a:lnTo>
                    <a:pt x="444825" y="157126"/>
                  </a:lnTo>
                  <a:lnTo>
                    <a:pt x="444825" y="142362"/>
                  </a:lnTo>
                  <a:lnTo>
                    <a:pt x="455893" y="138676"/>
                  </a:lnTo>
                  <a:lnTo>
                    <a:pt x="441136" y="127608"/>
                  </a:lnTo>
                  <a:lnTo>
                    <a:pt x="437446" y="123912"/>
                  </a:lnTo>
                  <a:lnTo>
                    <a:pt x="430068" y="123912"/>
                  </a:lnTo>
                  <a:lnTo>
                    <a:pt x="426379" y="120226"/>
                  </a:lnTo>
                  <a:lnTo>
                    <a:pt x="422689" y="116530"/>
                  </a:lnTo>
                  <a:lnTo>
                    <a:pt x="422689" y="112844"/>
                  </a:lnTo>
                  <a:lnTo>
                    <a:pt x="419000" y="112844"/>
                  </a:lnTo>
                  <a:lnTo>
                    <a:pt x="415311" y="109148"/>
                  </a:lnTo>
                  <a:lnTo>
                    <a:pt x="415311" y="105462"/>
                  </a:lnTo>
                  <a:lnTo>
                    <a:pt x="411622" y="105462"/>
                  </a:lnTo>
                  <a:lnTo>
                    <a:pt x="411622" y="101766"/>
                  </a:lnTo>
                  <a:lnTo>
                    <a:pt x="411622" y="94385"/>
                  </a:lnTo>
                  <a:lnTo>
                    <a:pt x="407933" y="90698"/>
                  </a:lnTo>
                  <a:lnTo>
                    <a:pt x="407933" y="87012"/>
                  </a:lnTo>
                  <a:lnTo>
                    <a:pt x="404244" y="87012"/>
                  </a:lnTo>
                  <a:lnTo>
                    <a:pt x="400554" y="87012"/>
                  </a:lnTo>
                  <a:lnTo>
                    <a:pt x="396865" y="87012"/>
                  </a:lnTo>
                  <a:lnTo>
                    <a:pt x="396865" y="90698"/>
                  </a:lnTo>
                  <a:lnTo>
                    <a:pt x="393176" y="94385"/>
                  </a:lnTo>
                  <a:lnTo>
                    <a:pt x="385798" y="94385"/>
                  </a:lnTo>
                  <a:lnTo>
                    <a:pt x="382109" y="94385"/>
                  </a:lnTo>
                  <a:lnTo>
                    <a:pt x="378420" y="101766"/>
                  </a:lnTo>
                  <a:lnTo>
                    <a:pt x="374730" y="98080"/>
                  </a:lnTo>
                  <a:lnTo>
                    <a:pt x="371041" y="94385"/>
                  </a:lnTo>
                  <a:lnTo>
                    <a:pt x="374730" y="83316"/>
                  </a:lnTo>
                  <a:lnTo>
                    <a:pt x="363663" y="79630"/>
                  </a:lnTo>
                  <a:lnTo>
                    <a:pt x="359974" y="83316"/>
                  </a:lnTo>
                  <a:lnTo>
                    <a:pt x="356285" y="87012"/>
                  </a:lnTo>
                  <a:lnTo>
                    <a:pt x="352595" y="87012"/>
                  </a:lnTo>
                  <a:lnTo>
                    <a:pt x="348906" y="87012"/>
                  </a:lnTo>
                  <a:lnTo>
                    <a:pt x="345217" y="83316"/>
                  </a:lnTo>
                  <a:lnTo>
                    <a:pt x="345217" y="87012"/>
                  </a:lnTo>
                  <a:lnTo>
                    <a:pt x="341528" y="87012"/>
                  </a:lnTo>
                  <a:lnTo>
                    <a:pt x="334150" y="90698"/>
                  </a:lnTo>
                  <a:lnTo>
                    <a:pt x="330460" y="94385"/>
                  </a:lnTo>
                  <a:lnTo>
                    <a:pt x="326771" y="94385"/>
                  </a:lnTo>
                  <a:lnTo>
                    <a:pt x="323082" y="94385"/>
                  </a:lnTo>
                  <a:lnTo>
                    <a:pt x="312015" y="94385"/>
                  </a:lnTo>
                  <a:lnTo>
                    <a:pt x="304636" y="90698"/>
                  </a:lnTo>
                  <a:lnTo>
                    <a:pt x="300947" y="94385"/>
                  </a:lnTo>
                  <a:lnTo>
                    <a:pt x="297258" y="94385"/>
                  </a:lnTo>
                  <a:lnTo>
                    <a:pt x="293568" y="90698"/>
                  </a:lnTo>
                  <a:lnTo>
                    <a:pt x="289879" y="90698"/>
                  </a:lnTo>
                  <a:lnTo>
                    <a:pt x="289879" y="87012"/>
                  </a:lnTo>
                  <a:lnTo>
                    <a:pt x="289879" y="83316"/>
                  </a:lnTo>
                  <a:lnTo>
                    <a:pt x="289879" y="79630"/>
                  </a:lnTo>
                  <a:lnTo>
                    <a:pt x="293568" y="79630"/>
                  </a:lnTo>
                  <a:lnTo>
                    <a:pt x="293568" y="75935"/>
                  </a:lnTo>
                  <a:lnTo>
                    <a:pt x="297258" y="72248"/>
                  </a:lnTo>
                  <a:lnTo>
                    <a:pt x="297258" y="64867"/>
                  </a:lnTo>
                  <a:lnTo>
                    <a:pt x="297258" y="61171"/>
                  </a:lnTo>
                  <a:lnTo>
                    <a:pt x="297258" y="57485"/>
                  </a:lnTo>
                  <a:lnTo>
                    <a:pt x="297258" y="53789"/>
                  </a:lnTo>
                  <a:lnTo>
                    <a:pt x="300947" y="50103"/>
                  </a:lnTo>
                  <a:lnTo>
                    <a:pt x="304636" y="46407"/>
                  </a:lnTo>
                  <a:lnTo>
                    <a:pt x="308326" y="42721"/>
                  </a:lnTo>
                  <a:lnTo>
                    <a:pt x="308326" y="39035"/>
                  </a:lnTo>
                  <a:lnTo>
                    <a:pt x="308326" y="35339"/>
                  </a:lnTo>
                  <a:lnTo>
                    <a:pt x="312015" y="35339"/>
                  </a:lnTo>
                  <a:lnTo>
                    <a:pt x="312015" y="27957"/>
                  </a:lnTo>
                  <a:lnTo>
                    <a:pt x="315704" y="24271"/>
                  </a:lnTo>
                  <a:lnTo>
                    <a:pt x="319393" y="16889"/>
                  </a:lnTo>
                  <a:lnTo>
                    <a:pt x="312015" y="13193"/>
                  </a:lnTo>
                  <a:lnTo>
                    <a:pt x="308326" y="13193"/>
                  </a:lnTo>
                  <a:lnTo>
                    <a:pt x="304636" y="13193"/>
                  </a:lnTo>
                  <a:lnTo>
                    <a:pt x="300947" y="16889"/>
                  </a:lnTo>
                  <a:lnTo>
                    <a:pt x="297258" y="13193"/>
                  </a:lnTo>
                  <a:lnTo>
                    <a:pt x="297258" y="20575"/>
                  </a:lnTo>
                  <a:lnTo>
                    <a:pt x="286190" y="16889"/>
                  </a:lnTo>
                  <a:lnTo>
                    <a:pt x="260365" y="5812"/>
                  </a:lnTo>
                  <a:close/>
                  <a:moveTo>
                    <a:pt x="42704" y="389631"/>
                  </a:moveTo>
                  <a:lnTo>
                    <a:pt x="39015" y="393327"/>
                  </a:lnTo>
                  <a:lnTo>
                    <a:pt x="42704" y="393327"/>
                  </a:lnTo>
                  <a:lnTo>
                    <a:pt x="42704" y="389631"/>
                  </a:lnTo>
                  <a:close/>
                </a:path>
              </a:pathLst>
            </a:custGeom>
            <a:solidFill>
              <a:srgbClr val="22777B"/>
            </a:solidFill>
            <a:ln w="12821" cap="flat">
              <a:solidFill>
                <a:schemeClr val="bg1"/>
              </a:solidFill>
              <a:prstDash val="solid"/>
              <a:round/>
            </a:ln>
          </p:spPr>
          <p:txBody>
            <a:bodyPr rot="0" spcFirstLastPara="0" vertOverflow="overflow" horzOverflow="overflow" vert="horz" wrap="square" lIns="0" tIns="45720" rIns="144000" bIns="45720" numCol="1" spcCol="0" rtlCol="0" fromWordArt="0" anchor="ctr" anchorCtr="0" forceAA="0" compatLnSpc="1">
              <a:prstTxWarp prst="textNoShape">
                <a:avLst/>
              </a:prstTxWarp>
              <a:noAutofit/>
            </a:bodyPr>
            <a:lstStyle/>
            <a:p>
              <a:pPr marL="0" indent="0" algn="ctr">
                <a:buNone/>
              </a:pPr>
              <a:r>
                <a:rPr lang="nl-NL" sz="800" b="1" dirty="0">
                  <a:solidFill>
                    <a:srgbClr val="FFFFFF"/>
                  </a:solidFill>
                  <a:latin typeface="+mj-lt"/>
                  <a:cs typeface="Arial" panose="020B0604020202020204" pitchFamily="34" charset="0"/>
                </a:rPr>
                <a:t>318</a:t>
              </a:r>
            </a:p>
          </p:txBody>
        </p:sp>
        <p:sp>
          <p:nvSpPr>
            <p:cNvPr id="321" name="Freeform: Shape 320">
              <a:extLst>
                <a:ext uri="{FF2B5EF4-FFF2-40B4-BE49-F238E27FC236}">
                  <a16:creationId xmlns:a16="http://schemas.microsoft.com/office/drawing/2014/main" id="{10F78199-9D3A-418B-849B-A9324333AE35}"/>
                </a:ext>
              </a:extLst>
            </p:cNvPr>
            <p:cNvSpPr/>
            <p:nvPr/>
          </p:nvSpPr>
          <p:spPr>
            <a:xfrm>
              <a:off x="8178043" y="4730328"/>
              <a:ext cx="30745" cy="15373"/>
            </a:xfrm>
            <a:custGeom>
              <a:avLst/>
              <a:gdLst>
                <a:gd name="connsiteX0" fmla="*/ 16880 w 19050"/>
                <a:gd name="connsiteY0" fmla="*/ 5812 h 9525"/>
                <a:gd name="connsiteX1" fmla="*/ 13191 w 19050"/>
                <a:gd name="connsiteY1" fmla="*/ 9498 h 9525"/>
                <a:gd name="connsiteX2" fmla="*/ 9501 w 19050"/>
                <a:gd name="connsiteY2" fmla="*/ 9498 h 9525"/>
                <a:gd name="connsiteX3" fmla="*/ 5812 w 19050"/>
                <a:gd name="connsiteY3" fmla="*/ 9498 h 9525"/>
                <a:gd name="connsiteX4" fmla="*/ 5812 w 19050"/>
                <a:gd name="connsiteY4" fmla="*/ 5812 h 9525"/>
                <a:gd name="connsiteX5" fmla="*/ 9501 w 19050"/>
                <a:gd name="connsiteY5" fmla="*/ 5812 h 9525"/>
                <a:gd name="connsiteX6" fmla="*/ 13191 w 19050"/>
                <a:gd name="connsiteY6" fmla="*/ 5812 h 9525"/>
                <a:gd name="connsiteX7" fmla="*/ 20569 w 19050"/>
                <a:gd name="connsiteY7" fmla="*/ 5812 h 9525"/>
                <a:gd name="connsiteX8" fmla="*/ 16880 w 19050"/>
                <a:gd name="connsiteY8"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 h="9525">
                  <a:moveTo>
                    <a:pt x="16880" y="5812"/>
                  </a:moveTo>
                  <a:lnTo>
                    <a:pt x="13191" y="9498"/>
                  </a:lnTo>
                  <a:lnTo>
                    <a:pt x="9501" y="9498"/>
                  </a:lnTo>
                  <a:lnTo>
                    <a:pt x="5812" y="9498"/>
                  </a:lnTo>
                  <a:lnTo>
                    <a:pt x="5812" y="5812"/>
                  </a:lnTo>
                  <a:lnTo>
                    <a:pt x="9501" y="5812"/>
                  </a:lnTo>
                  <a:lnTo>
                    <a:pt x="13191" y="5812"/>
                  </a:lnTo>
                  <a:lnTo>
                    <a:pt x="20569" y="5812"/>
                  </a:lnTo>
                  <a:lnTo>
                    <a:pt x="16880" y="5812"/>
                  </a:lnTo>
                  <a:close/>
                </a:path>
              </a:pathLst>
            </a:custGeom>
            <a:solidFill>
              <a:schemeClr val="accent3">
                <a:lumMod val="20000"/>
                <a:lumOff val="80000"/>
              </a:schemeClr>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22" name="Freeform: Shape 321">
              <a:extLst>
                <a:ext uri="{FF2B5EF4-FFF2-40B4-BE49-F238E27FC236}">
                  <a16:creationId xmlns:a16="http://schemas.microsoft.com/office/drawing/2014/main" id="{F856BB2B-59F1-4080-B524-4182DD142AE4}"/>
                </a:ext>
              </a:extLst>
            </p:cNvPr>
            <p:cNvSpPr/>
            <p:nvPr/>
          </p:nvSpPr>
          <p:spPr>
            <a:xfrm>
              <a:off x="8154230" y="4670757"/>
              <a:ext cx="61491" cy="46118"/>
            </a:xfrm>
            <a:custGeom>
              <a:avLst/>
              <a:gdLst>
                <a:gd name="connsiteX0" fmla="*/ 31636 w 38100"/>
                <a:gd name="connsiteY0" fmla="*/ 16880 h 28575"/>
                <a:gd name="connsiteX1" fmla="*/ 35325 w 38100"/>
                <a:gd name="connsiteY1" fmla="*/ 20575 h 28575"/>
                <a:gd name="connsiteX2" fmla="*/ 35325 w 38100"/>
                <a:gd name="connsiteY2" fmla="*/ 20575 h 28575"/>
                <a:gd name="connsiteX3" fmla="*/ 31636 w 38100"/>
                <a:gd name="connsiteY3" fmla="*/ 16880 h 28575"/>
                <a:gd name="connsiteX4" fmla="*/ 24257 w 38100"/>
                <a:gd name="connsiteY4" fmla="*/ 16880 h 28575"/>
                <a:gd name="connsiteX5" fmla="*/ 16879 w 38100"/>
                <a:gd name="connsiteY5" fmla="*/ 20575 h 28575"/>
                <a:gd name="connsiteX6" fmla="*/ 9501 w 38100"/>
                <a:gd name="connsiteY6" fmla="*/ 24261 h 28575"/>
                <a:gd name="connsiteX7" fmla="*/ 5812 w 38100"/>
                <a:gd name="connsiteY7" fmla="*/ 24261 h 28575"/>
                <a:gd name="connsiteX8" fmla="*/ 5812 w 38100"/>
                <a:gd name="connsiteY8" fmla="*/ 20575 h 28575"/>
                <a:gd name="connsiteX9" fmla="*/ 5812 w 38100"/>
                <a:gd name="connsiteY9" fmla="*/ 20575 h 28575"/>
                <a:gd name="connsiteX10" fmla="*/ 13190 w 38100"/>
                <a:gd name="connsiteY10" fmla="*/ 16880 h 28575"/>
                <a:gd name="connsiteX11" fmla="*/ 13190 w 38100"/>
                <a:gd name="connsiteY11" fmla="*/ 13193 h 28575"/>
                <a:gd name="connsiteX12" fmla="*/ 16879 w 38100"/>
                <a:gd name="connsiteY12" fmla="*/ 9498 h 28575"/>
                <a:gd name="connsiteX13" fmla="*/ 20568 w 38100"/>
                <a:gd name="connsiteY13" fmla="*/ 5812 h 28575"/>
                <a:gd name="connsiteX14" fmla="*/ 20568 w 38100"/>
                <a:gd name="connsiteY14" fmla="*/ 9498 h 28575"/>
                <a:gd name="connsiteX15" fmla="*/ 24257 w 38100"/>
                <a:gd name="connsiteY15" fmla="*/ 9498 h 28575"/>
                <a:gd name="connsiteX16" fmla="*/ 31636 w 38100"/>
                <a:gd name="connsiteY16" fmla="*/ 16880 h 28575"/>
                <a:gd name="connsiteX17" fmla="*/ 31636 w 38100"/>
                <a:gd name="connsiteY17" fmla="*/ 1688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28575">
                  <a:moveTo>
                    <a:pt x="31636" y="16880"/>
                  </a:moveTo>
                  <a:lnTo>
                    <a:pt x="35325" y="20575"/>
                  </a:lnTo>
                  <a:lnTo>
                    <a:pt x="35325" y="20575"/>
                  </a:lnTo>
                  <a:lnTo>
                    <a:pt x="31636" y="16880"/>
                  </a:lnTo>
                  <a:lnTo>
                    <a:pt x="24257" y="16880"/>
                  </a:lnTo>
                  <a:lnTo>
                    <a:pt x="16879" y="20575"/>
                  </a:lnTo>
                  <a:lnTo>
                    <a:pt x="9501" y="24261"/>
                  </a:lnTo>
                  <a:lnTo>
                    <a:pt x="5812" y="24261"/>
                  </a:lnTo>
                  <a:lnTo>
                    <a:pt x="5812" y="20575"/>
                  </a:lnTo>
                  <a:lnTo>
                    <a:pt x="5812" y="20575"/>
                  </a:lnTo>
                  <a:lnTo>
                    <a:pt x="13190" y="16880"/>
                  </a:lnTo>
                  <a:lnTo>
                    <a:pt x="13190" y="13193"/>
                  </a:lnTo>
                  <a:lnTo>
                    <a:pt x="16879" y="9498"/>
                  </a:lnTo>
                  <a:lnTo>
                    <a:pt x="20568" y="5812"/>
                  </a:lnTo>
                  <a:lnTo>
                    <a:pt x="20568" y="9498"/>
                  </a:lnTo>
                  <a:lnTo>
                    <a:pt x="24257" y="9498"/>
                  </a:lnTo>
                  <a:lnTo>
                    <a:pt x="31636" y="16880"/>
                  </a:lnTo>
                  <a:lnTo>
                    <a:pt x="31636" y="16880"/>
                  </a:lnTo>
                  <a:close/>
                </a:path>
              </a:pathLst>
            </a:custGeom>
            <a:solidFill>
              <a:srgbClr val="BBE9EB"/>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23" name="Freeform: Shape 322">
              <a:extLst>
                <a:ext uri="{FF2B5EF4-FFF2-40B4-BE49-F238E27FC236}">
                  <a16:creationId xmlns:a16="http://schemas.microsoft.com/office/drawing/2014/main" id="{34D7272F-306F-4EC6-8DAE-97054EBAF790}"/>
                </a:ext>
              </a:extLst>
            </p:cNvPr>
            <p:cNvSpPr/>
            <p:nvPr/>
          </p:nvSpPr>
          <p:spPr>
            <a:xfrm>
              <a:off x="8100641" y="4599272"/>
              <a:ext cx="461182" cy="261336"/>
            </a:xfrm>
            <a:custGeom>
              <a:avLst/>
              <a:gdLst>
                <a:gd name="connsiteX0" fmla="*/ 90663 w 285750"/>
                <a:gd name="connsiteY0" fmla="*/ 5812 h 161925"/>
                <a:gd name="connsiteX1" fmla="*/ 83285 w 285750"/>
                <a:gd name="connsiteY1" fmla="*/ 9507 h 161925"/>
                <a:gd name="connsiteX2" fmla="*/ 90663 w 285750"/>
                <a:gd name="connsiteY2" fmla="*/ 9507 h 161925"/>
                <a:gd name="connsiteX3" fmla="*/ 90663 w 285750"/>
                <a:gd name="connsiteY3" fmla="*/ 5812 h 161925"/>
                <a:gd name="connsiteX4" fmla="*/ 90663 w 285750"/>
                <a:gd name="connsiteY4" fmla="*/ 9507 h 161925"/>
                <a:gd name="connsiteX5" fmla="*/ 79595 w 285750"/>
                <a:gd name="connsiteY5" fmla="*/ 13194 h 161925"/>
                <a:gd name="connsiteX6" fmla="*/ 75906 w 285750"/>
                <a:gd name="connsiteY6" fmla="*/ 13194 h 161925"/>
                <a:gd name="connsiteX7" fmla="*/ 72217 w 285750"/>
                <a:gd name="connsiteY7" fmla="*/ 13194 h 161925"/>
                <a:gd name="connsiteX8" fmla="*/ 79595 w 285750"/>
                <a:gd name="connsiteY8" fmla="*/ 9507 h 161925"/>
                <a:gd name="connsiteX9" fmla="*/ 68528 w 285750"/>
                <a:gd name="connsiteY9" fmla="*/ 13194 h 161925"/>
                <a:gd name="connsiteX10" fmla="*/ 46393 w 285750"/>
                <a:gd name="connsiteY10" fmla="*/ 20575 h 161925"/>
                <a:gd name="connsiteX11" fmla="*/ 39015 w 285750"/>
                <a:gd name="connsiteY11" fmla="*/ 24271 h 161925"/>
                <a:gd name="connsiteX12" fmla="*/ 35326 w 285750"/>
                <a:gd name="connsiteY12" fmla="*/ 24271 h 161925"/>
                <a:gd name="connsiteX13" fmla="*/ 24258 w 285750"/>
                <a:gd name="connsiteY13" fmla="*/ 27957 h 161925"/>
                <a:gd name="connsiteX14" fmla="*/ 20569 w 285750"/>
                <a:gd name="connsiteY14" fmla="*/ 27957 h 161925"/>
                <a:gd name="connsiteX15" fmla="*/ 16880 w 285750"/>
                <a:gd name="connsiteY15" fmla="*/ 35339 h 161925"/>
                <a:gd name="connsiteX16" fmla="*/ 16880 w 285750"/>
                <a:gd name="connsiteY16" fmla="*/ 39035 h 161925"/>
                <a:gd name="connsiteX17" fmla="*/ 16880 w 285750"/>
                <a:gd name="connsiteY17" fmla="*/ 42721 h 161925"/>
                <a:gd name="connsiteX18" fmla="*/ 20569 w 285750"/>
                <a:gd name="connsiteY18" fmla="*/ 53789 h 161925"/>
                <a:gd name="connsiteX19" fmla="*/ 20569 w 285750"/>
                <a:gd name="connsiteY19" fmla="*/ 57485 h 161925"/>
                <a:gd name="connsiteX20" fmla="*/ 24258 w 285750"/>
                <a:gd name="connsiteY20" fmla="*/ 57485 h 161925"/>
                <a:gd name="connsiteX21" fmla="*/ 24258 w 285750"/>
                <a:gd name="connsiteY21" fmla="*/ 61171 h 161925"/>
                <a:gd name="connsiteX22" fmla="*/ 27947 w 285750"/>
                <a:gd name="connsiteY22" fmla="*/ 61171 h 161925"/>
                <a:gd name="connsiteX23" fmla="*/ 35326 w 285750"/>
                <a:gd name="connsiteY23" fmla="*/ 57485 h 161925"/>
                <a:gd name="connsiteX24" fmla="*/ 35326 w 285750"/>
                <a:gd name="connsiteY24" fmla="*/ 53789 h 161925"/>
                <a:gd name="connsiteX25" fmla="*/ 31636 w 285750"/>
                <a:gd name="connsiteY25" fmla="*/ 53789 h 161925"/>
                <a:gd name="connsiteX26" fmla="*/ 31636 w 285750"/>
                <a:gd name="connsiteY26" fmla="*/ 50103 h 161925"/>
                <a:gd name="connsiteX27" fmla="*/ 35326 w 285750"/>
                <a:gd name="connsiteY27" fmla="*/ 50103 h 161925"/>
                <a:gd name="connsiteX28" fmla="*/ 39015 w 285750"/>
                <a:gd name="connsiteY28" fmla="*/ 50103 h 161925"/>
                <a:gd name="connsiteX29" fmla="*/ 42704 w 285750"/>
                <a:gd name="connsiteY29" fmla="*/ 50103 h 161925"/>
                <a:gd name="connsiteX30" fmla="*/ 46393 w 285750"/>
                <a:gd name="connsiteY30" fmla="*/ 46417 h 161925"/>
                <a:gd name="connsiteX31" fmla="*/ 50082 w 285750"/>
                <a:gd name="connsiteY31" fmla="*/ 46417 h 161925"/>
                <a:gd name="connsiteX32" fmla="*/ 53771 w 285750"/>
                <a:gd name="connsiteY32" fmla="*/ 46417 h 161925"/>
                <a:gd name="connsiteX33" fmla="*/ 57460 w 285750"/>
                <a:gd name="connsiteY33" fmla="*/ 46417 h 161925"/>
                <a:gd name="connsiteX34" fmla="*/ 61150 w 285750"/>
                <a:gd name="connsiteY34" fmla="*/ 42721 h 161925"/>
                <a:gd name="connsiteX35" fmla="*/ 64839 w 285750"/>
                <a:gd name="connsiteY35" fmla="*/ 39035 h 161925"/>
                <a:gd name="connsiteX36" fmla="*/ 72217 w 285750"/>
                <a:gd name="connsiteY36" fmla="*/ 42721 h 161925"/>
                <a:gd name="connsiteX37" fmla="*/ 79595 w 285750"/>
                <a:gd name="connsiteY37" fmla="*/ 42721 h 161925"/>
                <a:gd name="connsiteX38" fmla="*/ 86974 w 285750"/>
                <a:gd name="connsiteY38" fmla="*/ 46417 h 161925"/>
                <a:gd name="connsiteX39" fmla="*/ 86974 w 285750"/>
                <a:gd name="connsiteY39" fmla="*/ 50103 h 161925"/>
                <a:gd name="connsiteX40" fmla="*/ 90663 w 285750"/>
                <a:gd name="connsiteY40" fmla="*/ 53789 h 161925"/>
                <a:gd name="connsiteX41" fmla="*/ 94352 w 285750"/>
                <a:gd name="connsiteY41" fmla="*/ 61171 h 161925"/>
                <a:gd name="connsiteX42" fmla="*/ 98041 w 285750"/>
                <a:gd name="connsiteY42" fmla="*/ 61171 h 161925"/>
                <a:gd name="connsiteX43" fmla="*/ 98041 w 285750"/>
                <a:gd name="connsiteY43" fmla="*/ 68553 h 161925"/>
                <a:gd name="connsiteX44" fmla="*/ 98041 w 285750"/>
                <a:gd name="connsiteY44" fmla="*/ 72248 h 161925"/>
                <a:gd name="connsiteX45" fmla="*/ 94352 w 285750"/>
                <a:gd name="connsiteY45" fmla="*/ 72248 h 161925"/>
                <a:gd name="connsiteX46" fmla="*/ 94352 w 285750"/>
                <a:gd name="connsiteY46" fmla="*/ 75935 h 161925"/>
                <a:gd name="connsiteX47" fmla="*/ 98041 w 285750"/>
                <a:gd name="connsiteY47" fmla="*/ 75935 h 161925"/>
                <a:gd name="connsiteX48" fmla="*/ 94352 w 285750"/>
                <a:gd name="connsiteY48" fmla="*/ 79630 h 161925"/>
                <a:gd name="connsiteX49" fmla="*/ 94352 w 285750"/>
                <a:gd name="connsiteY49" fmla="*/ 83317 h 161925"/>
                <a:gd name="connsiteX50" fmla="*/ 98041 w 285750"/>
                <a:gd name="connsiteY50" fmla="*/ 90698 h 161925"/>
                <a:gd name="connsiteX51" fmla="*/ 101730 w 285750"/>
                <a:gd name="connsiteY51" fmla="*/ 90698 h 161925"/>
                <a:gd name="connsiteX52" fmla="*/ 101730 w 285750"/>
                <a:gd name="connsiteY52" fmla="*/ 94394 h 161925"/>
                <a:gd name="connsiteX53" fmla="*/ 105420 w 285750"/>
                <a:gd name="connsiteY53" fmla="*/ 98080 h 161925"/>
                <a:gd name="connsiteX54" fmla="*/ 105420 w 285750"/>
                <a:gd name="connsiteY54" fmla="*/ 101766 h 161925"/>
                <a:gd name="connsiteX55" fmla="*/ 109109 w 285750"/>
                <a:gd name="connsiteY55" fmla="*/ 109148 h 161925"/>
                <a:gd name="connsiteX56" fmla="*/ 109109 w 285750"/>
                <a:gd name="connsiteY56" fmla="*/ 116530 h 161925"/>
                <a:gd name="connsiteX57" fmla="*/ 112798 w 285750"/>
                <a:gd name="connsiteY57" fmla="*/ 116530 h 161925"/>
                <a:gd name="connsiteX58" fmla="*/ 116487 w 285750"/>
                <a:gd name="connsiteY58" fmla="*/ 116530 h 161925"/>
                <a:gd name="connsiteX59" fmla="*/ 120176 w 285750"/>
                <a:gd name="connsiteY59" fmla="*/ 120226 h 161925"/>
                <a:gd name="connsiteX60" fmla="*/ 123865 w 285750"/>
                <a:gd name="connsiteY60" fmla="*/ 116530 h 161925"/>
                <a:gd name="connsiteX61" fmla="*/ 123865 w 285750"/>
                <a:gd name="connsiteY61" fmla="*/ 120226 h 161925"/>
                <a:gd name="connsiteX62" fmla="*/ 131244 w 285750"/>
                <a:gd name="connsiteY62" fmla="*/ 120226 h 161925"/>
                <a:gd name="connsiteX63" fmla="*/ 138622 w 285750"/>
                <a:gd name="connsiteY63" fmla="*/ 120226 h 161925"/>
                <a:gd name="connsiteX64" fmla="*/ 142311 w 285750"/>
                <a:gd name="connsiteY64" fmla="*/ 120226 h 161925"/>
                <a:gd name="connsiteX65" fmla="*/ 146001 w 285750"/>
                <a:gd name="connsiteY65" fmla="*/ 120226 h 161925"/>
                <a:gd name="connsiteX66" fmla="*/ 149690 w 285750"/>
                <a:gd name="connsiteY66" fmla="*/ 123912 h 161925"/>
                <a:gd name="connsiteX67" fmla="*/ 160758 w 285750"/>
                <a:gd name="connsiteY67" fmla="*/ 127608 h 161925"/>
                <a:gd name="connsiteX68" fmla="*/ 164447 w 285750"/>
                <a:gd name="connsiteY68" fmla="*/ 134990 h 161925"/>
                <a:gd name="connsiteX69" fmla="*/ 168136 w 285750"/>
                <a:gd name="connsiteY69" fmla="*/ 138676 h 161925"/>
                <a:gd name="connsiteX70" fmla="*/ 175515 w 285750"/>
                <a:gd name="connsiteY70" fmla="*/ 138676 h 161925"/>
                <a:gd name="connsiteX71" fmla="*/ 179204 w 285750"/>
                <a:gd name="connsiteY71" fmla="*/ 138676 h 161925"/>
                <a:gd name="connsiteX72" fmla="*/ 179204 w 285750"/>
                <a:gd name="connsiteY72" fmla="*/ 142372 h 161925"/>
                <a:gd name="connsiteX73" fmla="*/ 186582 w 285750"/>
                <a:gd name="connsiteY73" fmla="*/ 142372 h 161925"/>
                <a:gd name="connsiteX74" fmla="*/ 190271 w 285750"/>
                <a:gd name="connsiteY74" fmla="*/ 146058 h 161925"/>
                <a:gd name="connsiteX75" fmla="*/ 193960 w 285750"/>
                <a:gd name="connsiteY75" fmla="*/ 146058 h 161925"/>
                <a:gd name="connsiteX76" fmla="*/ 193960 w 285750"/>
                <a:gd name="connsiteY76" fmla="*/ 149744 h 161925"/>
                <a:gd name="connsiteX77" fmla="*/ 193960 w 285750"/>
                <a:gd name="connsiteY77" fmla="*/ 153440 h 161925"/>
                <a:gd name="connsiteX78" fmla="*/ 201339 w 285750"/>
                <a:gd name="connsiteY78" fmla="*/ 157126 h 161925"/>
                <a:gd name="connsiteX79" fmla="*/ 205028 w 285750"/>
                <a:gd name="connsiteY79" fmla="*/ 160821 h 161925"/>
                <a:gd name="connsiteX80" fmla="*/ 216095 w 285750"/>
                <a:gd name="connsiteY80" fmla="*/ 160821 h 161925"/>
                <a:gd name="connsiteX81" fmla="*/ 219785 w 285750"/>
                <a:gd name="connsiteY81" fmla="*/ 160821 h 161925"/>
                <a:gd name="connsiteX82" fmla="*/ 223474 w 285750"/>
                <a:gd name="connsiteY82" fmla="*/ 160821 h 161925"/>
                <a:gd name="connsiteX83" fmla="*/ 230852 w 285750"/>
                <a:gd name="connsiteY83" fmla="*/ 157126 h 161925"/>
                <a:gd name="connsiteX84" fmla="*/ 238230 w 285750"/>
                <a:gd name="connsiteY84" fmla="*/ 157126 h 161925"/>
                <a:gd name="connsiteX85" fmla="*/ 241919 w 285750"/>
                <a:gd name="connsiteY85" fmla="*/ 157126 h 161925"/>
                <a:gd name="connsiteX86" fmla="*/ 252987 w 285750"/>
                <a:gd name="connsiteY86" fmla="*/ 153440 h 161925"/>
                <a:gd name="connsiteX87" fmla="*/ 260365 w 285750"/>
                <a:gd name="connsiteY87" fmla="*/ 149744 h 161925"/>
                <a:gd name="connsiteX88" fmla="*/ 264054 w 285750"/>
                <a:gd name="connsiteY88" fmla="*/ 146058 h 161925"/>
                <a:gd name="connsiteX89" fmla="*/ 267744 w 285750"/>
                <a:gd name="connsiteY89" fmla="*/ 138676 h 161925"/>
                <a:gd name="connsiteX90" fmla="*/ 267744 w 285750"/>
                <a:gd name="connsiteY90" fmla="*/ 134990 h 161925"/>
                <a:gd name="connsiteX91" fmla="*/ 264054 w 285750"/>
                <a:gd name="connsiteY91" fmla="*/ 134990 h 161925"/>
                <a:gd name="connsiteX92" fmla="*/ 264054 w 285750"/>
                <a:gd name="connsiteY92" fmla="*/ 131294 h 161925"/>
                <a:gd name="connsiteX93" fmla="*/ 267744 w 285750"/>
                <a:gd name="connsiteY93" fmla="*/ 131294 h 161925"/>
                <a:gd name="connsiteX94" fmla="*/ 271433 w 285750"/>
                <a:gd name="connsiteY94" fmla="*/ 131294 h 161925"/>
                <a:gd name="connsiteX95" fmla="*/ 275122 w 285750"/>
                <a:gd name="connsiteY95" fmla="*/ 131294 h 161925"/>
                <a:gd name="connsiteX96" fmla="*/ 278811 w 285750"/>
                <a:gd name="connsiteY96" fmla="*/ 131294 h 161925"/>
                <a:gd name="connsiteX97" fmla="*/ 286189 w 285750"/>
                <a:gd name="connsiteY97" fmla="*/ 127608 h 161925"/>
                <a:gd name="connsiteX98" fmla="*/ 282500 w 285750"/>
                <a:gd name="connsiteY98" fmla="*/ 127608 h 161925"/>
                <a:gd name="connsiteX99" fmla="*/ 282500 w 285750"/>
                <a:gd name="connsiteY99" fmla="*/ 123912 h 161925"/>
                <a:gd name="connsiteX100" fmla="*/ 282500 w 285750"/>
                <a:gd name="connsiteY100" fmla="*/ 120226 h 161925"/>
                <a:gd name="connsiteX101" fmla="*/ 278811 w 285750"/>
                <a:gd name="connsiteY101" fmla="*/ 120226 h 161925"/>
                <a:gd name="connsiteX102" fmla="*/ 275122 w 285750"/>
                <a:gd name="connsiteY102" fmla="*/ 123912 h 161925"/>
                <a:gd name="connsiteX103" fmla="*/ 267744 w 285750"/>
                <a:gd name="connsiteY103" fmla="*/ 123912 h 161925"/>
                <a:gd name="connsiteX104" fmla="*/ 260365 w 285750"/>
                <a:gd name="connsiteY104" fmla="*/ 123912 h 161925"/>
                <a:gd name="connsiteX105" fmla="*/ 252987 w 285750"/>
                <a:gd name="connsiteY105" fmla="*/ 123912 h 161925"/>
                <a:gd name="connsiteX106" fmla="*/ 249298 w 285750"/>
                <a:gd name="connsiteY106" fmla="*/ 123912 h 161925"/>
                <a:gd name="connsiteX107" fmla="*/ 241919 w 285750"/>
                <a:gd name="connsiteY107" fmla="*/ 123912 h 161925"/>
                <a:gd name="connsiteX108" fmla="*/ 234541 w 285750"/>
                <a:gd name="connsiteY108" fmla="*/ 112844 h 161925"/>
                <a:gd name="connsiteX109" fmla="*/ 227163 w 285750"/>
                <a:gd name="connsiteY109" fmla="*/ 112844 h 161925"/>
                <a:gd name="connsiteX110" fmla="*/ 223474 w 285750"/>
                <a:gd name="connsiteY110" fmla="*/ 109148 h 161925"/>
                <a:gd name="connsiteX111" fmla="*/ 219785 w 285750"/>
                <a:gd name="connsiteY111" fmla="*/ 109148 h 161925"/>
                <a:gd name="connsiteX112" fmla="*/ 216095 w 285750"/>
                <a:gd name="connsiteY112" fmla="*/ 105462 h 161925"/>
                <a:gd name="connsiteX113" fmla="*/ 216095 w 285750"/>
                <a:gd name="connsiteY113" fmla="*/ 101766 h 161925"/>
                <a:gd name="connsiteX114" fmla="*/ 208717 w 285750"/>
                <a:gd name="connsiteY114" fmla="*/ 98080 h 161925"/>
                <a:gd name="connsiteX115" fmla="*/ 208717 w 285750"/>
                <a:gd name="connsiteY115" fmla="*/ 94394 h 161925"/>
                <a:gd name="connsiteX116" fmla="*/ 208717 w 285750"/>
                <a:gd name="connsiteY116" fmla="*/ 90698 h 161925"/>
                <a:gd name="connsiteX117" fmla="*/ 205028 w 285750"/>
                <a:gd name="connsiteY117" fmla="*/ 90698 h 161925"/>
                <a:gd name="connsiteX118" fmla="*/ 193960 w 285750"/>
                <a:gd name="connsiteY118" fmla="*/ 79630 h 161925"/>
                <a:gd name="connsiteX119" fmla="*/ 182893 w 285750"/>
                <a:gd name="connsiteY119" fmla="*/ 68553 h 161925"/>
                <a:gd name="connsiteX120" fmla="*/ 179204 w 285750"/>
                <a:gd name="connsiteY120" fmla="*/ 68553 h 161925"/>
                <a:gd name="connsiteX121" fmla="*/ 179204 w 285750"/>
                <a:gd name="connsiteY121" fmla="*/ 64867 h 161925"/>
                <a:gd name="connsiteX122" fmla="*/ 171825 w 285750"/>
                <a:gd name="connsiteY122" fmla="*/ 64867 h 161925"/>
                <a:gd name="connsiteX123" fmla="*/ 168136 w 285750"/>
                <a:gd name="connsiteY123" fmla="*/ 61171 h 161925"/>
                <a:gd name="connsiteX124" fmla="*/ 164447 w 285750"/>
                <a:gd name="connsiteY124" fmla="*/ 61171 h 161925"/>
                <a:gd name="connsiteX125" fmla="*/ 157069 w 285750"/>
                <a:gd name="connsiteY125" fmla="*/ 53789 h 161925"/>
                <a:gd name="connsiteX126" fmla="*/ 149690 w 285750"/>
                <a:gd name="connsiteY126" fmla="*/ 50103 h 161925"/>
                <a:gd name="connsiteX127" fmla="*/ 146001 w 285750"/>
                <a:gd name="connsiteY127" fmla="*/ 50103 h 161925"/>
                <a:gd name="connsiteX128" fmla="*/ 131244 w 285750"/>
                <a:gd name="connsiteY128" fmla="*/ 42721 h 161925"/>
                <a:gd name="connsiteX129" fmla="*/ 127555 w 285750"/>
                <a:gd name="connsiteY129" fmla="*/ 39035 h 161925"/>
                <a:gd name="connsiteX130" fmla="*/ 116487 w 285750"/>
                <a:gd name="connsiteY130" fmla="*/ 35339 h 161925"/>
                <a:gd name="connsiteX131" fmla="*/ 116487 w 285750"/>
                <a:gd name="connsiteY131" fmla="*/ 31653 h 161925"/>
                <a:gd name="connsiteX132" fmla="*/ 112798 w 285750"/>
                <a:gd name="connsiteY132" fmla="*/ 27957 h 161925"/>
                <a:gd name="connsiteX133" fmla="*/ 109109 w 285750"/>
                <a:gd name="connsiteY133" fmla="*/ 27957 h 161925"/>
                <a:gd name="connsiteX134" fmla="*/ 109109 w 285750"/>
                <a:gd name="connsiteY134" fmla="*/ 31653 h 161925"/>
                <a:gd name="connsiteX135" fmla="*/ 105420 w 285750"/>
                <a:gd name="connsiteY135" fmla="*/ 27957 h 161925"/>
                <a:gd name="connsiteX136" fmla="*/ 109109 w 285750"/>
                <a:gd name="connsiteY136" fmla="*/ 27957 h 161925"/>
                <a:gd name="connsiteX137" fmla="*/ 109109 w 285750"/>
                <a:gd name="connsiteY137" fmla="*/ 24271 h 161925"/>
                <a:gd name="connsiteX138" fmla="*/ 109109 w 285750"/>
                <a:gd name="connsiteY138" fmla="*/ 20575 h 161925"/>
                <a:gd name="connsiteX139" fmla="*/ 105420 w 285750"/>
                <a:gd name="connsiteY139" fmla="*/ 20575 h 161925"/>
                <a:gd name="connsiteX140" fmla="*/ 105420 w 285750"/>
                <a:gd name="connsiteY140" fmla="*/ 24271 h 161925"/>
                <a:gd name="connsiteX141" fmla="*/ 101730 w 285750"/>
                <a:gd name="connsiteY141" fmla="*/ 24271 h 161925"/>
                <a:gd name="connsiteX142" fmla="*/ 101730 w 285750"/>
                <a:gd name="connsiteY142" fmla="*/ 20575 h 161925"/>
                <a:gd name="connsiteX143" fmla="*/ 94352 w 285750"/>
                <a:gd name="connsiteY143" fmla="*/ 16889 h 161925"/>
                <a:gd name="connsiteX144" fmla="*/ 94352 w 285750"/>
                <a:gd name="connsiteY144" fmla="*/ 13194 h 161925"/>
                <a:gd name="connsiteX145" fmla="*/ 90663 w 285750"/>
                <a:gd name="connsiteY145" fmla="*/ 9507 h 161925"/>
                <a:gd name="connsiteX146" fmla="*/ 20569 w 285750"/>
                <a:gd name="connsiteY146" fmla="*/ 61171 h 161925"/>
                <a:gd name="connsiteX147" fmla="*/ 16880 w 285750"/>
                <a:gd name="connsiteY147" fmla="*/ 68553 h 161925"/>
                <a:gd name="connsiteX148" fmla="*/ 13191 w 285750"/>
                <a:gd name="connsiteY148" fmla="*/ 72248 h 161925"/>
                <a:gd name="connsiteX149" fmla="*/ 5812 w 285750"/>
                <a:gd name="connsiteY149" fmla="*/ 75935 h 161925"/>
                <a:gd name="connsiteX150" fmla="*/ 9501 w 285750"/>
                <a:gd name="connsiteY150" fmla="*/ 75935 h 161925"/>
                <a:gd name="connsiteX151" fmla="*/ 16880 w 285750"/>
                <a:gd name="connsiteY151" fmla="*/ 79630 h 161925"/>
                <a:gd name="connsiteX152" fmla="*/ 20569 w 285750"/>
                <a:gd name="connsiteY152" fmla="*/ 83317 h 161925"/>
                <a:gd name="connsiteX153" fmla="*/ 24258 w 285750"/>
                <a:gd name="connsiteY153" fmla="*/ 83317 h 161925"/>
                <a:gd name="connsiteX154" fmla="*/ 24258 w 285750"/>
                <a:gd name="connsiteY154" fmla="*/ 79630 h 161925"/>
                <a:gd name="connsiteX155" fmla="*/ 20569 w 285750"/>
                <a:gd name="connsiteY155" fmla="*/ 75935 h 161925"/>
                <a:gd name="connsiteX156" fmla="*/ 16880 w 285750"/>
                <a:gd name="connsiteY156" fmla="*/ 72248 h 161925"/>
                <a:gd name="connsiteX157" fmla="*/ 20569 w 285750"/>
                <a:gd name="connsiteY157" fmla="*/ 6117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285750" h="161925">
                  <a:moveTo>
                    <a:pt x="90663" y="5812"/>
                  </a:moveTo>
                  <a:lnTo>
                    <a:pt x="83285" y="9507"/>
                  </a:lnTo>
                  <a:lnTo>
                    <a:pt x="90663" y="9507"/>
                  </a:lnTo>
                  <a:lnTo>
                    <a:pt x="90663" y="5812"/>
                  </a:lnTo>
                  <a:close/>
                  <a:moveTo>
                    <a:pt x="90663" y="9507"/>
                  </a:moveTo>
                  <a:lnTo>
                    <a:pt x="79595" y="13194"/>
                  </a:lnTo>
                  <a:lnTo>
                    <a:pt x="75906" y="13194"/>
                  </a:lnTo>
                  <a:lnTo>
                    <a:pt x="72217" y="13194"/>
                  </a:lnTo>
                  <a:lnTo>
                    <a:pt x="79595" y="9507"/>
                  </a:lnTo>
                  <a:lnTo>
                    <a:pt x="68528" y="13194"/>
                  </a:lnTo>
                  <a:lnTo>
                    <a:pt x="46393" y="20575"/>
                  </a:lnTo>
                  <a:lnTo>
                    <a:pt x="39015" y="24271"/>
                  </a:lnTo>
                  <a:lnTo>
                    <a:pt x="35326" y="24271"/>
                  </a:lnTo>
                  <a:lnTo>
                    <a:pt x="24258" y="27957"/>
                  </a:lnTo>
                  <a:lnTo>
                    <a:pt x="20569" y="27957"/>
                  </a:lnTo>
                  <a:lnTo>
                    <a:pt x="16880" y="35339"/>
                  </a:lnTo>
                  <a:lnTo>
                    <a:pt x="16880" y="39035"/>
                  </a:lnTo>
                  <a:lnTo>
                    <a:pt x="16880" y="42721"/>
                  </a:lnTo>
                  <a:lnTo>
                    <a:pt x="20569" y="53789"/>
                  </a:lnTo>
                  <a:lnTo>
                    <a:pt x="20569" y="57485"/>
                  </a:lnTo>
                  <a:lnTo>
                    <a:pt x="24258" y="57485"/>
                  </a:lnTo>
                  <a:lnTo>
                    <a:pt x="24258" y="61171"/>
                  </a:lnTo>
                  <a:lnTo>
                    <a:pt x="27947" y="61171"/>
                  </a:lnTo>
                  <a:lnTo>
                    <a:pt x="35326" y="57485"/>
                  </a:lnTo>
                  <a:lnTo>
                    <a:pt x="35326" y="53789"/>
                  </a:lnTo>
                  <a:lnTo>
                    <a:pt x="31636" y="53789"/>
                  </a:lnTo>
                  <a:lnTo>
                    <a:pt x="31636" y="50103"/>
                  </a:lnTo>
                  <a:lnTo>
                    <a:pt x="35326" y="50103"/>
                  </a:lnTo>
                  <a:lnTo>
                    <a:pt x="39015" y="50103"/>
                  </a:lnTo>
                  <a:lnTo>
                    <a:pt x="42704" y="50103"/>
                  </a:lnTo>
                  <a:lnTo>
                    <a:pt x="46393" y="46417"/>
                  </a:lnTo>
                  <a:lnTo>
                    <a:pt x="50082" y="46417"/>
                  </a:lnTo>
                  <a:lnTo>
                    <a:pt x="53771" y="46417"/>
                  </a:lnTo>
                  <a:lnTo>
                    <a:pt x="57460" y="46417"/>
                  </a:lnTo>
                  <a:lnTo>
                    <a:pt x="61150" y="42721"/>
                  </a:lnTo>
                  <a:lnTo>
                    <a:pt x="64839" y="39035"/>
                  </a:lnTo>
                  <a:lnTo>
                    <a:pt x="72217" y="42721"/>
                  </a:lnTo>
                  <a:lnTo>
                    <a:pt x="79595" y="42721"/>
                  </a:lnTo>
                  <a:lnTo>
                    <a:pt x="86974" y="46417"/>
                  </a:lnTo>
                  <a:lnTo>
                    <a:pt x="86974" y="50103"/>
                  </a:lnTo>
                  <a:lnTo>
                    <a:pt x="90663" y="53789"/>
                  </a:lnTo>
                  <a:lnTo>
                    <a:pt x="94352" y="61171"/>
                  </a:lnTo>
                  <a:lnTo>
                    <a:pt x="98041" y="61171"/>
                  </a:lnTo>
                  <a:lnTo>
                    <a:pt x="98041" y="68553"/>
                  </a:lnTo>
                  <a:lnTo>
                    <a:pt x="98041" y="72248"/>
                  </a:lnTo>
                  <a:lnTo>
                    <a:pt x="94352" y="72248"/>
                  </a:lnTo>
                  <a:lnTo>
                    <a:pt x="94352" y="75935"/>
                  </a:lnTo>
                  <a:lnTo>
                    <a:pt x="98041" y="75935"/>
                  </a:lnTo>
                  <a:lnTo>
                    <a:pt x="94352" y="79630"/>
                  </a:lnTo>
                  <a:lnTo>
                    <a:pt x="94352" y="83317"/>
                  </a:lnTo>
                  <a:lnTo>
                    <a:pt x="98041" y="90698"/>
                  </a:lnTo>
                  <a:lnTo>
                    <a:pt x="101730" y="90698"/>
                  </a:lnTo>
                  <a:lnTo>
                    <a:pt x="101730" y="94394"/>
                  </a:lnTo>
                  <a:lnTo>
                    <a:pt x="105420" y="98080"/>
                  </a:lnTo>
                  <a:lnTo>
                    <a:pt x="105420" y="101766"/>
                  </a:lnTo>
                  <a:lnTo>
                    <a:pt x="109109" y="109148"/>
                  </a:lnTo>
                  <a:lnTo>
                    <a:pt x="109109" y="116530"/>
                  </a:lnTo>
                  <a:lnTo>
                    <a:pt x="112798" y="116530"/>
                  </a:lnTo>
                  <a:lnTo>
                    <a:pt x="116487" y="116530"/>
                  </a:lnTo>
                  <a:lnTo>
                    <a:pt x="120176" y="120226"/>
                  </a:lnTo>
                  <a:lnTo>
                    <a:pt x="123865" y="116530"/>
                  </a:lnTo>
                  <a:lnTo>
                    <a:pt x="123865" y="120226"/>
                  </a:lnTo>
                  <a:lnTo>
                    <a:pt x="131244" y="120226"/>
                  </a:lnTo>
                  <a:lnTo>
                    <a:pt x="138622" y="120226"/>
                  </a:lnTo>
                  <a:lnTo>
                    <a:pt x="142311" y="120226"/>
                  </a:lnTo>
                  <a:lnTo>
                    <a:pt x="146001" y="120226"/>
                  </a:lnTo>
                  <a:lnTo>
                    <a:pt x="149690" y="123912"/>
                  </a:lnTo>
                  <a:lnTo>
                    <a:pt x="160758" y="127608"/>
                  </a:lnTo>
                  <a:lnTo>
                    <a:pt x="164447" y="134990"/>
                  </a:lnTo>
                  <a:lnTo>
                    <a:pt x="168136" y="138676"/>
                  </a:lnTo>
                  <a:lnTo>
                    <a:pt x="175515" y="138676"/>
                  </a:lnTo>
                  <a:lnTo>
                    <a:pt x="179204" y="138676"/>
                  </a:lnTo>
                  <a:lnTo>
                    <a:pt x="179204" y="142372"/>
                  </a:lnTo>
                  <a:lnTo>
                    <a:pt x="186582" y="142372"/>
                  </a:lnTo>
                  <a:lnTo>
                    <a:pt x="190271" y="146058"/>
                  </a:lnTo>
                  <a:lnTo>
                    <a:pt x="193960" y="146058"/>
                  </a:lnTo>
                  <a:lnTo>
                    <a:pt x="193960" y="149744"/>
                  </a:lnTo>
                  <a:lnTo>
                    <a:pt x="193960" y="153440"/>
                  </a:lnTo>
                  <a:lnTo>
                    <a:pt x="201339" y="157126"/>
                  </a:lnTo>
                  <a:lnTo>
                    <a:pt x="205028" y="160821"/>
                  </a:lnTo>
                  <a:lnTo>
                    <a:pt x="216095" y="160821"/>
                  </a:lnTo>
                  <a:lnTo>
                    <a:pt x="219785" y="160821"/>
                  </a:lnTo>
                  <a:lnTo>
                    <a:pt x="223474" y="160821"/>
                  </a:lnTo>
                  <a:lnTo>
                    <a:pt x="230852" y="157126"/>
                  </a:lnTo>
                  <a:lnTo>
                    <a:pt x="238230" y="157126"/>
                  </a:lnTo>
                  <a:lnTo>
                    <a:pt x="241919" y="157126"/>
                  </a:lnTo>
                  <a:lnTo>
                    <a:pt x="252987" y="153440"/>
                  </a:lnTo>
                  <a:lnTo>
                    <a:pt x="260365" y="149744"/>
                  </a:lnTo>
                  <a:lnTo>
                    <a:pt x="264054" y="146058"/>
                  </a:lnTo>
                  <a:lnTo>
                    <a:pt x="267744" y="138676"/>
                  </a:lnTo>
                  <a:lnTo>
                    <a:pt x="267744" y="134990"/>
                  </a:lnTo>
                  <a:lnTo>
                    <a:pt x="264054" y="134990"/>
                  </a:lnTo>
                  <a:lnTo>
                    <a:pt x="264054" y="131294"/>
                  </a:lnTo>
                  <a:lnTo>
                    <a:pt x="267744" y="131294"/>
                  </a:lnTo>
                  <a:lnTo>
                    <a:pt x="271433" y="131294"/>
                  </a:lnTo>
                  <a:lnTo>
                    <a:pt x="275122" y="131294"/>
                  </a:lnTo>
                  <a:lnTo>
                    <a:pt x="278811" y="131294"/>
                  </a:lnTo>
                  <a:lnTo>
                    <a:pt x="286189" y="127608"/>
                  </a:lnTo>
                  <a:lnTo>
                    <a:pt x="282500" y="127608"/>
                  </a:lnTo>
                  <a:lnTo>
                    <a:pt x="282500" y="123912"/>
                  </a:lnTo>
                  <a:lnTo>
                    <a:pt x="282500" y="120226"/>
                  </a:lnTo>
                  <a:lnTo>
                    <a:pt x="278811" y="120226"/>
                  </a:lnTo>
                  <a:lnTo>
                    <a:pt x="275122" y="123912"/>
                  </a:lnTo>
                  <a:lnTo>
                    <a:pt x="267744" y="123912"/>
                  </a:lnTo>
                  <a:lnTo>
                    <a:pt x="260365" y="123912"/>
                  </a:lnTo>
                  <a:lnTo>
                    <a:pt x="252987" y="123912"/>
                  </a:lnTo>
                  <a:lnTo>
                    <a:pt x="249298" y="123912"/>
                  </a:lnTo>
                  <a:lnTo>
                    <a:pt x="241919" y="123912"/>
                  </a:lnTo>
                  <a:lnTo>
                    <a:pt x="234541" y="112844"/>
                  </a:lnTo>
                  <a:lnTo>
                    <a:pt x="227163" y="112844"/>
                  </a:lnTo>
                  <a:lnTo>
                    <a:pt x="223474" y="109148"/>
                  </a:lnTo>
                  <a:lnTo>
                    <a:pt x="219785" y="109148"/>
                  </a:lnTo>
                  <a:lnTo>
                    <a:pt x="216095" y="105462"/>
                  </a:lnTo>
                  <a:lnTo>
                    <a:pt x="216095" y="101766"/>
                  </a:lnTo>
                  <a:lnTo>
                    <a:pt x="208717" y="98080"/>
                  </a:lnTo>
                  <a:lnTo>
                    <a:pt x="208717" y="94394"/>
                  </a:lnTo>
                  <a:lnTo>
                    <a:pt x="208717" y="90698"/>
                  </a:lnTo>
                  <a:lnTo>
                    <a:pt x="205028" y="90698"/>
                  </a:lnTo>
                  <a:lnTo>
                    <a:pt x="193960" y="79630"/>
                  </a:lnTo>
                  <a:lnTo>
                    <a:pt x="182893" y="68553"/>
                  </a:lnTo>
                  <a:lnTo>
                    <a:pt x="179204" y="68553"/>
                  </a:lnTo>
                  <a:lnTo>
                    <a:pt x="179204" y="64867"/>
                  </a:lnTo>
                  <a:lnTo>
                    <a:pt x="171825" y="64867"/>
                  </a:lnTo>
                  <a:lnTo>
                    <a:pt x="168136" y="61171"/>
                  </a:lnTo>
                  <a:lnTo>
                    <a:pt x="164447" y="61171"/>
                  </a:lnTo>
                  <a:lnTo>
                    <a:pt x="157069" y="53789"/>
                  </a:lnTo>
                  <a:lnTo>
                    <a:pt x="149690" y="50103"/>
                  </a:lnTo>
                  <a:lnTo>
                    <a:pt x="146001" y="50103"/>
                  </a:lnTo>
                  <a:lnTo>
                    <a:pt x="131244" y="42721"/>
                  </a:lnTo>
                  <a:lnTo>
                    <a:pt x="127555" y="39035"/>
                  </a:lnTo>
                  <a:lnTo>
                    <a:pt x="116487" y="35339"/>
                  </a:lnTo>
                  <a:lnTo>
                    <a:pt x="116487" y="31653"/>
                  </a:lnTo>
                  <a:lnTo>
                    <a:pt x="112798" y="27957"/>
                  </a:lnTo>
                  <a:lnTo>
                    <a:pt x="109109" y="27957"/>
                  </a:lnTo>
                  <a:lnTo>
                    <a:pt x="109109" y="31653"/>
                  </a:lnTo>
                  <a:lnTo>
                    <a:pt x="105420" y="27957"/>
                  </a:lnTo>
                  <a:lnTo>
                    <a:pt x="109109" y="27957"/>
                  </a:lnTo>
                  <a:lnTo>
                    <a:pt x="109109" y="24271"/>
                  </a:lnTo>
                  <a:lnTo>
                    <a:pt x="109109" y="20575"/>
                  </a:lnTo>
                  <a:lnTo>
                    <a:pt x="105420" y="20575"/>
                  </a:lnTo>
                  <a:lnTo>
                    <a:pt x="105420" y="24271"/>
                  </a:lnTo>
                  <a:lnTo>
                    <a:pt x="101730" y="24271"/>
                  </a:lnTo>
                  <a:lnTo>
                    <a:pt x="101730" y="20575"/>
                  </a:lnTo>
                  <a:lnTo>
                    <a:pt x="94352" y="16889"/>
                  </a:lnTo>
                  <a:lnTo>
                    <a:pt x="94352" y="13194"/>
                  </a:lnTo>
                  <a:lnTo>
                    <a:pt x="90663" y="9507"/>
                  </a:lnTo>
                  <a:close/>
                  <a:moveTo>
                    <a:pt x="20569" y="61171"/>
                  </a:moveTo>
                  <a:lnTo>
                    <a:pt x="16880" y="68553"/>
                  </a:lnTo>
                  <a:lnTo>
                    <a:pt x="13191" y="72248"/>
                  </a:lnTo>
                  <a:lnTo>
                    <a:pt x="5812" y="75935"/>
                  </a:lnTo>
                  <a:lnTo>
                    <a:pt x="9501" y="75935"/>
                  </a:lnTo>
                  <a:lnTo>
                    <a:pt x="16880" y="79630"/>
                  </a:lnTo>
                  <a:lnTo>
                    <a:pt x="20569" y="83317"/>
                  </a:lnTo>
                  <a:lnTo>
                    <a:pt x="24258" y="83317"/>
                  </a:lnTo>
                  <a:lnTo>
                    <a:pt x="24258" y="79630"/>
                  </a:lnTo>
                  <a:lnTo>
                    <a:pt x="20569" y="75935"/>
                  </a:lnTo>
                  <a:lnTo>
                    <a:pt x="16880" y="72248"/>
                  </a:lnTo>
                  <a:lnTo>
                    <a:pt x="20569" y="61171"/>
                  </a:lnTo>
                  <a:close/>
                </a:path>
              </a:pathLst>
            </a:custGeom>
            <a:solidFill>
              <a:srgbClr val="22777B"/>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24" name="Freeform: Shape 323">
              <a:extLst>
                <a:ext uri="{FF2B5EF4-FFF2-40B4-BE49-F238E27FC236}">
                  <a16:creationId xmlns:a16="http://schemas.microsoft.com/office/drawing/2014/main" id="{1C2E9F26-4173-4F6B-8FC8-2163488A9B2F}"/>
                </a:ext>
              </a:extLst>
            </p:cNvPr>
            <p:cNvSpPr/>
            <p:nvPr/>
          </p:nvSpPr>
          <p:spPr>
            <a:xfrm>
              <a:off x="8434070" y="4724359"/>
              <a:ext cx="92236" cy="46118"/>
            </a:xfrm>
            <a:custGeom>
              <a:avLst/>
              <a:gdLst>
                <a:gd name="connsiteX0" fmla="*/ 27947 w 57150"/>
                <a:gd name="connsiteY0" fmla="*/ 9507 h 28575"/>
                <a:gd name="connsiteX1" fmla="*/ 35325 w 57150"/>
                <a:gd name="connsiteY1" fmla="*/ 13193 h 28575"/>
                <a:gd name="connsiteX2" fmla="*/ 46393 w 57150"/>
                <a:gd name="connsiteY2" fmla="*/ 16889 h 28575"/>
                <a:gd name="connsiteX3" fmla="*/ 53771 w 57150"/>
                <a:gd name="connsiteY3" fmla="*/ 20575 h 28575"/>
                <a:gd name="connsiteX4" fmla="*/ 53771 w 57150"/>
                <a:gd name="connsiteY4" fmla="*/ 20575 h 28575"/>
                <a:gd name="connsiteX5" fmla="*/ 57460 w 57150"/>
                <a:gd name="connsiteY5" fmla="*/ 24261 h 28575"/>
                <a:gd name="connsiteX6" fmla="*/ 53771 w 57150"/>
                <a:gd name="connsiteY6" fmla="*/ 24261 h 28575"/>
                <a:gd name="connsiteX7" fmla="*/ 53771 w 57150"/>
                <a:gd name="connsiteY7" fmla="*/ 24261 h 28575"/>
                <a:gd name="connsiteX8" fmla="*/ 46393 w 57150"/>
                <a:gd name="connsiteY8" fmla="*/ 27957 h 28575"/>
                <a:gd name="connsiteX9" fmla="*/ 35325 w 57150"/>
                <a:gd name="connsiteY9" fmla="*/ 27957 h 28575"/>
                <a:gd name="connsiteX10" fmla="*/ 31636 w 57150"/>
                <a:gd name="connsiteY10" fmla="*/ 27957 h 28575"/>
                <a:gd name="connsiteX11" fmla="*/ 27947 w 57150"/>
                <a:gd name="connsiteY11" fmla="*/ 24261 h 28575"/>
                <a:gd name="connsiteX12" fmla="*/ 24258 w 57150"/>
                <a:gd name="connsiteY12" fmla="*/ 20575 h 28575"/>
                <a:gd name="connsiteX13" fmla="*/ 24258 w 57150"/>
                <a:gd name="connsiteY13" fmla="*/ 20575 h 28575"/>
                <a:gd name="connsiteX14" fmla="*/ 20569 w 57150"/>
                <a:gd name="connsiteY14" fmla="*/ 20575 h 28575"/>
                <a:gd name="connsiteX15" fmla="*/ 13191 w 57150"/>
                <a:gd name="connsiteY15" fmla="*/ 13193 h 28575"/>
                <a:gd name="connsiteX16" fmla="*/ 9501 w 57150"/>
                <a:gd name="connsiteY16" fmla="*/ 13193 h 28575"/>
                <a:gd name="connsiteX17" fmla="*/ 5812 w 57150"/>
                <a:gd name="connsiteY17" fmla="*/ 9507 h 28575"/>
                <a:gd name="connsiteX18" fmla="*/ 5812 w 57150"/>
                <a:gd name="connsiteY18" fmla="*/ 9507 h 28575"/>
                <a:gd name="connsiteX19" fmla="*/ 5812 w 57150"/>
                <a:gd name="connsiteY19" fmla="*/ 9507 h 28575"/>
                <a:gd name="connsiteX20" fmla="*/ 9501 w 57150"/>
                <a:gd name="connsiteY20" fmla="*/ 5812 h 28575"/>
                <a:gd name="connsiteX21" fmla="*/ 9501 w 57150"/>
                <a:gd name="connsiteY21" fmla="*/ 5812 h 28575"/>
                <a:gd name="connsiteX22" fmla="*/ 16880 w 57150"/>
                <a:gd name="connsiteY22" fmla="*/ 5812 h 28575"/>
                <a:gd name="connsiteX23" fmla="*/ 27947 w 57150"/>
                <a:gd name="connsiteY23" fmla="*/ 9507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150" h="28575">
                  <a:moveTo>
                    <a:pt x="27947" y="9507"/>
                  </a:moveTo>
                  <a:lnTo>
                    <a:pt x="35325" y="13193"/>
                  </a:lnTo>
                  <a:lnTo>
                    <a:pt x="46393" y="16889"/>
                  </a:lnTo>
                  <a:lnTo>
                    <a:pt x="53771" y="20575"/>
                  </a:lnTo>
                  <a:lnTo>
                    <a:pt x="53771" y="20575"/>
                  </a:lnTo>
                  <a:lnTo>
                    <a:pt x="57460" y="24261"/>
                  </a:lnTo>
                  <a:lnTo>
                    <a:pt x="53771" y="24261"/>
                  </a:lnTo>
                  <a:lnTo>
                    <a:pt x="53771" y="24261"/>
                  </a:lnTo>
                  <a:lnTo>
                    <a:pt x="46393" y="27957"/>
                  </a:lnTo>
                  <a:lnTo>
                    <a:pt x="35325" y="27957"/>
                  </a:lnTo>
                  <a:lnTo>
                    <a:pt x="31636" y="27957"/>
                  </a:lnTo>
                  <a:lnTo>
                    <a:pt x="27947" y="24261"/>
                  </a:lnTo>
                  <a:lnTo>
                    <a:pt x="24258" y="20575"/>
                  </a:lnTo>
                  <a:lnTo>
                    <a:pt x="24258" y="20575"/>
                  </a:lnTo>
                  <a:lnTo>
                    <a:pt x="20569" y="20575"/>
                  </a:lnTo>
                  <a:lnTo>
                    <a:pt x="13191" y="13193"/>
                  </a:lnTo>
                  <a:lnTo>
                    <a:pt x="9501" y="13193"/>
                  </a:lnTo>
                  <a:lnTo>
                    <a:pt x="5812" y="9507"/>
                  </a:lnTo>
                  <a:lnTo>
                    <a:pt x="5812" y="9507"/>
                  </a:lnTo>
                  <a:lnTo>
                    <a:pt x="5812" y="9507"/>
                  </a:lnTo>
                  <a:lnTo>
                    <a:pt x="9501" y="5812"/>
                  </a:lnTo>
                  <a:lnTo>
                    <a:pt x="9501" y="5812"/>
                  </a:lnTo>
                  <a:lnTo>
                    <a:pt x="16880" y="5812"/>
                  </a:lnTo>
                  <a:lnTo>
                    <a:pt x="27947" y="9507"/>
                  </a:lnTo>
                  <a:close/>
                </a:path>
              </a:pathLst>
            </a:custGeom>
            <a:solidFill>
              <a:srgbClr val="8CDADF"/>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25" name="Freeform: Shape 324">
              <a:extLst>
                <a:ext uri="{FF2B5EF4-FFF2-40B4-BE49-F238E27FC236}">
                  <a16:creationId xmlns:a16="http://schemas.microsoft.com/office/drawing/2014/main" id="{D3BF0FA0-C44A-4D1A-9342-4F0F0DBB6E11}"/>
                </a:ext>
              </a:extLst>
            </p:cNvPr>
            <p:cNvSpPr/>
            <p:nvPr/>
          </p:nvSpPr>
          <p:spPr>
            <a:xfrm>
              <a:off x="8213770" y="4712445"/>
              <a:ext cx="46118" cy="61491"/>
            </a:xfrm>
            <a:custGeom>
              <a:avLst/>
              <a:gdLst>
                <a:gd name="connsiteX0" fmla="*/ 5812 w 28575"/>
                <a:gd name="connsiteY0" fmla="*/ 9507 h 38100"/>
                <a:gd name="connsiteX1" fmla="*/ 9501 w 28575"/>
                <a:gd name="connsiteY1" fmla="*/ 9507 h 38100"/>
                <a:gd name="connsiteX2" fmla="*/ 13191 w 28575"/>
                <a:gd name="connsiteY2" fmla="*/ 5812 h 38100"/>
                <a:gd name="connsiteX3" fmla="*/ 13191 w 28575"/>
                <a:gd name="connsiteY3" fmla="*/ 5812 h 38100"/>
                <a:gd name="connsiteX4" fmla="*/ 13191 w 28575"/>
                <a:gd name="connsiteY4" fmla="*/ 9507 h 38100"/>
                <a:gd name="connsiteX5" fmla="*/ 13191 w 28575"/>
                <a:gd name="connsiteY5" fmla="*/ 13194 h 38100"/>
                <a:gd name="connsiteX6" fmla="*/ 16880 w 28575"/>
                <a:gd name="connsiteY6" fmla="*/ 24271 h 38100"/>
                <a:gd name="connsiteX7" fmla="*/ 24258 w 28575"/>
                <a:gd name="connsiteY7" fmla="*/ 31643 h 38100"/>
                <a:gd name="connsiteX8" fmla="*/ 24258 w 28575"/>
                <a:gd name="connsiteY8" fmla="*/ 31643 h 38100"/>
                <a:gd name="connsiteX9" fmla="*/ 24258 w 28575"/>
                <a:gd name="connsiteY9" fmla="*/ 31643 h 38100"/>
                <a:gd name="connsiteX10" fmla="*/ 20569 w 28575"/>
                <a:gd name="connsiteY10" fmla="*/ 35339 h 38100"/>
                <a:gd name="connsiteX11" fmla="*/ 16880 w 28575"/>
                <a:gd name="connsiteY11" fmla="*/ 35339 h 38100"/>
                <a:gd name="connsiteX12" fmla="*/ 16880 w 28575"/>
                <a:gd name="connsiteY12" fmla="*/ 31643 h 38100"/>
                <a:gd name="connsiteX13" fmla="*/ 13191 w 28575"/>
                <a:gd name="connsiteY13" fmla="*/ 27957 h 38100"/>
                <a:gd name="connsiteX14" fmla="*/ 13191 w 28575"/>
                <a:gd name="connsiteY14" fmla="*/ 24271 h 38100"/>
                <a:gd name="connsiteX15" fmla="*/ 9501 w 28575"/>
                <a:gd name="connsiteY15" fmla="*/ 16889 h 38100"/>
                <a:gd name="connsiteX16" fmla="*/ 5812 w 28575"/>
                <a:gd name="connsiteY16" fmla="*/ 13194 h 38100"/>
                <a:gd name="connsiteX17" fmla="*/ 5812 w 28575"/>
                <a:gd name="connsiteY17" fmla="*/ 13194 h 38100"/>
                <a:gd name="connsiteX18" fmla="*/ 5812 w 28575"/>
                <a:gd name="connsiteY18" fmla="*/ 9507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575" h="38100">
                  <a:moveTo>
                    <a:pt x="5812" y="9507"/>
                  </a:moveTo>
                  <a:lnTo>
                    <a:pt x="9501" y="9507"/>
                  </a:lnTo>
                  <a:lnTo>
                    <a:pt x="13191" y="5812"/>
                  </a:lnTo>
                  <a:lnTo>
                    <a:pt x="13191" y="5812"/>
                  </a:lnTo>
                  <a:lnTo>
                    <a:pt x="13191" y="9507"/>
                  </a:lnTo>
                  <a:lnTo>
                    <a:pt x="13191" y="13194"/>
                  </a:lnTo>
                  <a:lnTo>
                    <a:pt x="16880" y="24271"/>
                  </a:lnTo>
                  <a:lnTo>
                    <a:pt x="24258" y="31643"/>
                  </a:lnTo>
                  <a:lnTo>
                    <a:pt x="24258" y="31643"/>
                  </a:lnTo>
                  <a:lnTo>
                    <a:pt x="24258" y="31643"/>
                  </a:lnTo>
                  <a:lnTo>
                    <a:pt x="20569" y="35339"/>
                  </a:lnTo>
                  <a:lnTo>
                    <a:pt x="16880" y="35339"/>
                  </a:lnTo>
                  <a:lnTo>
                    <a:pt x="16880" y="31643"/>
                  </a:lnTo>
                  <a:lnTo>
                    <a:pt x="13191" y="27957"/>
                  </a:lnTo>
                  <a:lnTo>
                    <a:pt x="13191" y="24271"/>
                  </a:lnTo>
                  <a:lnTo>
                    <a:pt x="9501" y="16889"/>
                  </a:lnTo>
                  <a:lnTo>
                    <a:pt x="5812" y="13194"/>
                  </a:lnTo>
                  <a:lnTo>
                    <a:pt x="5812" y="13194"/>
                  </a:lnTo>
                  <a:lnTo>
                    <a:pt x="5812" y="9507"/>
                  </a:lnTo>
                  <a:close/>
                </a:path>
              </a:pathLst>
            </a:custGeom>
            <a:solidFill>
              <a:schemeClr val="accent3">
                <a:lumMod val="20000"/>
                <a:lumOff val="80000"/>
              </a:schemeClr>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26" name="Freeform: Shape 325">
              <a:extLst>
                <a:ext uri="{FF2B5EF4-FFF2-40B4-BE49-F238E27FC236}">
                  <a16:creationId xmlns:a16="http://schemas.microsoft.com/office/drawing/2014/main" id="{9E711F7E-8AE5-4785-9AE1-5635F3CE32E6}"/>
                </a:ext>
              </a:extLst>
            </p:cNvPr>
            <p:cNvSpPr/>
            <p:nvPr/>
          </p:nvSpPr>
          <p:spPr>
            <a:xfrm>
              <a:off x="8541245" y="4795842"/>
              <a:ext cx="15373" cy="15373"/>
            </a:xfrm>
            <a:custGeom>
              <a:avLst/>
              <a:gdLst>
                <a:gd name="connsiteX0" fmla="*/ 13190 w 9525"/>
                <a:gd name="connsiteY0" fmla="*/ 5812 h 9525"/>
                <a:gd name="connsiteX1" fmla="*/ 9501 w 9525"/>
                <a:gd name="connsiteY1" fmla="*/ 9498 h 9525"/>
                <a:gd name="connsiteX2" fmla="*/ 9501 w 9525"/>
                <a:gd name="connsiteY2" fmla="*/ 9498 h 9525"/>
                <a:gd name="connsiteX3" fmla="*/ 13190 w 9525"/>
                <a:gd name="connsiteY3" fmla="*/ 9498 h 9525"/>
                <a:gd name="connsiteX4" fmla="*/ 13190 w 9525"/>
                <a:gd name="connsiteY4" fmla="*/ 9498 h 9525"/>
                <a:gd name="connsiteX5" fmla="*/ 9501 w 9525"/>
                <a:gd name="connsiteY5" fmla="*/ 9498 h 9525"/>
                <a:gd name="connsiteX6" fmla="*/ 9501 w 9525"/>
                <a:gd name="connsiteY6" fmla="*/ 13194 h 9525"/>
                <a:gd name="connsiteX7" fmla="*/ 5812 w 9525"/>
                <a:gd name="connsiteY7" fmla="*/ 9498 h 9525"/>
                <a:gd name="connsiteX8" fmla="*/ 5812 w 9525"/>
                <a:gd name="connsiteY8" fmla="*/ 9498 h 9525"/>
                <a:gd name="connsiteX9" fmla="*/ 5812 w 9525"/>
                <a:gd name="connsiteY9" fmla="*/ 9498 h 9525"/>
                <a:gd name="connsiteX10" fmla="*/ 13190 w 9525"/>
                <a:gd name="connsiteY10"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25" h="9525">
                  <a:moveTo>
                    <a:pt x="13190" y="5812"/>
                  </a:moveTo>
                  <a:lnTo>
                    <a:pt x="9501" y="9498"/>
                  </a:lnTo>
                  <a:lnTo>
                    <a:pt x="9501" y="9498"/>
                  </a:lnTo>
                  <a:lnTo>
                    <a:pt x="13190" y="9498"/>
                  </a:lnTo>
                  <a:lnTo>
                    <a:pt x="13190" y="9498"/>
                  </a:lnTo>
                  <a:lnTo>
                    <a:pt x="9501" y="9498"/>
                  </a:lnTo>
                  <a:lnTo>
                    <a:pt x="9501" y="13194"/>
                  </a:lnTo>
                  <a:lnTo>
                    <a:pt x="5812" y="9498"/>
                  </a:lnTo>
                  <a:lnTo>
                    <a:pt x="5812" y="9498"/>
                  </a:lnTo>
                  <a:lnTo>
                    <a:pt x="5812" y="9498"/>
                  </a:lnTo>
                  <a:lnTo>
                    <a:pt x="13190" y="5812"/>
                  </a:lnTo>
                  <a:close/>
                </a:path>
              </a:pathLst>
            </a:custGeom>
            <a:solidFill>
              <a:schemeClr val="accent3">
                <a:lumMod val="20000"/>
                <a:lumOff val="80000"/>
              </a:schemeClr>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06" name="Freeform: Shape 305">
              <a:extLst>
                <a:ext uri="{FF2B5EF4-FFF2-40B4-BE49-F238E27FC236}">
                  <a16:creationId xmlns:a16="http://schemas.microsoft.com/office/drawing/2014/main" id="{329D75C1-2EC4-49C4-A206-00BABB7AB9A4}"/>
                </a:ext>
              </a:extLst>
            </p:cNvPr>
            <p:cNvSpPr/>
            <p:nvPr/>
          </p:nvSpPr>
          <p:spPr>
            <a:xfrm>
              <a:off x="8380483" y="4635013"/>
              <a:ext cx="1491149" cy="784006"/>
            </a:xfrm>
            <a:custGeom>
              <a:avLst/>
              <a:gdLst>
                <a:gd name="connsiteX0" fmla="*/ 363662 w 923925"/>
                <a:gd name="connsiteY0" fmla="*/ 5812 h 485775"/>
                <a:gd name="connsiteX1" fmla="*/ 359973 w 923925"/>
                <a:gd name="connsiteY1" fmla="*/ 9507 h 485775"/>
                <a:gd name="connsiteX2" fmla="*/ 352595 w 923925"/>
                <a:gd name="connsiteY2" fmla="*/ 13194 h 485775"/>
                <a:gd name="connsiteX3" fmla="*/ 348906 w 923925"/>
                <a:gd name="connsiteY3" fmla="*/ 13194 h 485775"/>
                <a:gd name="connsiteX4" fmla="*/ 341527 w 923925"/>
                <a:gd name="connsiteY4" fmla="*/ 24271 h 485775"/>
                <a:gd name="connsiteX5" fmla="*/ 337838 w 923925"/>
                <a:gd name="connsiteY5" fmla="*/ 24271 h 485775"/>
                <a:gd name="connsiteX6" fmla="*/ 330460 w 923925"/>
                <a:gd name="connsiteY6" fmla="*/ 27957 h 485775"/>
                <a:gd name="connsiteX7" fmla="*/ 326771 w 923925"/>
                <a:gd name="connsiteY7" fmla="*/ 27957 h 485775"/>
                <a:gd name="connsiteX8" fmla="*/ 319392 w 923925"/>
                <a:gd name="connsiteY8" fmla="*/ 27957 h 485775"/>
                <a:gd name="connsiteX9" fmla="*/ 312014 w 923925"/>
                <a:gd name="connsiteY9" fmla="*/ 27957 h 485775"/>
                <a:gd name="connsiteX10" fmla="*/ 304636 w 923925"/>
                <a:gd name="connsiteY10" fmla="*/ 27957 h 485775"/>
                <a:gd name="connsiteX11" fmla="*/ 297257 w 923925"/>
                <a:gd name="connsiteY11" fmla="*/ 31643 h 485775"/>
                <a:gd name="connsiteX12" fmla="*/ 293568 w 923925"/>
                <a:gd name="connsiteY12" fmla="*/ 31643 h 485775"/>
                <a:gd name="connsiteX13" fmla="*/ 289878 w 923925"/>
                <a:gd name="connsiteY13" fmla="*/ 35339 h 485775"/>
                <a:gd name="connsiteX14" fmla="*/ 289878 w 923925"/>
                <a:gd name="connsiteY14" fmla="*/ 39025 h 485775"/>
                <a:gd name="connsiteX15" fmla="*/ 286189 w 923925"/>
                <a:gd name="connsiteY15" fmla="*/ 42721 h 485775"/>
                <a:gd name="connsiteX16" fmla="*/ 282500 w 923925"/>
                <a:gd name="connsiteY16" fmla="*/ 46407 h 485775"/>
                <a:gd name="connsiteX17" fmla="*/ 278811 w 923925"/>
                <a:gd name="connsiteY17" fmla="*/ 57485 h 485775"/>
                <a:gd name="connsiteX18" fmla="*/ 275121 w 923925"/>
                <a:gd name="connsiteY18" fmla="*/ 61171 h 485775"/>
                <a:gd name="connsiteX19" fmla="*/ 271432 w 923925"/>
                <a:gd name="connsiteY19" fmla="*/ 68553 h 485775"/>
                <a:gd name="connsiteX20" fmla="*/ 260365 w 923925"/>
                <a:gd name="connsiteY20" fmla="*/ 75935 h 485775"/>
                <a:gd name="connsiteX21" fmla="*/ 252986 w 923925"/>
                <a:gd name="connsiteY21" fmla="*/ 79621 h 485775"/>
                <a:gd name="connsiteX22" fmla="*/ 249297 w 923925"/>
                <a:gd name="connsiteY22" fmla="*/ 83317 h 485775"/>
                <a:gd name="connsiteX23" fmla="*/ 245608 w 923925"/>
                <a:gd name="connsiteY23" fmla="*/ 87003 h 485775"/>
                <a:gd name="connsiteX24" fmla="*/ 230851 w 923925"/>
                <a:gd name="connsiteY24" fmla="*/ 90698 h 485775"/>
                <a:gd name="connsiteX25" fmla="*/ 230851 w 923925"/>
                <a:gd name="connsiteY25" fmla="*/ 94385 h 485775"/>
                <a:gd name="connsiteX26" fmla="*/ 223473 w 923925"/>
                <a:gd name="connsiteY26" fmla="*/ 98080 h 485775"/>
                <a:gd name="connsiteX27" fmla="*/ 219784 w 923925"/>
                <a:gd name="connsiteY27" fmla="*/ 101766 h 485775"/>
                <a:gd name="connsiteX28" fmla="*/ 216095 w 923925"/>
                <a:gd name="connsiteY28" fmla="*/ 101766 h 485775"/>
                <a:gd name="connsiteX29" fmla="*/ 212406 w 923925"/>
                <a:gd name="connsiteY29" fmla="*/ 105462 h 485775"/>
                <a:gd name="connsiteX30" fmla="*/ 208717 w 923925"/>
                <a:gd name="connsiteY30" fmla="*/ 109148 h 485775"/>
                <a:gd name="connsiteX31" fmla="*/ 179203 w 923925"/>
                <a:gd name="connsiteY31" fmla="*/ 116530 h 485775"/>
                <a:gd name="connsiteX32" fmla="*/ 175514 w 923925"/>
                <a:gd name="connsiteY32" fmla="*/ 116530 h 485775"/>
                <a:gd name="connsiteX33" fmla="*/ 171825 w 923925"/>
                <a:gd name="connsiteY33" fmla="*/ 116530 h 485775"/>
                <a:gd name="connsiteX34" fmla="*/ 160757 w 923925"/>
                <a:gd name="connsiteY34" fmla="*/ 120226 h 485775"/>
                <a:gd name="connsiteX35" fmla="*/ 153379 w 923925"/>
                <a:gd name="connsiteY35" fmla="*/ 120226 h 485775"/>
                <a:gd name="connsiteX36" fmla="*/ 142311 w 923925"/>
                <a:gd name="connsiteY36" fmla="*/ 116530 h 485775"/>
                <a:gd name="connsiteX37" fmla="*/ 138621 w 923925"/>
                <a:gd name="connsiteY37" fmla="*/ 112844 h 485775"/>
                <a:gd name="connsiteX38" fmla="*/ 134932 w 923925"/>
                <a:gd name="connsiteY38" fmla="*/ 112844 h 485775"/>
                <a:gd name="connsiteX39" fmla="*/ 131243 w 923925"/>
                <a:gd name="connsiteY39" fmla="*/ 109148 h 485775"/>
                <a:gd name="connsiteX40" fmla="*/ 127554 w 923925"/>
                <a:gd name="connsiteY40" fmla="*/ 109148 h 485775"/>
                <a:gd name="connsiteX41" fmla="*/ 120176 w 923925"/>
                <a:gd name="connsiteY41" fmla="*/ 109148 h 485775"/>
                <a:gd name="connsiteX42" fmla="*/ 116487 w 923925"/>
                <a:gd name="connsiteY42" fmla="*/ 112844 h 485775"/>
                <a:gd name="connsiteX43" fmla="*/ 109108 w 923925"/>
                <a:gd name="connsiteY43" fmla="*/ 116530 h 485775"/>
                <a:gd name="connsiteX44" fmla="*/ 105419 w 923925"/>
                <a:gd name="connsiteY44" fmla="*/ 120226 h 485775"/>
                <a:gd name="connsiteX45" fmla="*/ 105419 w 923925"/>
                <a:gd name="connsiteY45" fmla="*/ 123912 h 485775"/>
                <a:gd name="connsiteX46" fmla="*/ 101730 w 923925"/>
                <a:gd name="connsiteY46" fmla="*/ 131294 h 485775"/>
                <a:gd name="connsiteX47" fmla="*/ 98041 w 923925"/>
                <a:gd name="connsiteY47" fmla="*/ 134980 h 485775"/>
                <a:gd name="connsiteX48" fmla="*/ 94352 w 923925"/>
                <a:gd name="connsiteY48" fmla="*/ 138676 h 485775"/>
                <a:gd name="connsiteX49" fmla="*/ 90662 w 923925"/>
                <a:gd name="connsiteY49" fmla="*/ 142362 h 485775"/>
                <a:gd name="connsiteX50" fmla="*/ 83284 w 923925"/>
                <a:gd name="connsiteY50" fmla="*/ 146058 h 485775"/>
                <a:gd name="connsiteX51" fmla="*/ 79595 w 923925"/>
                <a:gd name="connsiteY51" fmla="*/ 146058 h 485775"/>
                <a:gd name="connsiteX52" fmla="*/ 75906 w 923925"/>
                <a:gd name="connsiteY52" fmla="*/ 149744 h 485775"/>
                <a:gd name="connsiteX53" fmla="*/ 72217 w 923925"/>
                <a:gd name="connsiteY53" fmla="*/ 149744 h 485775"/>
                <a:gd name="connsiteX54" fmla="*/ 72217 w 923925"/>
                <a:gd name="connsiteY54" fmla="*/ 146058 h 485775"/>
                <a:gd name="connsiteX55" fmla="*/ 68527 w 923925"/>
                <a:gd name="connsiteY55" fmla="*/ 146058 h 485775"/>
                <a:gd name="connsiteX56" fmla="*/ 64838 w 923925"/>
                <a:gd name="connsiteY56" fmla="*/ 149744 h 485775"/>
                <a:gd name="connsiteX57" fmla="*/ 57460 w 923925"/>
                <a:gd name="connsiteY57" fmla="*/ 149744 h 485775"/>
                <a:gd name="connsiteX58" fmla="*/ 53771 w 923925"/>
                <a:gd name="connsiteY58" fmla="*/ 149744 h 485775"/>
                <a:gd name="connsiteX59" fmla="*/ 50082 w 923925"/>
                <a:gd name="connsiteY59" fmla="*/ 153440 h 485775"/>
                <a:gd name="connsiteX60" fmla="*/ 46393 w 923925"/>
                <a:gd name="connsiteY60" fmla="*/ 153440 h 485775"/>
                <a:gd name="connsiteX61" fmla="*/ 42703 w 923925"/>
                <a:gd name="connsiteY61" fmla="*/ 153440 h 485775"/>
                <a:gd name="connsiteX62" fmla="*/ 39014 w 923925"/>
                <a:gd name="connsiteY62" fmla="*/ 160821 h 485775"/>
                <a:gd name="connsiteX63" fmla="*/ 35325 w 923925"/>
                <a:gd name="connsiteY63" fmla="*/ 160821 h 485775"/>
                <a:gd name="connsiteX64" fmla="*/ 35325 w 923925"/>
                <a:gd name="connsiteY64" fmla="*/ 157126 h 485775"/>
                <a:gd name="connsiteX65" fmla="*/ 31636 w 923925"/>
                <a:gd name="connsiteY65" fmla="*/ 157126 h 485775"/>
                <a:gd name="connsiteX66" fmla="*/ 27947 w 923925"/>
                <a:gd name="connsiteY66" fmla="*/ 157126 h 485775"/>
                <a:gd name="connsiteX67" fmla="*/ 16879 w 923925"/>
                <a:gd name="connsiteY67" fmla="*/ 160821 h 485775"/>
                <a:gd name="connsiteX68" fmla="*/ 13190 w 923925"/>
                <a:gd name="connsiteY68" fmla="*/ 164508 h 485775"/>
                <a:gd name="connsiteX69" fmla="*/ 9501 w 923925"/>
                <a:gd name="connsiteY69" fmla="*/ 168203 h 485775"/>
                <a:gd name="connsiteX70" fmla="*/ 5812 w 923925"/>
                <a:gd name="connsiteY70" fmla="*/ 175576 h 485775"/>
                <a:gd name="connsiteX71" fmla="*/ 5812 w 923925"/>
                <a:gd name="connsiteY71" fmla="*/ 179271 h 485775"/>
                <a:gd name="connsiteX72" fmla="*/ 5812 w 923925"/>
                <a:gd name="connsiteY72" fmla="*/ 186653 h 485775"/>
                <a:gd name="connsiteX73" fmla="*/ 5812 w 923925"/>
                <a:gd name="connsiteY73" fmla="*/ 190339 h 485775"/>
                <a:gd name="connsiteX74" fmla="*/ 9501 w 923925"/>
                <a:gd name="connsiteY74" fmla="*/ 194035 h 485775"/>
                <a:gd name="connsiteX75" fmla="*/ 24258 w 923925"/>
                <a:gd name="connsiteY75" fmla="*/ 212485 h 485775"/>
                <a:gd name="connsiteX76" fmla="*/ 24258 w 923925"/>
                <a:gd name="connsiteY76" fmla="*/ 219867 h 485775"/>
                <a:gd name="connsiteX77" fmla="*/ 27947 w 923925"/>
                <a:gd name="connsiteY77" fmla="*/ 223553 h 485775"/>
                <a:gd name="connsiteX78" fmla="*/ 27947 w 923925"/>
                <a:gd name="connsiteY78" fmla="*/ 227249 h 485775"/>
                <a:gd name="connsiteX79" fmla="*/ 24258 w 923925"/>
                <a:gd name="connsiteY79" fmla="*/ 234631 h 485775"/>
                <a:gd name="connsiteX80" fmla="*/ 20568 w 923925"/>
                <a:gd name="connsiteY80" fmla="*/ 245699 h 485775"/>
                <a:gd name="connsiteX81" fmla="*/ 16879 w 923925"/>
                <a:gd name="connsiteY81" fmla="*/ 253081 h 485775"/>
                <a:gd name="connsiteX82" fmla="*/ 16879 w 923925"/>
                <a:gd name="connsiteY82" fmla="*/ 256776 h 485775"/>
                <a:gd name="connsiteX83" fmla="*/ 24258 w 923925"/>
                <a:gd name="connsiteY83" fmla="*/ 271531 h 485775"/>
                <a:gd name="connsiteX84" fmla="*/ 39014 w 923925"/>
                <a:gd name="connsiteY84" fmla="*/ 312136 h 485775"/>
                <a:gd name="connsiteX85" fmla="*/ 46393 w 923925"/>
                <a:gd name="connsiteY85" fmla="*/ 323204 h 485775"/>
                <a:gd name="connsiteX86" fmla="*/ 39014 w 923925"/>
                <a:gd name="connsiteY86" fmla="*/ 326890 h 485775"/>
                <a:gd name="connsiteX87" fmla="*/ 39014 w 923925"/>
                <a:gd name="connsiteY87" fmla="*/ 330585 h 485775"/>
                <a:gd name="connsiteX88" fmla="*/ 42703 w 923925"/>
                <a:gd name="connsiteY88" fmla="*/ 341654 h 485775"/>
                <a:gd name="connsiteX89" fmla="*/ 39014 w 923925"/>
                <a:gd name="connsiteY89" fmla="*/ 352731 h 485775"/>
                <a:gd name="connsiteX90" fmla="*/ 39014 w 923925"/>
                <a:gd name="connsiteY90" fmla="*/ 356417 h 485775"/>
                <a:gd name="connsiteX91" fmla="*/ 42703 w 923925"/>
                <a:gd name="connsiteY91" fmla="*/ 356417 h 485775"/>
                <a:gd name="connsiteX92" fmla="*/ 46393 w 923925"/>
                <a:gd name="connsiteY92" fmla="*/ 360113 h 485775"/>
                <a:gd name="connsiteX93" fmla="*/ 72217 w 923925"/>
                <a:gd name="connsiteY93" fmla="*/ 360113 h 485775"/>
                <a:gd name="connsiteX94" fmla="*/ 72217 w 923925"/>
                <a:gd name="connsiteY94" fmla="*/ 363799 h 485775"/>
                <a:gd name="connsiteX95" fmla="*/ 75906 w 923925"/>
                <a:gd name="connsiteY95" fmla="*/ 367485 h 485775"/>
                <a:gd name="connsiteX96" fmla="*/ 75906 w 923925"/>
                <a:gd name="connsiteY96" fmla="*/ 378563 h 485775"/>
                <a:gd name="connsiteX97" fmla="*/ 79595 w 923925"/>
                <a:gd name="connsiteY97" fmla="*/ 374867 h 485775"/>
                <a:gd name="connsiteX98" fmla="*/ 90662 w 923925"/>
                <a:gd name="connsiteY98" fmla="*/ 378563 h 485775"/>
                <a:gd name="connsiteX99" fmla="*/ 94352 w 923925"/>
                <a:gd name="connsiteY99" fmla="*/ 378563 h 485775"/>
                <a:gd name="connsiteX100" fmla="*/ 98041 w 923925"/>
                <a:gd name="connsiteY100" fmla="*/ 378563 h 485775"/>
                <a:gd name="connsiteX101" fmla="*/ 101730 w 923925"/>
                <a:gd name="connsiteY101" fmla="*/ 378563 h 485775"/>
                <a:gd name="connsiteX102" fmla="*/ 105419 w 923925"/>
                <a:gd name="connsiteY102" fmla="*/ 378563 h 485775"/>
                <a:gd name="connsiteX103" fmla="*/ 109108 w 923925"/>
                <a:gd name="connsiteY103" fmla="*/ 374867 h 485775"/>
                <a:gd name="connsiteX104" fmla="*/ 116487 w 923925"/>
                <a:gd name="connsiteY104" fmla="*/ 371181 h 485775"/>
                <a:gd name="connsiteX105" fmla="*/ 120176 w 923925"/>
                <a:gd name="connsiteY105" fmla="*/ 371181 h 485775"/>
                <a:gd name="connsiteX106" fmla="*/ 120176 w 923925"/>
                <a:gd name="connsiteY106" fmla="*/ 367485 h 485775"/>
                <a:gd name="connsiteX107" fmla="*/ 120176 w 923925"/>
                <a:gd name="connsiteY107" fmla="*/ 363799 h 485775"/>
                <a:gd name="connsiteX108" fmla="*/ 101730 w 923925"/>
                <a:gd name="connsiteY108" fmla="*/ 337967 h 485775"/>
                <a:gd name="connsiteX109" fmla="*/ 98041 w 923925"/>
                <a:gd name="connsiteY109" fmla="*/ 326890 h 485775"/>
                <a:gd name="connsiteX110" fmla="*/ 101730 w 923925"/>
                <a:gd name="connsiteY110" fmla="*/ 323204 h 485775"/>
                <a:gd name="connsiteX111" fmla="*/ 105419 w 923925"/>
                <a:gd name="connsiteY111" fmla="*/ 323204 h 485775"/>
                <a:gd name="connsiteX112" fmla="*/ 105419 w 923925"/>
                <a:gd name="connsiteY112" fmla="*/ 319508 h 485775"/>
                <a:gd name="connsiteX113" fmla="*/ 105419 w 923925"/>
                <a:gd name="connsiteY113" fmla="*/ 315822 h 485775"/>
                <a:gd name="connsiteX114" fmla="*/ 105419 w 923925"/>
                <a:gd name="connsiteY114" fmla="*/ 312136 h 485775"/>
                <a:gd name="connsiteX115" fmla="*/ 105419 w 923925"/>
                <a:gd name="connsiteY115" fmla="*/ 308440 h 485775"/>
                <a:gd name="connsiteX116" fmla="*/ 101730 w 923925"/>
                <a:gd name="connsiteY116" fmla="*/ 308440 h 485775"/>
                <a:gd name="connsiteX117" fmla="*/ 98041 w 923925"/>
                <a:gd name="connsiteY117" fmla="*/ 304754 h 485775"/>
                <a:gd name="connsiteX118" fmla="*/ 101730 w 923925"/>
                <a:gd name="connsiteY118" fmla="*/ 301058 h 485775"/>
                <a:gd name="connsiteX119" fmla="*/ 127554 w 923925"/>
                <a:gd name="connsiteY119" fmla="*/ 289990 h 485775"/>
                <a:gd name="connsiteX120" fmla="*/ 134932 w 923925"/>
                <a:gd name="connsiteY120" fmla="*/ 289990 h 485775"/>
                <a:gd name="connsiteX121" fmla="*/ 138621 w 923925"/>
                <a:gd name="connsiteY121" fmla="*/ 286294 h 485775"/>
                <a:gd name="connsiteX122" fmla="*/ 142311 w 923925"/>
                <a:gd name="connsiteY122" fmla="*/ 282608 h 485775"/>
                <a:gd name="connsiteX123" fmla="*/ 146000 w 923925"/>
                <a:gd name="connsiteY123" fmla="*/ 282608 h 485775"/>
                <a:gd name="connsiteX124" fmla="*/ 149690 w 923925"/>
                <a:gd name="connsiteY124" fmla="*/ 282608 h 485775"/>
                <a:gd name="connsiteX125" fmla="*/ 175514 w 923925"/>
                <a:gd name="connsiteY125" fmla="*/ 278912 h 485775"/>
                <a:gd name="connsiteX126" fmla="*/ 179203 w 923925"/>
                <a:gd name="connsiteY126" fmla="*/ 286294 h 485775"/>
                <a:gd name="connsiteX127" fmla="*/ 171825 w 923925"/>
                <a:gd name="connsiteY127" fmla="*/ 304754 h 485775"/>
                <a:gd name="connsiteX128" fmla="*/ 175514 w 923925"/>
                <a:gd name="connsiteY128" fmla="*/ 326890 h 485775"/>
                <a:gd name="connsiteX129" fmla="*/ 193960 w 923925"/>
                <a:gd name="connsiteY129" fmla="*/ 319508 h 485775"/>
                <a:gd name="connsiteX130" fmla="*/ 197649 w 923925"/>
                <a:gd name="connsiteY130" fmla="*/ 319508 h 485775"/>
                <a:gd name="connsiteX131" fmla="*/ 205027 w 923925"/>
                <a:gd name="connsiteY131" fmla="*/ 319508 h 485775"/>
                <a:gd name="connsiteX132" fmla="*/ 219784 w 923925"/>
                <a:gd name="connsiteY132" fmla="*/ 323204 h 485775"/>
                <a:gd name="connsiteX133" fmla="*/ 227162 w 923925"/>
                <a:gd name="connsiteY133" fmla="*/ 326890 h 485775"/>
                <a:gd name="connsiteX134" fmla="*/ 230851 w 923925"/>
                <a:gd name="connsiteY134" fmla="*/ 326890 h 485775"/>
                <a:gd name="connsiteX135" fmla="*/ 230851 w 923925"/>
                <a:gd name="connsiteY135" fmla="*/ 323204 h 485775"/>
                <a:gd name="connsiteX136" fmla="*/ 234541 w 923925"/>
                <a:gd name="connsiteY136" fmla="*/ 326890 h 485775"/>
                <a:gd name="connsiteX137" fmla="*/ 241919 w 923925"/>
                <a:gd name="connsiteY137" fmla="*/ 323204 h 485775"/>
                <a:gd name="connsiteX138" fmla="*/ 238230 w 923925"/>
                <a:gd name="connsiteY138" fmla="*/ 308440 h 485775"/>
                <a:gd name="connsiteX139" fmla="*/ 249297 w 923925"/>
                <a:gd name="connsiteY139" fmla="*/ 304754 h 485775"/>
                <a:gd name="connsiteX140" fmla="*/ 252986 w 923925"/>
                <a:gd name="connsiteY140" fmla="*/ 304754 h 485775"/>
                <a:gd name="connsiteX141" fmla="*/ 256676 w 923925"/>
                <a:gd name="connsiteY141" fmla="*/ 293676 h 485775"/>
                <a:gd name="connsiteX142" fmla="*/ 264054 w 923925"/>
                <a:gd name="connsiteY142" fmla="*/ 289990 h 485775"/>
                <a:gd name="connsiteX143" fmla="*/ 267743 w 923925"/>
                <a:gd name="connsiteY143" fmla="*/ 286294 h 485775"/>
                <a:gd name="connsiteX144" fmla="*/ 271432 w 923925"/>
                <a:gd name="connsiteY144" fmla="*/ 278912 h 485775"/>
                <a:gd name="connsiteX145" fmla="*/ 278811 w 923925"/>
                <a:gd name="connsiteY145" fmla="*/ 275226 h 485775"/>
                <a:gd name="connsiteX146" fmla="*/ 282500 w 923925"/>
                <a:gd name="connsiteY146" fmla="*/ 271531 h 485775"/>
                <a:gd name="connsiteX147" fmla="*/ 278811 w 923925"/>
                <a:gd name="connsiteY147" fmla="*/ 267844 h 485775"/>
                <a:gd name="connsiteX148" fmla="*/ 282500 w 923925"/>
                <a:gd name="connsiteY148" fmla="*/ 267844 h 485775"/>
                <a:gd name="connsiteX149" fmla="*/ 286189 w 923925"/>
                <a:gd name="connsiteY149" fmla="*/ 267844 h 485775"/>
                <a:gd name="connsiteX150" fmla="*/ 286189 w 923925"/>
                <a:gd name="connsiteY150" fmla="*/ 264158 h 485775"/>
                <a:gd name="connsiteX151" fmla="*/ 293568 w 923925"/>
                <a:gd name="connsiteY151" fmla="*/ 260462 h 485775"/>
                <a:gd name="connsiteX152" fmla="*/ 297257 w 923925"/>
                <a:gd name="connsiteY152" fmla="*/ 264158 h 485775"/>
                <a:gd name="connsiteX153" fmla="*/ 297257 w 923925"/>
                <a:gd name="connsiteY153" fmla="*/ 267844 h 485775"/>
                <a:gd name="connsiteX154" fmla="*/ 300946 w 923925"/>
                <a:gd name="connsiteY154" fmla="*/ 267844 h 485775"/>
                <a:gd name="connsiteX155" fmla="*/ 304636 w 923925"/>
                <a:gd name="connsiteY155" fmla="*/ 267844 h 485775"/>
                <a:gd name="connsiteX156" fmla="*/ 312014 w 923925"/>
                <a:gd name="connsiteY156" fmla="*/ 271531 h 485775"/>
                <a:gd name="connsiteX157" fmla="*/ 315703 w 923925"/>
                <a:gd name="connsiteY157" fmla="*/ 271531 h 485775"/>
                <a:gd name="connsiteX158" fmla="*/ 315703 w 923925"/>
                <a:gd name="connsiteY158" fmla="*/ 275226 h 485775"/>
                <a:gd name="connsiteX159" fmla="*/ 315703 w 923925"/>
                <a:gd name="connsiteY159" fmla="*/ 278912 h 485775"/>
                <a:gd name="connsiteX160" fmla="*/ 319392 w 923925"/>
                <a:gd name="connsiteY160" fmla="*/ 282608 h 485775"/>
                <a:gd name="connsiteX161" fmla="*/ 323081 w 923925"/>
                <a:gd name="connsiteY161" fmla="*/ 278912 h 485775"/>
                <a:gd name="connsiteX162" fmla="*/ 326771 w 923925"/>
                <a:gd name="connsiteY162" fmla="*/ 282608 h 485775"/>
                <a:gd name="connsiteX163" fmla="*/ 323081 w 923925"/>
                <a:gd name="connsiteY163" fmla="*/ 289990 h 485775"/>
                <a:gd name="connsiteX164" fmla="*/ 323081 w 923925"/>
                <a:gd name="connsiteY164" fmla="*/ 297372 h 485775"/>
                <a:gd name="connsiteX165" fmla="*/ 326771 w 923925"/>
                <a:gd name="connsiteY165" fmla="*/ 297372 h 485775"/>
                <a:gd name="connsiteX166" fmla="*/ 326771 w 923925"/>
                <a:gd name="connsiteY166" fmla="*/ 301058 h 485775"/>
                <a:gd name="connsiteX167" fmla="*/ 323081 w 923925"/>
                <a:gd name="connsiteY167" fmla="*/ 301058 h 485775"/>
                <a:gd name="connsiteX168" fmla="*/ 319392 w 923925"/>
                <a:gd name="connsiteY168" fmla="*/ 304754 h 485775"/>
                <a:gd name="connsiteX169" fmla="*/ 315703 w 923925"/>
                <a:gd name="connsiteY169" fmla="*/ 308440 h 485775"/>
                <a:gd name="connsiteX170" fmla="*/ 319392 w 923925"/>
                <a:gd name="connsiteY170" fmla="*/ 323204 h 485775"/>
                <a:gd name="connsiteX171" fmla="*/ 319392 w 923925"/>
                <a:gd name="connsiteY171" fmla="*/ 326890 h 485775"/>
                <a:gd name="connsiteX172" fmla="*/ 323081 w 923925"/>
                <a:gd name="connsiteY172" fmla="*/ 326890 h 485775"/>
                <a:gd name="connsiteX173" fmla="*/ 326771 w 923925"/>
                <a:gd name="connsiteY173" fmla="*/ 326890 h 485775"/>
                <a:gd name="connsiteX174" fmla="*/ 326771 w 923925"/>
                <a:gd name="connsiteY174" fmla="*/ 330585 h 485775"/>
                <a:gd name="connsiteX175" fmla="*/ 323081 w 923925"/>
                <a:gd name="connsiteY175" fmla="*/ 330585 h 485775"/>
                <a:gd name="connsiteX176" fmla="*/ 312014 w 923925"/>
                <a:gd name="connsiteY176" fmla="*/ 326890 h 485775"/>
                <a:gd name="connsiteX177" fmla="*/ 308325 w 923925"/>
                <a:gd name="connsiteY177" fmla="*/ 323204 h 485775"/>
                <a:gd name="connsiteX178" fmla="*/ 300946 w 923925"/>
                <a:gd name="connsiteY178" fmla="*/ 323204 h 485775"/>
                <a:gd name="connsiteX179" fmla="*/ 300946 w 923925"/>
                <a:gd name="connsiteY179" fmla="*/ 319508 h 485775"/>
                <a:gd name="connsiteX180" fmla="*/ 297257 w 923925"/>
                <a:gd name="connsiteY180" fmla="*/ 319508 h 485775"/>
                <a:gd name="connsiteX181" fmla="*/ 289878 w 923925"/>
                <a:gd name="connsiteY181" fmla="*/ 323204 h 485775"/>
                <a:gd name="connsiteX182" fmla="*/ 289878 w 923925"/>
                <a:gd name="connsiteY182" fmla="*/ 326890 h 485775"/>
                <a:gd name="connsiteX183" fmla="*/ 289878 w 923925"/>
                <a:gd name="connsiteY183" fmla="*/ 330585 h 485775"/>
                <a:gd name="connsiteX184" fmla="*/ 293568 w 923925"/>
                <a:gd name="connsiteY184" fmla="*/ 334272 h 485775"/>
                <a:gd name="connsiteX185" fmla="*/ 300946 w 923925"/>
                <a:gd name="connsiteY185" fmla="*/ 337967 h 485775"/>
                <a:gd name="connsiteX186" fmla="*/ 304636 w 923925"/>
                <a:gd name="connsiteY186" fmla="*/ 337967 h 485775"/>
                <a:gd name="connsiteX187" fmla="*/ 315703 w 923925"/>
                <a:gd name="connsiteY187" fmla="*/ 334272 h 485775"/>
                <a:gd name="connsiteX188" fmla="*/ 323081 w 923925"/>
                <a:gd name="connsiteY188" fmla="*/ 334272 h 485775"/>
                <a:gd name="connsiteX189" fmla="*/ 330460 w 923925"/>
                <a:gd name="connsiteY189" fmla="*/ 334272 h 485775"/>
                <a:gd name="connsiteX190" fmla="*/ 334149 w 923925"/>
                <a:gd name="connsiteY190" fmla="*/ 337967 h 485775"/>
                <a:gd name="connsiteX191" fmla="*/ 337838 w 923925"/>
                <a:gd name="connsiteY191" fmla="*/ 337967 h 485775"/>
                <a:gd name="connsiteX192" fmla="*/ 337838 w 923925"/>
                <a:gd name="connsiteY192" fmla="*/ 334272 h 485775"/>
                <a:gd name="connsiteX193" fmla="*/ 341527 w 923925"/>
                <a:gd name="connsiteY193" fmla="*/ 334272 h 485775"/>
                <a:gd name="connsiteX194" fmla="*/ 345217 w 923925"/>
                <a:gd name="connsiteY194" fmla="*/ 334272 h 485775"/>
                <a:gd name="connsiteX195" fmla="*/ 348906 w 923925"/>
                <a:gd name="connsiteY195" fmla="*/ 334272 h 485775"/>
                <a:gd name="connsiteX196" fmla="*/ 352595 w 923925"/>
                <a:gd name="connsiteY196" fmla="*/ 334272 h 485775"/>
                <a:gd name="connsiteX197" fmla="*/ 359973 w 923925"/>
                <a:gd name="connsiteY197" fmla="*/ 341654 h 485775"/>
                <a:gd name="connsiteX198" fmla="*/ 359973 w 923925"/>
                <a:gd name="connsiteY198" fmla="*/ 345349 h 485775"/>
                <a:gd name="connsiteX199" fmla="*/ 363662 w 923925"/>
                <a:gd name="connsiteY199" fmla="*/ 345349 h 485775"/>
                <a:gd name="connsiteX200" fmla="*/ 367351 w 923925"/>
                <a:gd name="connsiteY200" fmla="*/ 349036 h 485775"/>
                <a:gd name="connsiteX201" fmla="*/ 371041 w 923925"/>
                <a:gd name="connsiteY201" fmla="*/ 349036 h 485775"/>
                <a:gd name="connsiteX202" fmla="*/ 385797 w 923925"/>
                <a:gd name="connsiteY202" fmla="*/ 326890 h 485775"/>
                <a:gd name="connsiteX203" fmla="*/ 407932 w 923925"/>
                <a:gd name="connsiteY203" fmla="*/ 312136 h 485775"/>
                <a:gd name="connsiteX204" fmla="*/ 407932 w 923925"/>
                <a:gd name="connsiteY204" fmla="*/ 304754 h 485775"/>
                <a:gd name="connsiteX205" fmla="*/ 411621 w 923925"/>
                <a:gd name="connsiteY205" fmla="*/ 304754 h 485775"/>
                <a:gd name="connsiteX206" fmla="*/ 411621 w 923925"/>
                <a:gd name="connsiteY206" fmla="*/ 301058 h 485775"/>
                <a:gd name="connsiteX207" fmla="*/ 407932 w 923925"/>
                <a:gd name="connsiteY207" fmla="*/ 297372 h 485775"/>
                <a:gd name="connsiteX208" fmla="*/ 407932 w 923925"/>
                <a:gd name="connsiteY208" fmla="*/ 293676 h 485775"/>
                <a:gd name="connsiteX209" fmla="*/ 411621 w 923925"/>
                <a:gd name="connsiteY209" fmla="*/ 289990 h 485775"/>
                <a:gd name="connsiteX210" fmla="*/ 411621 w 923925"/>
                <a:gd name="connsiteY210" fmla="*/ 286294 h 485775"/>
                <a:gd name="connsiteX211" fmla="*/ 415310 w 923925"/>
                <a:gd name="connsiteY211" fmla="*/ 282608 h 485775"/>
                <a:gd name="connsiteX212" fmla="*/ 422689 w 923925"/>
                <a:gd name="connsiteY212" fmla="*/ 278912 h 485775"/>
                <a:gd name="connsiteX213" fmla="*/ 426378 w 923925"/>
                <a:gd name="connsiteY213" fmla="*/ 278912 h 485775"/>
                <a:gd name="connsiteX214" fmla="*/ 422689 w 923925"/>
                <a:gd name="connsiteY214" fmla="*/ 282608 h 485775"/>
                <a:gd name="connsiteX215" fmla="*/ 426378 w 923925"/>
                <a:gd name="connsiteY215" fmla="*/ 286294 h 485775"/>
                <a:gd name="connsiteX216" fmla="*/ 426378 w 923925"/>
                <a:gd name="connsiteY216" fmla="*/ 289990 h 485775"/>
                <a:gd name="connsiteX217" fmla="*/ 430067 w 923925"/>
                <a:gd name="connsiteY217" fmla="*/ 289990 h 485775"/>
                <a:gd name="connsiteX218" fmla="*/ 444825 w 923925"/>
                <a:gd name="connsiteY218" fmla="*/ 289990 h 485775"/>
                <a:gd name="connsiteX219" fmla="*/ 455892 w 923925"/>
                <a:gd name="connsiteY219" fmla="*/ 323204 h 485775"/>
                <a:gd name="connsiteX220" fmla="*/ 452203 w 923925"/>
                <a:gd name="connsiteY220" fmla="*/ 330585 h 485775"/>
                <a:gd name="connsiteX221" fmla="*/ 441136 w 923925"/>
                <a:gd name="connsiteY221" fmla="*/ 352731 h 485775"/>
                <a:gd name="connsiteX222" fmla="*/ 463271 w 923925"/>
                <a:gd name="connsiteY222" fmla="*/ 378563 h 485775"/>
                <a:gd name="connsiteX223" fmla="*/ 463271 w 923925"/>
                <a:gd name="connsiteY223" fmla="*/ 382249 h 485775"/>
                <a:gd name="connsiteX224" fmla="*/ 466960 w 923925"/>
                <a:gd name="connsiteY224" fmla="*/ 385945 h 485775"/>
                <a:gd name="connsiteX225" fmla="*/ 470649 w 923925"/>
                <a:gd name="connsiteY225" fmla="*/ 389631 h 485775"/>
                <a:gd name="connsiteX226" fmla="*/ 470649 w 923925"/>
                <a:gd name="connsiteY226" fmla="*/ 415463 h 485775"/>
                <a:gd name="connsiteX227" fmla="*/ 485405 w 923925"/>
                <a:gd name="connsiteY227" fmla="*/ 419159 h 485775"/>
                <a:gd name="connsiteX228" fmla="*/ 489095 w 923925"/>
                <a:gd name="connsiteY228" fmla="*/ 415463 h 485775"/>
                <a:gd name="connsiteX229" fmla="*/ 500162 w 923925"/>
                <a:gd name="connsiteY229" fmla="*/ 411777 h 485775"/>
                <a:gd name="connsiteX230" fmla="*/ 503851 w 923925"/>
                <a:gd name="connsiteY230" fmla="*/ 411777 h 485775"/>
                <a:gd name="connsiteX231" fmla="*/ 503851 w 923925"/>
                <a:gd name="connsiteY231" fmla="*/ 408091 h 485775"/>
                <a:gd name="connsiteX232" fmla="*/ 525986 w 923925"/>
                <a:gd name="connsiteY232" fmla="*/ 422845 h 485775"/>
                <a:gd name="connsiteX233" fmla="*/ 518608 w 923925"/>
                <a:gd name="connsiteY233" fmla="*/ 452372 h 485775"/>
                <a:gd name="connsiteX234" fmla="*/ 522297 w 923925"/>
                <a:gd name="connsiteY234" fmla="*/ 456068 h 485775"/>
                <a:gd name="connsiteX235" fmla="*/ 537051 w 923925"/>
                <a:gd name="connsiteY235" fmla="*/ 452372 h 485775"/>
                <a:gd name="connsiteX236" fmla="*/ 551815 w 923925"/>
                <a:gd name="connsiteY236" fmla="*/ 456068 h 485775"/>
                <a:gd name="connsiteX237" fmla="*/ 562874 w 923925"/>
                <a:gd name="connsiteY237" fmla="*/ 456068 h 485775"/>
                <a:gd name="connsiteX238" fmla="*/ 570255 w 923925"/>
                <a:gd name="connsiteY238" fmla="*/ 456068 h 485775"/>
                <a:gd name="connsiteX239" fmla="*/ 573942 w 923925"/>
                <a:gd name="connsiteY239" fmla="*/ 452372 h 485775"/>
                <a:gd name="connsiteX240" fmla="*/ 577637 w 923925"/>
                <a:gd name="connsiteY240" fmla="*/ 444990 h 485775"/>
                <a:gd name="connsiteX241" fmla="*/ 588705 w 923925"/>
                <a:gd name="connsiteY241" fmla="*/ 448686 h 485775"/>
                <a:gd name="connsiteX242" fmla="*/ 603460 w 923925"/>
                <a:gd name="connsiteY242" fmla="*/ 452372 h 485775"/>
                <a:gd name="connsiteX243" fmla="*/ 610841 w 923925"/>
                <a:gd name="connsiteY243" fmla="*/ 456068 h 485775"/>
                <a:gd name="connsiteX244" fmla="*/ 621910 w 923925"/>
                <a:gd name="connsiteY244" fmla="*/ 444990 h 485775"/>
                <a:gd name="connsiteX245" fmla="*/ 625596 w 923925"/>
                <a:gd name="connsiteY245" fmla="*/ 441304 h 485775"/>
                <a:gd name="connsiteX246" fmla="*/ 636664 w 923925"/>
                <a:gd name="connsiteY246" fmla="*/ 437608 h 485775"/>
                <a:gd name="connsiteX247" fmla="*/ 640350 w 923925"/>
                <a:gd name="connsiteY247" fmla="*/ 433922 h 485775"/>
                <a:gd name="connsiteX248" fmla="*/ 644036 w 923925"/>
                <a:gd name="connsiteY248" fmla="*/ 430227 h 485775"/>
                <a:gd name="connsiteX249" fmla="*/ 644036 w 923925"/>
                <a:gd name="connsiteY249" fmla="*/ 426540 h 485775"/>
                <a:gd name="connsiteX250" fmla="*/ 647732 w 923925"/>
                <a:gd name="connsiteY250" fmla="*/ 426540 h 485775"/>
                <a:gd name="connsiteX251" fmla="*/ 662486 w 923925"/>
                <a:gd name="connsiteY251" fmla="*/ 430227 h 485775"/>
                <a:gd name="connsiteX252" fmla="*/ 662486 w 923925"/>
                <a:gd name="connsiteY252" fmla="*/ 433922 h 485775"/>
                <a:gd name="connsiteX253" fmla="*/ 666172 w 923925"/>
                <a:gd name="connsiteY253" fmla="*/ 441304 h 485775"/>
                <a:gd name="connsiteX254" fmla="*/ 677240 w 923925"/>
                <a:gd name="connsiteY254" fmla="*/ 448686 h 485775"/>
                <a:gd name="connsiteX255" fmla="*/ 680936 w 923925"/>
                <a:gd name="connsiteY255" fmla="*/ 452372 h 485775"/>
                <a:gd name="connsiteX256" fmla="*/ 680936 w 923925"/>
                <a:gd name="connsiteY256" fmla="*/ 456068 h 485775"/>
                <a:gd name="connsiteX257" fmla="*/ 680936 w 923925"/>
                <a:gd name="connsiteY257" fmla="*/ 459754 h 485775"/>
                <a:gd name="connsiteX258" fmla="*/ 680936 w 923925"/>
                <a:gd name="connsiteY258" fmla="*/ 463440 h 485775"/>
                <a:gd name="connsiteX259" fmla="*/ 680936 w 923925"/>
                <a:gd name="connsiteY259" fmla="*/ 467136 h 485775"/>
                <a:gd name="connsiteX260" fmla="*/ 680936 w 923925"/>
                <a:gd name="connsiteY260" fmla="*/ 474518 h 485775"/>
                <a:gd name="connsiteX261" fmla="*/ 684622 w 923925"/>
                <a:gd name="connsiteY261" fmla="*/ 489282 h 485775"/>
                <a:gd name="connsiteX262" fmla="*/ 688308 w 923925"/>
                <a:gd name="connsiteY262" fmla="*/ 489282 h 485775"/>
                <a:gd name="connsiteX263" fmla="*/ 699376 w 923925"/>
                <a:gd name="connsiteY263" fmla="*/ 485586 h 485775"/>
                <a:gd name="connsiteX264" fmla="*/ 703063 w 923925"/>
                <a:gd name="connsiteY264" fmla="*/ 485586 h 485775"/>
                <a:gd name="connsiteX265" fmla="*/ 714131 w 923925"/>
                <a:gd name="connsiteY265" fmla="*/ 481900 h 485775"/>
                <a:gd name="connsiteX266" fmla="*/ 714131 w 923925"/>
                <a:gd name="connsiteY266" fmla="*/ 467136 h 485775"/>
                <a:gd name="connsiteX267" fmla="*/ 717826 w 923925"/>
                <a:gd name="connsiteY267" fmla="*/ 448686 h 485775"/>
                <a:gd name="connsiteX268" fmla="*/ 725199 w 923925"/>
                <a:gd name="connsiteY268" fmla="*/ 433922 h 485775"/>
                <a:gd name="connsiteX269" fmla="*/ 728894 w 923925"/>
                <a:gd name="connsiteY269" fmla="*/ 426540 h 485775"/>
                <a:gd name="connsiteX270" fmla="*/ 739962 w 923925"/>
                <a:gd name="connsiteY270" fmla="*/ 415463 h 485775"/>
                <a:gd name="connsiteX271" fmla="*/ 754717 w 923925"/>
                <a:gd name="connsiteY271" fmla="*/ 408091 h 485775"/>
                <a:gd name="connsiteX272" fmla="*/ 758403 w 923925"/>
                <a:gd name="connsiteY272" fmla="*/ 408091 h 485775"/>
                <a:gd name="connsiteX273" fmla="*/ 776853 w 923925"/>
                <a:gd name="connsiteY273" fmla="*/ 404395 h 485775"/>
                <a:gd name="connsiteX274" fmla="*/ 784225 w 923925"/>
                <a:gd name="connsiteY274" fmla="*/ 400709 h 485775"/>
                <a:gd name="connsiteX275" fmla="*/ 787921 w 923925"/>
                <a:gd name="connsiteY275" fmla="*/ 400709 h 485775"/>
                <a:gd name="connsiteX276" fmla="*/ 791607 w 923925"/>
                <a:gd name="connsiteY276" fmla="*/ 397013 h 485775"/>
                <a:gd name="connsiteX277" fmla="*/ 821125 w 923925"/>
                <a:gd name="connsiteY277" fmla="*/ 389631 h 485775"/>
                <a:gd name="connsiteX278" fmla="*/ 832193 w 923925"/>
                <a:gd name="connsiteY278" fmla="*/ 385945 h 485775"/>
                <a:gd name="connsiteX279" fmla="*/ 835879 w 923925"/>
                <a:gd name="connsiteY279" fmla="*/ 385945 h 485775"/>
                <a:gd name="connsiteX280" fmla="*/ 839565 w 923925"/>
                <a:gd name="connsiteY280" fmla="*/ 382249 h 485775"/>
                <a:gd name="connsiteX281" fmla="*/ 843252 w 923925"/>
                <a:gd name="connsiteY281" fmla="*/ 382249 h 485775"/>
                <a:gd name="connsiteX282" fmla="*/ 850633 w 923925"/>
                <a:gd name="connsiteY282" fmla="*/ 374867 h 485775"/>
                <a:gd name="connsiteX283" fmla="*/ 861701 w 923925"/>
                <a:gd name="connsiteY283" fmla="*/ 363799 h 485775"/>
                <a:gd name="connsiteX284" fmla="*/ 869083 w 923925"/>
                <a:gd name="connsiteY284" fmla="*/ 360113 h 485775"/>
                <a:gd name="connsiteX285" fmla="*/ 861701 w 923925"/>
                <a:gd name="connsiteY285" fmla="*/ 349036 h 485775"/>
                <a:gd name="connsiteX286" fmla="*/ 854319 w 923925"/>
                <a:gd name="connsiteY286" fmla="*/ 334272 h 485775"/>
                <a:gd name="connsiteX287" fmla="*/ 839565 w 923925"/>
                <a:gd name="connsiteY287" fmla="*/ 308440 h 485775"/>
                <a:gd name="connsiteX288" fmla="*/ 839565 w 923925"/>
                <a:gd name="connsiteY288" fmla="*/ 304754 h 485775"/>
                <a:gd name="connsiteX289" fmla="*/ 832193 w 923925"/>
                <a:gd name="connsiteY289" fmla="*/ 271531 h 485775"/>
                <a:gd name="connsiteX290" fmla="*/ 828497 w 923925"/>
                <a:gd name="connsiteY290" fmla="*/ 264158 h 485775"/>
                <a:gd name="connsiteX291" fmla="*/ 828497 w 923925"/>
                <a:gd name="connsiteY291" fmla="*/ 256776 h 485775"/>
                <a:gd name="connsiteX292" fmla="*/ 824811 w 923925"/>
                <a:gd name="connsiteY292" fmla="*/ 245699 h 485775"/>
                <a:gd name="connsiteX293" fmla="*/ 821125 w 923925"/>
                <a:gd name="connsiteY293" fmla="*/ 212485 h 485775"/>
                <a:gd name="connsiteX294" fmla="*/ 835879 w 923925"/>
                <a:gd name="connsiteY294" fmla="*/ 216181 h 485775"/>
                <a:gd name="connsiteX295" fmla="*/ 846947 w 923925"/>
                <a:gd name="connsiteY295" fmla="*/ 219867 h 485775"/>
                <a:gd name="connsiteX296" fmla="*/ 854319 w 923925"/>
                <a:gd name="connsiteY296" fmla="*/ 223553 h 485775"/>
                <a:gd name="connsiteX297" fmla="*/ 861701 w 923925"/>
                <a:gd name="connsiteY297" fmla="*/ 223553 h 485775"/>
                <a:gd name="connsiteX298" fmla="*/ 869083 w 923925"/>
                <a:gd name="connsiteY298" fmla="*/ 223553 h 485775"/>
                <a:gd name="connsiteX299" fmla="*/ 876456 w 923925"/>
                <a:gd name="connsiteY299" fmla="*/ 219867 h 485775"/>
                <a:gd name="connsiteX300" fmla="*/ 887524 w 923925"/>
                <a:gd name="connsiteY300" fmla="*/ 216181 h 485775"/>
                <a:gd name="connsiteX301" fmla="*/ 894905 w 923925"/>
                <a:gd name="connsiteY301" fmla="*/ 212485 h 485775"/>
                <a:gd name="connsiteX302" fmla="*/ 902287 w 923925"/>
                <a:gd name="connsiteY302" fmla="*/ 208799 h 485775"/>
                <a:gd name="connsiteX303" fmla="*/ 902287 w 923925"/>
                <a:gd name="connsiteY303" fmla="*/ 212485 h 485775"/>
                <a:gd name="connsiteX304" fmla="*/ 905974 w 923925"/>
                <a:gd name="connsiteY304" fmla="*/ 212485 h 485775"/>
                <a:gd name="connsiteX305" fmla="*/ 909660 w 923925"/>
                <a:gd name="connsiteY305" fmla="*/ 216181 h 485775"/>
                <a:gd name="connsiteX306" fmla="*/ 917042 w 923925"/>
                <a:gd name="connsiteY306" fmla="*/ 223553 h 485775"/>
                <a:gd name="connsiteX307" fmla="*/ 917042 w 923925"/>
                <a:gd name="connsiteY307" fmla="*/ 219867 h 485775"/>
                <a:gd name="connsiteX308" fmla="*/ 920728 w 923925"/>
                <a:gd name="connsiteY308" fmla="*/ 219867 h 485775"/>
                <a:gd name="connsiteX309" fmla="*/ 924414 w 923925"/>
                <a:gd name="connsiteY309" fmla="*/ 219867 h 485775"/>
                <a:gd name="connsiteX310" fmla="*/ 920728 w 923925"/>
                <a:gd name="connsiteY310" fmla="*/ 216181 h 485775"/>
                <a:gd name="connsiteX311" fmla="*/ 920728 w 923925"/>
                <a:gd name="connsiteY311" fmla="*/ 212485 h 485775"/>
                <a:gd name="connsiteX312" fmla="*/ 920728 w 923925"/>
                <a:gd name="connsiteY312" fmla="*/ 208799 h 485775"/>
                <a:gd name="connsiteX313" fmla="*/ 920728 w 923925"/>
                <a:gd name="connsiteY313" fmla="*/ 205103 h 485775"/>
                <a:gd name="connsiteX314" fmla="*/ 920728 w 923925"/>
                <a:gd name="connsiteY314" fmla="*/ 201417 h 485775"/>
                <a:gd name="connsiteX315" fmla="*/ 917042 w 923925"/>
                <a:gd name="connsiteY315" fmla="*/ 194035 h 485775"/>
                <a:gd name="connsiteX316" fmla="*/ 913356 w 923925"/>
                <a:gd name="connsiteY316" fmla="*/ 190339 h 485775"/>
                <a:gd name="connsiteX317" fmla="*/ 913356 w 923925"/>
                <a:gd name="connsiteY317" fmla="*/ 186653 h 485775"/>
                <a:gd name="connsiteX318" fmla="*/ 913356 w 923925"/>
                <a:gd name="connsiteY318" fmla="*/ 175576 h 485775"/>
                <a:gd name="connsiteX319" fmla="*/ 909660 w 923925"/>
                <a:gd name="connsiteY319" fmla="*/ 171890 h 485775"/>
                <a:gd name="connsiteX320" fmla="*/ 909660 w 923925"/>
                <a:gd name="connsiteY320" fmla="*/ 168203 h 485775"/>
                <a:gd name="connsiteX321" fmla="*/ 905974 w 923925"/>
                <a:gd name="connsiteY321" fmla="*/ 164508 h 485775"/>
                <a:gd name="connsiteX322" fmla="*/ 902287 w 923925"/>
                <a:gd name="connsiteY322" fmla="*/ 160821 h 485775"/>
                <a:gd name="connsiteX323" fmla="*/ 898592 w 923925"/>
                <a:gd name="connsiteY323" fmla="*/ 157126 h 485775"/>
                <a:gd name="connsiteX324" fmla="*/ 887524 w 923925"/>
                <a:gd name="connsiteY324" fmla="*/ 153440 h 485775"/>
                <a:gd name="connsiteX325" fmla="*/ 887524 w 923925"/>
                <a:gd name="connsiteY325" fmla="*/ 149744 h 485775"/>
                <a:gd name="connsiteX326" fmla="*/ 883838 w 923925"/>
                <a:gd name="connsiteY326" fmla="*/ 146058 h 485775"/>
                <a:gd name="connsiteX327" fmla="*/ 883838 w 923925"/>
                <a:gd name="connsiteY327" fmla="*/ 134980 h 485775"/>
                <a:gd name="connsiteX328" fmla="*/ 883838 w 923925"/>
                <a:gd name="connsiteY328" fmla="*/ 131294 h 485775"/>
                <a:gd name="connsiteX329" fmla="*/ 883838 w 923925"/>
                <a:gd name="connsiteY329" fmla="*/ 127598 h 485775"/>
                <a:gd name="connsiteX330" fmla="*/ 883838 w 923925"/>
                <a:gd name="connsiteY330" fmla="*/ 120226 h 485775"/>
                <a:gd name="connsiteX331" fmla="*/ 880151 w 923925"/>
                <a:gd name="connsiteY331" fmla="*/ 120226 h 485775"/>
                <a:gd name="connsiteX332" fmla="*/ 880151 w 923925"/>
                <a:gd name="connsiteY332" fmla="*/ 116530 h 485775"/>
                <a:gd name="connsiteX333" fmla="*/ 880151 w 923925"/>
                <a:gd name="connsiteY333" fmla="*/ 109148 h 485775"/>
                <a:gd name="connsiteX334" fmla="*/ 876456 w 923925"/>
                <a:gd name="connsiteY334" fmla="*/ 98080 h 485775"/>
                <a:gd name="connsiteX335" fmla="*/ 872769 w 923925"/>
                <a:gd name="connsiteY335" fmla="*/ 98080 h 485775"/>
                <a:gd name="connsiteX336" fmla="*/ 869083 w 923925"/>
                <a:gd name="connsiteY336" fmla="*/ 94385 h 485775"/>
                <a:gd name="connsiteX337" fmla="*/ 861701 w 923925"/>
                <a:gd name="connsiteY337" fmla="*/ 94385 h 485775"/>
                <a:gd name="connsiteX338" fmla="*/ 854319 w 923925"/>
                <a:gd name="connsiteY338" fmla="*/ 90698 h 485775"/>
                <a:gd name="connsiteX339" fmla="*/ 846947 w 923925"/>
                <a:gd name="connsiteY339" fmla="*/ 90698 h 485775"/>
                <a:gd name="connsiteX340" fmla="*/ 843252 w 923925"/>
                <a:gd name="connsiteY340" fmla="*/ 87003 h 485775"/>
                <a:gd name="connsiteX341" fmla="*/ 843252 w 923925"/>
                <a:gd name="connsiteY341" fmla="*/ 79621 h 485775"/>
                <a:gd name="connsiteX342" fmla="*/ 839565 w 923925"/>
                <a:gd name="connsiteY342" fmla="*/ 72248 h 485775"/>
                <a:gd name="connsiteX343" fmla="*/ 839565 w 923925"/>
                <a:gd name="connsiteY343" fmla="*/ 68553 h 485775"/>
                <a:gd name="connsiteX344" fmla="*/ 839565 w 923925"/>
                <a:gd name="connsiteY344" fmla="*/ 64867 h 485775"/>
                <a:gd name="connsiteX345" fmla="*/ 835879 w 923925"/>
                <a:gd name="connsiteY345" fmla="*/ 64867 h 485775"/>
                <a:gd name="connsiteX346" fmla="*/ 832193 w 923925"/>
                <a:gd name="connsiteY346" fmla="*/ 61171 h 485775"/>
                <a:gd name="connsiteX347" fmla="*/ 828497 w 923925"/>
                <a:gd name="connsiteY347" fmla="*/ 61171 h 485775"/>
                <a:gd name="connsiteX348" fmla="*/ 821125 w 923925"/>
                <a:gd name="connsiteY348" fmla="*/ 61171 h 485775"/>
                <a:gd name="connsiteX349" fmla="*/ 810057 w 923925"/>
                <a:gd name="connsiteY349" fmla="*/ 61171 h 485775"/>
                <a:gd name="connsiteX350" fmla="*/ 806361 w 923925"/>
                <a:gd name="connsiteY350" fmla="*/ 61171 h 485775"/>
                <a:gd name="connsiteX351" fmla="*/ 795293 w 923925"/>
                <a:gd name="connsiteY351" fmla="*/ 64867 h 485775"/>
                <a:gd name="connsiteX352" fmla="*/ 791607 w 923925"/>
                <a:gd name="connsiteY352" fmla="*/ 64867 h 485775"/>
                <a:gd name="connsiteX353" fmla="*/ 784225 w 923925"/>
                <a:gd name="connsiteY353" fmla="*/ 64867 h 485775"/>
                <a:gd name="connsiteX354" fmla="*/ 780539 w 923925"/>
                <a:gd name="connsiteY354" fmla="*/ 64867 h 485775"/>
                <a:gd name="connsiteX355" fmla="*/ 776853 w 923925"/>
                <a:gd name="connsiteY355" fmla="*/ 64867 h 485775"/>
                <a:gd name="connsiteX356" fmla="*/ 773157 w 923925"/>
                <a:gd name="connsiteY356" fmla="*/ 61171 h 485775"/>
                <a:gd name="connsiteX357" fmla="*/ 773157 w 923925"/>
                <a:gd name="connsiteY357" fmla="*/ 57485 h 485775"/>
                <a:gd name="connsiteX358" fmla="*/ 769471 w 923925"/>
                <a:gd name="connsiteY358" fmla="*/ 53789 h 485775"/>
                <a:gd name="connsiteX359" fmla="*/ 765785 w 923925"/>
                <a:gd name="connsiteY359" fmla="*/ 50103 h 485775"/>
                <a:gd name="connsiteX360" fmla="*/ 762098 w 923925"/>
                <a:gd name="connsiteY360" fmla="*/ 50103 h 485775"/>
                <a:gd name="connsiteX361" fmla="*/ 758403 w 923925"/>
                <a:gd name="connsiteY361" fmla="*/ 50103 h 485775"/>
                <a:gd name="connsiteX362" fmla="*/ 754717 w 923925"/>
                <a:gd name="connsiteY362" fmla="*/ 46407 h 485775"/>
                <a:gd name="connsiteX363" fmla="*/ 751030 w 923925"/>
                <a:gd name="connsiteY363" fmla="*/ 46407 h 485775"/>
                <a:gd name="connsiteX364" fmla="*/ 751030 w 923925"/>
                <a:gd name="connsiteY364" fmla="*/ 39025 h 485775"/>
                <a:gd name="connsiteX365" fmla="*/ 747335 w 923925"/>
                <a:gd name="connsiteY365" fmla="*/ 39025 h 485775"/>
                <a:gd name="connsiteX366" fmla="*/ 743649 w 923925"/>
                <a:gd name="connsiteY366" fmla="*/ 35339 h 485775"/>
                <a:gd name="connsiteX367" fmla="*/ 739962 w 923925"/>
                <a:gd name="connsiteY367" fmla="*/ 35339 h 485775"/>
                <a:gd name="connsiteX368" fmla="*/ 736267 w 923925"/>
                <a:gd name="connsiteY368" fmla="*/ 35339 h 485775"/>
                <a:gd name="connsiteX369" fmla="*/ 732581 w 923925"/>
                <a:gd name="connsiteY369" fmla="*/ 31643 h 485775"/>
                <a:gd name="connsiteX370" fmla="*/ 728894 w 923925"/>
                <a:gd name="connsiteY370" fmla="*/ 27957 h 485775"/>
                <a:gd name="connsiteX371" fmla="*/ 725199 w 923925"/>
                <a:gd name="connsiteY371" fmla="*/ 24271 h 485775"/>
                <a:gd name="connsiteX372" fmla="*/ 725199 w 923925"/>
                <a:gd name="connsiteY372" fmla="*/ 16889 h 485775"/>
                <a:gd name="connsiteX373" fmla="*/ 721512 w 923925"/>
                <a:gd name="connsiteY373" fmla="*/ 13194 h 485775"/>
                <a:gd name="connsiteX374" fmla="*/ 714131 w 923925"/>
                <a:gd name="connsiteY374" fmla="*/ 13194 h 485775"/>
                <a:gd name="connsiteX375" fmla="*/ 710444 w 923925"/>
                <a:gd name="connsiteY375" fmla="*/ 13194 h 485775"/>
                <a:gd name="connsiteX376" fmla="*/ 706758 w 923925"/>
                <a:gd name="connsiteY376" fmla="*/ 9507 h 485775"/>
                <a:gd name="connsiteX377" fmla="*/ 699376 w 923925"/>
                <a:gd name="connsiteY377" fmla="*/ 5812 h 485775"/>
                <a:gd name="connsiteX378" fmla="*/ 695690 w 923925"/>
                <a:gd name="connsiteY378" fmla="*/ 5812 h 485775"/>
                <a:gd name="connsiteX379" fmla="*/ 692004 w 923925"/>
                <a:gd name="connsiteY379" fmla="*/ 5812 h 485775"/>
                <a:gd name="connsiteX380" fmla="*/ 684622 w 923925"/>
                <a:gd name="connsiteY380" fmla="*/ 5812 h 485775"/>
                <a:gd name="connsiteX381" fmla="*/ 680936 w 923925"/>
                <a:gd name="connsiteY381" fmla="*/ 5812 h 485775"/>
                <a:gd name="connsiteX382" fmla="*/ 677240 w 923925"/>
                <a:gd name="connsiteY382" fmla="*/ 9507 h 485775"/>
                <a:gd name="connsiteX383" fmla="*/ 677240 w 923925"/>
                <a:gd name="connsiteY383" fmla="*/ 13194 h 485775"/>
                <a:gd name="connsiteX384" fmla="*/ 673554 w 923925"/>
                <a:gd name="connsiteY384" fmla="*/ 16889 h 485775"/>
                <a:gd name="connsiteX385" fmla="*/ 669868 w 923925"/>
                <a:gd name="connsiteY385" fmla="*/ 16889 h 485775"/>
                <a:gd name="connsiteX386" fmla="*/ 666172 w 923925"/>
                <a:gd name="connsiteY386" fmla="*/ 13194 h 485775"/>
                <a:gd name="connsiteX387" fmla="*/ 662486 w 923925"/>
                <a:gd name="connsiteY387" fmla="*/ 13194 h 485775"/>
                <a:gd name="connsiteX388" fmla="*/ 658800 w 923925"/>
                <a:gd name="connsiteY388" fmla="*/ 13194 h 485775"/>
                <a:gd name="connsiteX389" fmla="*/ 658800 w 923925"/>
                <a:gd name="connsiteY389" fmla="*/ 9507 h 485775"/>
                <a:gd name="connsiteX390" fmla="*/ 655104 w 923925"/>
                <a:gd name="connsiteY390" fmla="*/ 5812 h 485775"/>
                <a:gd name="connsiteX391" fmla="*/ 651418 w 923925"/>
                <a:gd name="connsiteY391" fmla="*/ 5812 h 485775"/>
                <a:gd name="connsiteX392" fmla="*/ 647732 w 923925"/>
                <a:gd name="connsiteY392" fmla="*/ 5812 h 485775"/>
                <a:gd name="connsiteX393" fmla="*/ 644036 w 923925"/>
                <a:gd name="connsiteY393" fmla="*/ 5812 h 485775"/>
                <a:gd name="connsiteX394" fmla="*/ 644036 w 923925"/>
                <a:gd name="connsiteY394" fmla="*/ 9507 h 485775"/>
                <a:gd name="connsiteX395" fmla="*/ 640350 w 923925"/>
                <a:gd name="connsiteY395" fmla="*/ 16889 h 485775"/>
                <a:gd name="connsiteX396" fmla="*/ 636664 w 923925"/>
                <a:gd name="connsiteY396" fmla="*/ 20575 h 485775"/>
                <a:gd name="connsiteX397" fmla="*/ 629282 w 923925"/>
                <a:gd name="connsiteY397" fmla="*/ 20575 h 485775"/>
                <a:gd name="connsiteX398" fmla="*/ 621910 w 923925"/>
                <a:gd name="connsiteY398" fmla="*/ 20575 h 485775"/>
                <a:gd name="connsiteX399" fmla="*/ 618214 w 923925"/>
                <a:gd name="connsiteY399" fmla="*/ 20575 h 485775"/>
                <a:gd name="connsiteX400" fmla="*/ 614528 w 923925"/>
                <a:gd name="connsiteY400" fmla="*/ 16889 h 485775"/>
                <a:gd name="connsiteX401" fmla="*/ 610841 w 923925"/>
                <a:gd name="connsiteY401" fmla="*/ 13194 h 485775"/>
                <a:gd name="connsiteX402" fmla="*/ 610841 w 923925"/>
                <a:gd name="connsiteY402" fmla="*/ 9507 h 485775"/>
                <a:gd name="connsiteX403" fmla="*/ 607146 w 923925"/>
                <a:gd name="connsiteY403" fmla="*/ 9507 h 485775"/>
                <a:gd name="connsiteX404" fmla="*/ 603460 w 923925"/>
                <a:gd name="connsiteY404" fmla="*/ 13194 h 485775"/>
                <a:gd name="connsiteX405" fmla="*/ 603460 w 923925"/>
                <a:gd name="connsiteY405" fmla="*/ 16889 h 485775"/>
                <a:gd name="connsiteX406" fmla="*/ 599773 w 923925"/>
                <a:gd name="connsiteY406" fmla="*/ 20575 h 485775"/>
                <a:gd name="connsiteX407" fmla="*/ 596078 w 923925"/>
                <a:gd name="connsiteY407" fmla="*/ 24271 h 485775"/>
                <a:gd name="connsiteX408" fmla="*/ 588705 w 923925"/>
                <a:gd name="connsiteY408" fmla="*/ 35339 h 485775"/>
                <a:gd name="connsiteX409" fmla="*/ 588705 w 923925"/>
                <a:gd name="connsiteY409" fmla="*/ 39025 h 485775"/>
                <a:gd name="connsiteX410" fmla="*/ 585010 w 923925"/>
                <a:gd name="connsiteY410" fmla="*/ 46407 h 485775"/>
                <a:gd name="connsiteX411" fmla="*/ 585010 w 923925"/>
                <a:gd name="connsiteY411" fmla="*/ 53789 h 485775"/>
                <a:gd name="connsiteX412" fmla="*/ 585010 w 923925"/>
                <a:gd name="connsiteY412" fmla="*/ 61171 h 485775"/>
                <a:gd name="connsiteX413" fmla="*/ 581323 w 923925"/>
                <a:gd name="connsiteY413" fmla="*/ 61171 h 485775"/>
                <a:gd name="connsiteX414" fmla="*/ 581323 w 923925"/>
                <a:gd name="connsiteY414" fmla="*/ 64867 h 485775"/>
                <a:gd name="connsiteX415" fmla="*/ 562874 w 923925"/>
                <a:gd name="connsiteY415" fmla="*/ 72248 h 485775"/>
                <a:gd name="connsiteX416" fmla="*/ 555501 w 923925"/>
                <a:gd name="connsiteY416" fmla="*/ 75935 h 485775"/>
                <a:gd name="connsiteX417" fmla="*/ 555501 w 923925"/>
                <a:gd name="connsiteY417" fmla="*/ 79621 h 485775"/>
                <a:gd name="connsiteX418" fmla="*/ 551815 w 923925"/>
                <a:gd name="connsiteY418" fmla="*/ 79621 h 485775"/>
                <a:gd name="connsiteX419" fmla="*/ 544433 w 923925"/>
                <a:gd name="connsiteY419" fmla="*/ 75935 h 485775"/>
                <a:gd name="connsiteX420" fmla="*/ 537051 w 923925"/>
                <a:gd name="connsiteY420" fmla="*/ 75935 h 485775"/>
                <a:gd name="connsiteX421" fmla="*/ 533365 w 923925"/>
                <a:gd name="connsiteY421" fmla="*/ 79621 h 485775"/>
                <a:gd name="connsiteX422" fmla="*/ 529675 w 923925"/>
                <a:gd name="connsiteY422" fmla="*/ 83317 h 485775"/>
                <a:gd name="connsiteX423" fmla="*/ 525986 w 923925"/>
                <a:gd name="connsiteY423" fmla="*/ 79621 h 485775"/>
                <a:gd name="connsiteX424" fmla="*/ 518608 w 923925"/>
                <a:gd name="connsiteY424" fmla="*/ 75935 h 485775"/>
                <a:gd name="connsiteX425" fmla="*/ 514919 w 923925"/>
                <a:gd name="connsiteY425" fmla="*/ 72248 h 485775"/>
                <a:gd name="connsiteX426" fmla="*/ 511230 w 923925"/>
                <a:gd name="connsiteY426" fmla="*/ 75935 h 485775"/>
                <a:gd name="connsiteX427" fmla="*/ 507540 w 923925"/>
                <a:gd name="connsiteY427" fmla="*/ 75935 h 485775"/>
                <a:gd name="connsiteX428" fmla="*/ 503851 w 923925"/>
                <a:gd name="connsiteY428" fmla="*/ 75935 h 485775"/>
                <a:gd name="connsiteX429" fmla="*/ 496473 w 923925"/>
                <a:gd name="connsiteY429" fmla="*/ 75935 h 485775"/>
                <a:gd name="connsiteX430" fmla="*/ 492784 w 923925"/>
                <a:gd name="connsiteY430" fmla="*/ 75935 h 485775"/>
                <a:gd name="connsiteX431" fmla="*/ 485405 w 923925"/>
                <a:gd name="connsiteY431" fmla="*/ 75935 h 485775"/>
                <a:gd name="connsiteX432" fmla="*/ 478027 w 923925"/>
                <a:gd name="connsiteY432" fmla="*/ 75935 h 485775"/>
                <a:gd name="connsiteX433" fmla="*/ 470649 w 923925"/>
                <a:gd name="connsiteY433" fmla="*/ 79621 h 485775"/>
                <a:gd name="connsiteX434" fmla="*/ 466960 w 923925"/>
                <a:gd name="connsiteY434" fmla="*/ 75935 h 485775"/>
                <a:gd name="connsiteX435" fmla="*/ 466960 w 923925"/>
                <a:gd name="connsiteY435" fmla="*/ 72248 h 485775"/>
                <a:gd name="connsiteX436" fmla="*/ 470649 w 923925"/>
                <a:gd name="connsiteY436" fmla="*/ 72248 h 485775"/>
                <a:gd name="connsiteX437" fmla="*/ 474338 w 923925"/>
                <a:gd name="connsiteY437" fmla="*/ 68553 h 485775"/>
                <a:gd name="connsiteX438" fmla="*/ 478027 w 923925"/>
                <a:gd name="connsiteY438" fmla="*/ 64867 h 485775"/>
                <a:gd name="connsiteX439" fmla="*/ 474338 w 923925"/>
                <a:gd name="connsiteY439" fmla="*/ 61171 h 485775"/>
                <a:gd name="connsiteX440" fmla="*/ 474338 w 923925"/>
                <a:gd name="connsiteY440" fmla="*/ 57485 h 485775"/>
                <a:gd name="connsiteX441" fmla="*/ 474338 w 923925"/>
                <a:gd name="connsiteY441" fmla="*/ 53789 h 485775"/>
                <a:gd name="connsiteX442" fmla="*/ 474338 w 923925"/>
                <a:gd name="connsiteY442" fmla="*/ 50103 h 485775"/>
                <a:gd name="connsiteX443" fmla="*/ 463271 w 923925"/>
                <a:gd name="connsiteY443" fmla="*/ 46407 h 485775"/>
                <a:gd name="connsiteX444" fmla="*/ 459581 w 923925"/>
                <a:gd name="connsiteY444" fmla="*/ 42721 h 485775"/>
                <a:gd name="connsiteX445" fmla="*/ 455892 w 923925"/>
                <a:gd name="connsiteY445" fmla="*/ 39025 h 485775"/>
                <a:gd name="connsiteX446" fmla="*/ 452203 w 923925"/>
                <a:gd name="connsiteY446" fmla="*/ 39025 h 485775"/>
                <a:gd name="connsiteX447" fmla="*/ 448514 w 923925"/>
                <a:gd name="connsiteY447" fmla="*/ 42721 h 485775"/>
                <a:gd name="connsiteX448" fmla="*/ 444825 w 923925"/>
                <a:gd name="connsiteY448" fmla="*/ 46407 h 485775"/>
                <a:gd name="connsiteX449" fmla="*/ 441136 w 923925"/>
                <a:gd name="connsiteY449" fmla="*/ 46407 h 485775"/>
                <a:gd name="connsiteX450" fmla="*/ 441136 w 923925"/>
                <a:gd name="connsiteY450" fmla="*/ 42721 h 485775"/>
                <a:gd name="connsiteX451" fmla="*/ 437445 w 923925"/>
                <a:gd name="connsiteY451" fmla="*/ 42721 h 485775"/>
                <a:gd name="connsiteX452" fmla="*/ 437445 w 923925"/>
                <a:gd name="connsiteY452" fmla="*/ 39025 h 485775"/>
                <a:gd name="connsiteX453" fmla="*/ 433756 w 923925"/>
                <a:gd name="connsiteY453" fmla="*/ 35339 h 485775"/>
                <a:gd name="connsiteX454" fmla="*/ 433756 w 923925"/>
                <a:gd name="connsiteY454" fmla="*/ 31643 h 485775"/>
                <a:gd name="connsiteX455" fmla="*/ 430067 w 923925"/>
                <a:gd name="connsiteY455" fmla="*/ 31643 h 485775"/>
                <a:gd name="connsiteX456" fmla="*/ 426378 w 923925"/>
                <a:gd name="connsiteY456" fmla="*/ 27957 h 485775"/>
                <a:gd name="connsiteX457" fmla="*/ 419000 w 923925"/>
                <a:gd name="connsiteY457" fmla="*/ 24271 h 485775"/>
                <a:gd name="connsiteX458" fmla="*/ 415310 w 923925"/>
                <a:gd name="connsiteY458" fmla="*/ 20575 h 485775"/>
                <a:gd name="connsiteX459" fmla="*/ 411621 w 923925"/>
                <a:gd name="connsiteY459" fmla="*/ 20575 h 485775"/>
                <a:gd name="connsiteX460" fmla="*/ 411621 w 923925"/>
                <a:gd name="connsiteY460" fmla="*/ 16889 h 485775"/>
                <a:gd name="connsiteX461" fmla="*/ 411621 w 923925"/>
                <a:gd name="connsiteY461" fmla="*/ 13194 h 485775"/>
                <a:gd name="connsiteX462" fmla="*/ 407932 w 923925"/>
                <a:gd name="connsiteY462" fmla="*/ 13194 h 485775"/>
                <a:gd name="connsiteX463" fmla="*/ 400554 w 923925"/>
                <a:gd name="connsiteY463" fmla="*/ 13194 h 485775"/>
                <a:gd name="connsiteX464" fmla="*/ 396865 w 923925"/>
                <a:gd name="connsiteY464" fmla="*/ 9507 h 485775"/>
                <a:gd name="connsiteX465" fmla="*/ 393175 w 923925"/>
                <a:gd name="connsiteY465" fmla="*/ 9507 h 485775"/>
                <a:gd name="connsiteX466" fmla="*/ 385797 w 923925"/>
                <a:gd name="connsiteY466" fmla="*/ 9507 h 485775"/>
                <a:gd name="connsiteX467" fmla="*/ 378419 w 923925"/>
                <a:gd name="connsiteY467" fmla="*/ 5812 h 485775"/>
                <a:gd name="connsiteX468" fmla="*/ 374730 w 923925"/>
                <a:gd name="connsiteY468" fmla="*/ 5812 h 485775"/>
                <a:gd name="connsiteX469" fmla="*/ 371041 w 923925"/>
                <a:gd name="connsiteY469" fmla="*/ 5812 h 485775"/>
                <a:gd name="connsiteX470" fmla="*/ 363662 w 923925"/>
                <a:gd name="connsiteY470" fmla="*/ 5812 h 485775"/>
                <a:gd name="connsiteX471" fmla="*/ 367351 w 923925"/>
                <a:gd name="connsiteY471" fmla="*/ 349036 h 485775"/>
                <a:gd name="connsiteX472" fmla="*/ 363662 w 923925"/>
                <a:gd name="connsiteY472" fmla="*/ 349036 h 485775"/>
                <a:gd name="connsiteX473" fmla="*/ 359973 w 923925"/>
                <a:gd name="connsiteY473" fmla="*/ 349036 h 485775"/>
                <a:gd name="connsiteX474" fmla="*/ 363662 w 923925"/>
                <a:gd name="connsiteY474" fmla="*/ 352731 h 485775"/>
                <a:gd name="connsiteX475" fmla="*/ 367351 w 923925"/>
                <a:gd name="connsiteY475" fmla="*/ 349036 h 485775"/>
                <a:gd name="connsiteX476" fmla="*/ 363662 w 923925"/>
                <a:gd name="connsiteY476" fmla="*/ 308440 h 485775"/>
                <a:gd name="connsiteX477" fmla="*/ 367351 w 923925"/>
                <a:gd name="connsiteY477" fmla="*/ 308440 h 485775"/>
                <a:gd name="connsiteX478" fmla="*/ 367351 w 923925"/>
                <a:gd name="connsiteY478" fmla="*/ 312136 h 485775"/>
                <a:gd name="connsiteX479" fmla="*/ 371041 w 923925"/>
                <a:gd name="connsiteY479" fmla="*/ 315822 h 485775"/>
                <a:gd name="connsiteX480" fmla="*/ 374730 w 923925"/>
                <a:gd name="connsiteY480" fmla="*/ 315822 h 485775"/>
                <a:gd name="connsiteX481" fmla="*/ 374730 w 923925"/>
                <a:gd name="connsiteY481" fmla="*/ 319508 h 485775"/>
                <a:gd name="connsiteX482" fmla="*/ 374730 w 923925"/>
                <a:gd name="connsiteY482" fmla="*/ 323204 h 485775"/>
                <a:gd name="connsiteX483" fmla="*/ 371041 w 923925"/>
                <a:gd name="connsiteY483" fmla="*/ 323204 h 485775"/>
                <a:gd name="connsiteX484" fmla="*/ 367351 w 923925"/>
                <a:gd name="connsiteY484" fmla="*/ 319508 h 485775"/>
                <a:gd name="connsiteX485" fmla="*/ 363662 w 923925"/>
                <a:gd name="connsiteY485" fmla="*/ 319508 h 485775"/>
                <a:gd name="connsiteX486" fmla="*/ 367351 w 923925"/>
                <a:gd name="connsiteY486" fmla="*/ 315822 h 485775"/>
                <a:gd name="connsiteX487" fmla="*/ 363662 w 923925"/>
                <a:gd name="connsiteY487" fmla="*/ 312136 h 485775"/>
                <a:gd name="connsiteX488" fmla="*/ 363662 w 923925"/>
                <a:gd name="connsiteY488" fmla="*/ 308440 h 485775"/>
                <a:gd name="connsiteX489" fmla="*/ 371041 w 923925"/>
                <a:gd name="connsiteY489" fmla="*/ 308440 h 485775"/>
                <a:gd name="connsiteX490" fmla="*/ 374730 w 923925"/>
                <a:gd name="connsiteY490" fmla="*/ 312136 h 485775"/>
                <a:gd name="connsiteX491" fmla="*/ 371041 w 923925"/>
                <a:gd name="connsiteY491" fmla="*/ 312136 h 485775"/>
                <a:gd name="connsiteX492" fmla="*/ 371041 w 923925"/>
                <a:gd name="connsiteY492" fmla="*/ 308440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Lst>
              <a:rect l="l" t="t" r="r" b="b"/>
              <a:pathLst>
                <a:path w="923925" h="485775">
                  <a:moveTo>
                    <a:pt x="363662" y="5812"/>
                  </a:moveTo>
                  <a:lnTo>
                    <a:pt x="359973" y="9507"/>
                  </a:lnTo>
                  <a:lnTo>
                    <a:pt x="352595" y="13194"/>
                  </a:lnTo>
                  <a:lnTo>
                    <a:pt x="348906" y="13194"/>
                  </a:lnTo>
                  <a:lnTo>
                    <a:pt x="341527" y="24271"/>
                  </a:lnTo>
                  <a:lnTo>
                    <a:pt x="337838" y="24271"/>
                  </a:lnTo>
                  <a:lnTo>
                    <a:pt x="330460" y="27957"/>
                  </a:lnTo>
                  <a:lnTo>
                    <a:pt x="326771" y="27957"/>
                  </a:lnTo>
                  <a:lnTo>
                    <a:pt x="319392" y="27957"/>
                  </a:lnTo>
                  <a:lnTo>
                    <a:pt x="312014" y="27957"/>
                  </a:lnTo>
                  <a:lnTo>
                    <a:pt x="304636" y="27957"/>
                  </a:lnTo>
                  <a:lnTo>
                    <a:pt x="297257" y="31643"/>
                  </a:lnTo>
                  <a:lnTo>
                    <a:pt x="293568" y="31643"/>
                  </a:lnTo>
                  <a:lnTo>
                    <a:pt x="289878" y="35339"/>
                  </a:lnTo>
                  <a:lnTo>
                    <a:pt x="289878" y="39025"/>
                  </a:lnTo>
                  <a:lnTo>
                    <a:pt x="286189" y="42721"/>
                  </a:lnTo>
                  <a:lnTo>
                    <a:pt x="282500" y="46407"/>
                  </a:lnTo>
                  <a:lnTo>
                    <a:pt x="278811" y="57485"/>
                  </a:lnTo>
                  <a:lnTo>
                    <a:pt x="275121" y="61171"/>
                  </a:lnTo>
                  <a:lnTo>
                    <a:pt x="271432" y="68553"/>
                  </a:lnTo>
                  <a:lnTo>
                    <a:pt x="260365" y="75935"/>
                  </a:lnTo>
                  <a:lnTo>
                    <a:pt x="252986" y="79621"/>
                  </a:lnTo>
                  <a:lnTo>
                    <a:pt x="249297" y="83317"/>
                  </a:lnTo>
                  <a:lnTo>
                    <a:pt x="245608" y="87003"/>
                  </a:lnTo>
                  <a:lnTo>
                    <a:pt x="230851" y="90698"/>
                  </a:lnTo>
                  <a:lnTo>
                    <a:pt x="230851" y="94385"/>
                  </a:lnTo>
                  <a:lnTo>
                    <a:pt x="223473" y="98080"/>
                  </a:lnTo>
                  <a:lnTo>
                    <a:pt x="219784" y="101766"/>
                  </a:lnTo>
                  <a:lnTo>
                    <a:pt x="216095" y="101766"/>
                  </a:lnTo>
                  <a:lnTo>
                    <a:pt x="212406" y="105462"/>
                  </a:lnTo>
                  <a:lnTo>
                    <a:pt x="208717" y="109148"/>
                  </a:lnTo>
                  <a:lnTo>
                    <a:pt x="179203" y="116530"/>
                  </a:lnTo>
                  <a:lnTo>
                    <a:pt x="175514" y="116530"/>
                  </a:lnTo>
                  <a:lnTo>
                    <a:pt x="171825" y="116530"/>
                  </a:lnTo>
                  <a:lnTo>
                    <a:pt x="160757" y="120226"/>
                  </a:lnTo>
                  <a:lnTo>
                    <a:pt x="153379" y="120226"/>
                  </a:lnTo>
                  <a:lnTo>
                    <a:pt x="142311" y="116530"/>
                  </a:lnTo>
                  <a:lnTo>
                    <a:pt x="138621" y="112844"/>
                  </a:lnTo>
                  <a:lnTo>
                    <a:pt x="134932" y="112844"/>
                  </a:lnTo>
                  <a:lnTo>
                    <a:pt x="131243" y="109148"/>
                  </a:lnTo>
                  <a:lnTo>
                    <a:pt x="127554" y="109148"/>
                  </a:lnTo>
                  <a:lnTo>
                    <a:pt x="120176" y="109148"/>
                  </a:lnTo>
                  <a:lnTo>
                    <a:pt x="116487" y="112844"/>
                  </a:lnTo>
                  <a:lnTo>
                    <a:pt x="109108" y="116530"/>
                  </a:lnTo>
                  <a:lnTo>
                    <a:pt x="105419" y="120226"/>
                  </a:lnTo>
                  <a:lnTo>
                    <a:pt x="105419" y="123912"/>
                  </a:lnTo>
                  <a:lnTo>
                    <a:pt x="101730" y="131294"/>
                  </a:lnTo>
                  <a:lnTo>
                    <a:pt x="98041" y="134980"/>
                  </a:lnTo>
                  <a:lnTo>
                    <a:pt x="94352" y="138676"/>
                  </a:lnTo>
                  <a:lnTo>
                    <a:pt x="90662" y="142362"/>
                  </a:lnTo>
                  <a:lnTo>
                    <a:pt x="83284" y="146058"/>
                  </a:lnTo>
                  <a:lnTo>
                    <a:pt x="79595" y="146058"/>
                  </a:lnTo>
                  <a:lnTo>
                    <a:pt x="75906" y="149744"/>
                  </a:lnTo>
                  <a:lnTo>
                    <a:pt x="72217" y="149744"/>
                  </a:lnTo>
                  <a:lnTo>
                    <a:pt x="72217" y="146058"/>
                  </a:lnTo>
                  <a:lnTo>
                    <a:pt x="68527" y="146058"/>
                  </a:lnTo>
                  <a:lnTo>
                    <a:pt x="64838" y="149744"/>
                  </a:lnTo>
                  <a:lnTo>
                    <a:pt x="57460" y="149744"/>
                  </a:lnTo>
                  <a:lnTo>
                    <a:pt x="53771" y="149744"/>
                  </a:lnTo>
                  <a:lnTo>
                    <a:pt x="50082" y="153440"/>
                  </a:lnTo>
                  <a:lnTo>
                    <a:pt x="46393" y="153440"/>
                  </a:lnTo>
                  <a:lnTo>
                    <a:pt x="42703" y="153440"/>
                  </a:lnTo>
                  <a:lnTo>
                    <a:pt x="39014" y="160821"/>
                  </a:lnTo>
                  <a:lnTo>
                    <a:pt x="35325" y="160821"/>
                  </a:lnTo>
                  <a:lnTo>
                    <a:pt x="35325" y="157126"/>
                  </a:lnTo>
                  <a:lnTo>
                    <a:pt x="31636" y="157126"/>
                  </a:lnTo>
                  <a:lnTo>
                    <a:pt x="27947" y="157126"/>
                  </a:lnTo>
                  <a:lnTo>
                    <a:pt x="16879" y="160821"/>
                  </a:lnTo>
                  <a:lnTo>
                    <a:pt x="13190" y="164508"/>
                  </a:lnTo>
                  <a:lnTo>
                    <a:pt x="9501" y="168203"/>
                  </a:lnTo>
                  <a:lnTo>
                    <a:pt x="5812" y="175576"/>
                  </a:lnTo>
                  <a:lnTo>
                    <a:pt x="5812" y="179271"/>
                  </a:lnTo>
                  <a:lnTo>
                    <a:pt x="5812" y="186653"/>
                  </a:lnTo>
                  <a:lnTo>
                    <a:pt x="5812" y="190339"/>
                  </a:lnTo>
                  <a:lnTo>
                    <a:pt x="9501" y="194035"/>
                  </a:lnTo>
                  <a:lnTo>
                    <a:pt x="24258" y="212485"/>
                  </a:lnTo>
                  <a:lnTo>
                    <a:pt x="24258" y="219867"/>
                  </a:lnTo>
                  <a:lnTo>
                    <a:pt x="27947" y="223553"/>
                  </a:lnTo>
                  <a:lnTo>
                    <a:pt x="27947" y="227249"/>
                  </a:lnTo>
                  <a:lnTo>
                    <a:pt x="24258" y="234631"/>
                  </a:lnTo>
                  <a:lnTo>
                    <a:pt x="20568" y="245699"/>
                  </a:lnTo>
                  <a:lnTo>
                    <a:pt x="16879" y="253081"/>
                  </a:lnTo>
                  <a:lnTo>
                    <a:pt x="16879" y="256776"/>
                  </a:lnTo>
                  <a:lnTo>
                    <a:pt x="24258" y="271531"/>
                  </a:lnTo>
                  <a:lnTo>
                    <a:pt x="39014" y="312136"/>
                  </a:lnTo>
                  <a:lnTo>
                    <a:pt x="46393" y="323204"/>
                  </a:lnTo>
                  <a:lnTo>
                    <a:pt x="39014" y="326890"/>
                  </a:lnTo>
                  <a:lnTo>
                    <a:pt x="39014" y="330585"/>
                  </a:lnTo>
                  <a:lnTo>
                    <a:pt x="42703" y="341654"/>
                  </a:lnTo>
                  <a:lnTo>
                    <a:pt x="39014" y="352731"/>
                  </a:lnTo>
                  <a:lnTo>
                    <a:pt x="39014" y="356417"/>
                  </a:lnTo>
                  <a:lnTo>
                    <a:pt x="42703" y="356417"/>
                  </a:lnTo>
                  <a:lnTo>
                    <a:pt x="46393" y="360113"/>
                  </a:lnTo>
                  <a:lnTo>
                    <a:pt x="72217" y="360113"/>
                  </a:lnTo>
                  <a:lnTo>
                    <a:pt x="72217" y="363799"/>
                  </a:lnTo>
                  <a:lnTo>
                    <a:pt x="75906" y="367485"/>
                  </a:lnTo>
                  <a:lnTo>
                    <a:pt x="75906" y="378563"/>
                  </a:lnTo>
                  <a:lnTo>
                    <a:pt x="79595" y="374867"/>
                  </a:lnTo>
                  <a:lnTo>
                    <a:pt x="90662" y="378563"/>
                  </a:lnTo>
                  <a:lnTo>
                    <a:pt x="94352" y="378563"/>
                  </a:lnTo>
                  <a:lnTo>
                    <a:pt x="98041" y="378563"/>
                  </a:lnTo>
                  <a:lnTo>
                    <a:pt x="101730" y="378563"/>
                  </a:lnTo>
                  <a:lnTo>
                    <a:pt x="105419" y="378563"/>
                  </a:lnTo>
                  <a:lnTo>
                    <a:pt x="109108" y="374867"/>
                  </a:lnTo>
                  <a:lnTo>
                    <a:pt x="116487" y="371181"/>
                  </a:lnTo>
                  <a:lnTo>
                    <a:pt x="120176" y="371181"/>
                  </a:lnTo>
                  <a:lnTo>
                    <a:pt x="120176" y="367485"/>
                  </a:lnTo>
                  <a:lnTo>
                    <a:pt x="120176" y="363799"/>
                  </a:lnTo>
                  <a:lnTo>
                    <a:pt x="101730" y="337967"/>
                  </a:lnTo>
                  <a:lnTo>
                    <a:pt x="98041" y="326890"/>
                  </a:lnTo>
                  <a:lnTo>
                    <a:pt x="101730" y="323204"/>
                  </a:lnTo>
                  <a:lnTo>
                    <a:pt x="105419" y="323204"/>
                  </a:lnTo>
                  <a:lnTo>
                    <a:pt x="105419" y="319508"/>
                  </a:lnTo>
                  <a:lnTo>
                    <a:pt x="105419" y="315822"/>
                  </a:lnTo>
                  <a:lnTo>
                    <a:pt x="105419" y="312136"/>
                  </a:lnTo>
                  <a:lnTo>
                    <a:pt x="105419" y="308440"/>
                  </a:lnTo>
                  <a:lnTo>
                    <a:pt x="101730" y="308440"/>
                  </a:lnTo>
                  <a:lnTo>
                    <a:pt x="98041" y="304754"/>
                  </a:lnTo>
                  <a:lnTo>
                    <a:pt x="101730" y="301058"/>
                  </a:lnTo>
                  <a:lnTo>
                    <a:pt x="127554" y="289990"/>
                  </a:lnTo>
                  <a:lnTo>
                    <a:pt x="134932" y="289990"/>
                  </a:lnTo>
                  <a:lnTo>
                    <a:pt x="138621" y="286294"/>
                  </a:lnTo>
                  <a:lnTo>
                    <a:pt x="142311" y="282608"/>
                  </a:lnTo>
                  <a:lnTo>
                    <a:pt x="146000" y="282608"/>
                  </a:lnTo>
                  <a:lnTo>
                    <a:pt x="149690" y="282608"/>
                  </a:lnTo>
                  <a:lnTo>
                    <a:pt x="175514" y="278912"/>
                  </a:lnTo>
                  <a:lnTo>
                    <a:pt x="179203" y="286294"/>
                  </a:lnTo>
                  <a:lnTo>
                    <a:pt x="171825" y="304754"/>
                  </a:lnTo>
                  <a:lnTo>
                    <a:pt x="175514" y="326890"/>
                  </a:lnTo>
                  <a:lnTo>
                    <a:pt x="193960" y="319508"/>
                  </a:lnTo>
                  <a:lnTo>
                    <a:pt x="197649" y="319508"/>
                  </a:lnTo>
                  <a:lnTo>
                    <a:pt x="205027" y="319508"/>
                  </a:lnTo>
                  <a:lnTo>
                    <a:pt x="219784" y="323204"/>
                  </a:lnTo>
                  <a:lnTo>
                    <a:pt x="227162" y="326890"/>
                  </a:lnTo>
                  <a:lnTo>
                    <a:pt x="230851" y="326890"/>
                  </a:lnTo>
                  <a:lnTo>
                    <a:pt x="230851" y="323204"/>
                  </a:lnTo>
                  <a:lnTo>
                    <a:pt x="234541" y="326890"/>
                  </a:lnTo>
                  <a:lnTo>
                    <a:pt x="241919" y="323204"/>
                  </a:lnTo>
                  <a:lnTo>
                    <a:pt x="238230" y="308440"/>
                  </a:lnTo>
                  <a:lnTo>
                    <a:pt x="249297" y="304754"/>
                  </a:lnTo>
                  <a:lnTo>
                    <a:pt x="252986" y="304754"/>
                  </a:lnTo>
                  <a:lnTo>
                    <a:pt x="256676" y="293676"/>
                  </a:lnTo>
                  <a:lnTo>
                    <a:pt x="264054" y="289990"/>
                  </a:lnTo>
                  <a:lnTo>
                    <a:pt x="267743" y="286294"/>
                  </a:lnTo>
                  <a:lnTo>
                    <a:pt x="271432" y="278912"/>
                  </a:lnTo>
                  <a:lnTo>
                    <a:pt x="278811" y="275226"/>
                  </a:lnTo>
                  <a:lnTo>
                    <a:pt x="282500" y="271531"/>
                  </a:lnTo>
                  <a:lnTo>
                    <a:pt x="278811" y="267844"/>
                  </a:lnTo>
                  <a:lnTo>
                    <a:pt x="282500" y="267844"/>
                  </a:lnTo>
                  <a:lnTo>
                    <a:pt x="286189" y="267844"/>
                  </a:lnTo>
                  <a:lnTo>
                    <a:pt x="286189" y="264158"/>
                  </a:lnTo>
                  <a:lnTo>
                    <a:pt x="293568" y="260462"/>
                  </a:lnTo>
                  <a:lnTo>
                    <a:pt x="297257" y="264158"/>
                  </a:lnTo>
                  <a:lnTo>
                    <a:pt x="297257" y="267844"/>
                  </a:lnTo>
                  <a:lnTo>
                    <a:pt x="300946" y="267844"/>
                  </a:lnTo>
                  <a:lnTo>
                    <a:pt x="304636" y="267844"/>
                  </a:lnTo>
                  <a:lnTo>
                    <a:pt x="312014" y="271531"/>
                  </a:lnTo>
                  <a:lnTo>
                    <a:pt x="315703" y="271531"/>
                  </a:lnTo>
                  <a:lnTo>
                    <a:pt x="315703" y="275226"/>
                  </a:lnTo>
                  <a:lnTo>
                    <a:pt x="315703" y="278912"/>
                  </a:lnTo>
                  <a:lnTo>
                    <a:pt x="319392" y="282608"/>
                  </a:lnTo>
                  <a:lnTo>
                    <a:pt x="323081" y="278912"/>
                  </a:lnTo>
                  <a:lnTo>
                    <a:pt x="326771" y="282608"/>
                  </a:lnTo>
                  <a:lnTo>
                    <a:pt x="323081" y="289990"/>
                  </a:lnTo>
                  <a:lnTo>
                    <a:pt x="323081" y="297372"/>
                  </a:lnTo>
                  <a:lnTo>
                    <a:pt x="326771" y="297372"/>
                  </a:lnTo>
                  <a:lnTo>
                    <a:pt x="326771" y="301058"/>
                  </a:lnTo>
                  <a:lnTo>
                    <a:pt x="323081" y="301058"/>
                  </a:lnTo>
                  <a:lnTo>
                    <a:pt x="319392" y="304754"/>
                  </a:lnTo>
                  <a:lnTo>
                    <a:pt x="315703" y="308440"/>
                  </a:lnTo>
                  <a:lnTo>
                    <a:pt x="319392" y="323204"/>
                  </a:lnTo>
                  <a:lnTo>
                    <a:pt x="319392" y="326890"/>
                  </a:lnTo>
                  <a:lnTo>
                    <a:pt x="323081" y="326890"/>
                  </a:lnTo>
                  <a:lnTo>
                    <a:pt x="326771" y="326890"/>
                  </a:lnTo>
                  <a:lnTo>
                    <a:pt x="326771" y="330585"/>
                  </a:lnTo>
                  <a:lnTo>
                    <a:pt x="323081" y="330585"/>
                  </a:lnTo>
                  <a:lnTo>
                    <a:pt x="312014" y="326890"/>
                  </a:lnTo>
                  <a:lnTo>
                    <a:pt x="308325" y="323204"/>
                  </a:lnTo>
                  <a:lnTo>
                    <a:pt x="300946" y="323204"/>
                  </a:lnTo>
                  <a:lnTo>
                    <a:pt x="300946" y="319508"/>
                  </a:lnTo>
                  <a:lnTo>
                    <a:pt x="297257" y="319508"/>
                  </a:lnTo>
                  <a:lnTo>
                    <a:pt x="289878" y="323204"/>
                  </a:lnTo>
                  <a:lnTo>
                    <a:pt x="289878" y="326890"/>
                  </a:lnTo>
                  <a:lnTo>
                    <a:pt x="289878" y="330585"/>
                  </a:lnTo>
                  <a:lnTo>
                    <a:pt x="293568" y="334272"/>
                  </a:lnTo>
                  <a:lnTo>
                    <a:pt x="300946" y="337967"/>
                  </a:lnTo>
                  <a:lnTo>
                    <a:pt x="304636" y="337967"/>
                  </a:lnTo>
                  <a:lnTo>
                    <a:pt x="315703" y="334272"/>
                  </a:lnTo>
                  <a:lnTo>
                    <a:pt x="323081" y="334272"/>
                  </a:lnTo>
                  <a:lnTo>
                    <a:pt x="330460" y="334272"/>
                  </a:lnTo>
                  <a:lnTo>
                    <a:pt x="334149" y="337967"/>
                  </a:lnTo>
                  <a:lnTo>
                    <a:pt x="337838" y="337967"/>
                  </a:lnTo>
                  <a:lnTo>
                    <a:pt x="337838" y="334272"/>
                  </a:lnTo>
                  <a:lnTo>
                    <a:pt x="341527" y="334272"/>
                  </a:lnTo>
                  <a:lnTo>
                    <a:pt x="345217" y="334272"/>
                  </a:lnTo>
                  <a:lnTo>
                    <a:pt x="348906" y="334272"/>
                  </a:lnTo>
                  <a:lnTo>
                    <a:pt x="352595" y="334272"/>
                  </a:lnTo>
                  <a:lnTo>
                    <a:pt x="359973" y="341654"/>
                  </a:lnTo>
                  <a:lnTo>
                    <a:pt x="359973" y="345349"/>
                  </a:lnTo>
                  <a:lnTo>
                    <a:pt x="363662" y="345349"/>
                  </a:lnTo>
                  <a:lnTo>
                    <a:pt x="367351" y="349036"/>
                  </a:lnTo>
                  <a:lnTo>
                    <a:pt x="371041" y="349036"/>
                  </a:lnTo>
                  <a:lnTo>
                    <a:pt x="385797" y="326890"/>
                  </a:lnTo>
                  <a:lnTo>
                    <a:pt x="407932" y="312136"/>
                  </a:lnTo>
                  <a:lnTo>
                    <a:pt x="407932" y="304754"/>
                  </a:lnTo>
                  <a:lnTo>
                    <a:pt x="411621" y="304754"/>
                  </a:lnTo>
                  <a:lnTo>
                    <a:pt x="411621" y="301058"/>
                  </a:lnTo>
                  <a:lnTo>
                    <a:pt x="407932" y="297372"/>
                  </a:lnTo>
                  <a:lnTo>
                    <a:pt x="407932" y="293676"/>
                  </a:lnTo>
                  <a:lnTo>
                    <a:pt x="411621" y="289990"/>
                  </a:lnTo>
                  <a:lnTo>
                    <a:pt x="411621" y="286294"/>
                  </a:lnTo>
                  <a:lnTo>
                    <a:pt x="415310" y="282608"/>
                  </a:lnTo>
                  <a:lnTo>
                    <a:pt x="422689" y="278912"/>
                  </a:lnTo>
                  <a:lnTo>
                    <a:pt x="426378" y="278912"/>
                  </a:lnTo>
                  <a:lnTo>
                    <a:pt x="422689" y="282608"/>
                  </a:lnTo>
                  <a:lnTo>
                    <a:pt x="426378" y="286294"/>
                  </a:lnTo>
                  <a:lnTo>
                    <a:pt x="426378" y="289990"/>
                  </a:lnTo>
                  <a:lnTo>
                    <a:pt x="430067" y="289990"/>
                  </a:lnTo>
                  <a:lnTo>
                    <a:pt x="444825" y="289990"/>
                  </a:lnTo>
                  <a:lnTo>
                    <a:pt x="455892" y="323204"/>
                  </a:lnTo>
                  <a:lnTo>
                    <a:pt x="452203" y="330585"/>
                  </a:lnTo>
                  <a:lnTo>
                    <a:pt x="441136" y="352731"/>
                  </a:lnTo>
                  <a:lnTo>
                    <a:pt x="463271" y="378563"/>
                  </a:lnTo>
                  <a:lnTo>
                    <a:pt x="463271" y="382249"/>
                  </a:lnTo>
                  <a:lnTo>
                    <a:pt x="466960" y="385945"/>
                  </a:lnTo>
                  <a:lnTo>
                    <a:pt x="470649" y="389631"/>
                  </a:lnTo>
                  <a:lnTo>
                    <a:pt x="470649" y="415463"/>
                  </a:lnTo>
                  <a:lnTo>
                    <a:pt x="485405" y="419159"/>
                  </a:lnTo>
                  <a:lnTo>
                    <a:pt x="489095" y="415463"/>
                  </a:lnTo>
                  <a:lnTo>
                    <a:pt x="500162" y="411777"/>
                  </a:lnTo>
                  <a:lnTo>
                    <a:pt x="503851" y="411777"/>
                  </a:lnTo>
                  <a:lnTo>
                    <a:pt x="503851" y="408091"/>
                  </a:lnTo>
                  <a:lnTo>
                    <a:pt x="525986" y="422845"/>
                  </a:lnTo>
                  <a:lnTo>
                    <a:pt x="518608" y="452372"/>
                  </a:lnTo>
                  <a:lnTo>
                    <a:pt x="522297" y="456068"/>
                  </a:lnTo>
                  <a:lnTo>
                    <a:pt x="537051" y="452372"/>
                  </a:lnTo>
                  <a:lnTo>
                    <a:pt x="551815" y="456068"/>
                  </a:lnTo>
                  <a:lnTo>
                    <a:pt x="562874" y="456068"/>
                  </a:lnTo>
                  <a:lnTo>
                    <a:pt x="570255" y="456068"/>
                  </a:lnTo>
                  <a:lnTo>
                    <a:pt x="573942" y="452372"/>
                  </a:lnTo>
                  <a:lnTo>
                    <a:pt x="577637" y="444990"/>
                  </a:lnTo>
                  <a:lnTo>
                    <a:pt x="588705" y="448686"/>
                  </a:lnTo>
                  <a:lnTo>
                    <a:pt x="603460" y="452372"/>
                  </a:lnTo>
                  <a:lnTo>
                    <a:pt x="610841" y="456068"/>
                  </a:lnTo>
                  <a:lnTo>
                    <a:pt x="621910" y="444990"/>
                  </a:lnTo>
                  <a:lnTo>
                    <a:pt x="625596" y="441304"/>
                  </a:lnTo>
                  <a:lnTo>
                    <a:pt x="636664" y="437608"/>
                  </a:lnTo>
                  <a:lnTo>
                    <a:pt x="640350" y="433922"/>
                  </a:lnTo>
                  <a:lnTo>
                    <a:pt x="644036" y="430227"/>
                  </a:lnTo>
                  <a:lnTo>
                    <a:pt x="644036" y="426540"/>
                  </a:lnTo>
                  <a:lnTo>
                    <a:pt x="647732" y="426540"/>
                  </a:lnTo>
                  <a:lnTo>
                    <a:pt x="662486" y="430227"/>
                  </a:lnTo>
                  <a:lnTo>
                    <a:pt x="662486" y="433922"/>
                  </a:lnTo>
                  <a:lnTo>
                    <a:pt x="666172" y="441304"/>
                  </a:lnTo>
                  <a:lnTo>
                    <a:pt x="677240" y="448686"/>
                  </a:lnTo>
                  <a:lnTo>
                    <a:pt x="680936" y="452372"/>
                  </a:lnTo>
                  <a:lnTo>
                    <a:pt x="680936" y="456068"/>
                  </a:lnTo>
                  <a:lnTo>
                    <a:pt x="680936" y="459754"/>
                  </a:lnTo>
                  <a:lnTo>
                    <a:pt x="680936" y="463440"/>
                  </a:lnTo>
                  <a:lnTo>
                    <a:pt x="680936" y="467136"/>
                  </a:lnTo>
                  <a:lnTo>
                    <a:pt x="680936" y="474518"/>
                  </a:lnTo>
                  <a:lnTo>
                    <a:pt x="684622" y="489282"/>
                  </a:lnTo>
                  <a:lnTo>
                    <a:pt x="688308" y="489282"/>
                  </a:lnTo>
                  <a:lnTo>
                    <a:pt x="699376" y="485586"/>
                  </a:lnTo>
                  <a:lnTo>
                    <a:pt x="703063" y="485586"/>
                  </a:lnTo>
                  <a:lnTo>
                    <a:pt x="714131" y="481900"/>
                  </a:lnTo>
                  <a:lnTo>
                    <a:pt x="714131" y="467136"/>
                  </a:lnTo>
                  <a:lnTo>
                    <a:pt x="717826" y="448686"/>
                  </a:lnTo>
                  <a:lnTo>
                    <a:pt x="725199" y="433922"/>
                  </a:lnTo>
                  <a:lnTo>
                    <a:pt x="728894" y="426540"/>
                  </a:lnTo>
                  <a:lnTo>
                    <a:pt x="739962" y="415463"/>
                  </a:lnTo>
                  <a:lnTo>
                    <a:pt x="754717" y="408091"/>
                  </a:lnTo>
                  <a:lnTo>
                    <a:pt x="758403" y="408091"/>
                  </a:lnTo>
                  <a:lnTo>
                    <a:pt x="776853" y="404395"/>
                  </a:lnTo>
                  <a:lnTo>
                    <a:pt x="784225" y="400709"/>
                  </a:lnTo>
                  <a:lnTo>
                    <a:pt x="787921" y="400709"/>
                  </a:lnTo>
                  <a:lnTo>
                    <a:pt x="791607" y="397013"/>
                  </a:lnTo>
                  <a:lnTo>
                    <a:pt x="821125" y="389631"/>
                  </a:lnTo>
                  <a:lnTo>
                    <a:pt x="832193" y="385945"/>
                  </a:lnTo>
                  <a:lnTo>
                    <a:pt x="835879" y="385945"/>
                  </a:lnTo>
                  <a:lnTo>
                    <a:pt x="839565" y="382249"/>
                  </a:lnTo>
                  <a:lnTo>
                    <a:pt x="843252" y="382249"/>
                  </a:lnTo>
                  <a:lnTo>
                    <a:pt x="850633" y="374867"/>
                  </a:lnTo>
                  <a:lnTo>
                    <a:pt x="861701" y="363799"/>
                  </a:lnTo>
                  <a:lnTo>
                    <a:pt x="869083" y="360113"/>
                  </a:lnTo>
                  <a:lnTo>
                    <a:pt x="861701" y="349036"/>
                  </a:lnTo>
                  <a:lnTo>
                    <a:pt x="854319" y="334272"/>
                  </a:lnTo>
                  <a:lnTo>
                    <a:pt x="839565" y="308440"/>
                  </a:lnTo>
                  <a:lnTo>
                    <a:pt x="839565" y="304754"/>
                  </a:lnTo>
                  <a:lnTo>
                    <a:pt x="832193" y="271531"/>
                  </a:lnTo>
                  <a:lnTo>
                    <a:pt x="828497" y="264158"/>
                  </a:lnTo>
                  <a:lnTo>
                    <a:pt x="828497" y="256776"/>
                  </a:lnTo>
                  <a:lnTo>
                    <a:pt x="824811" y="245699"/>
                  </a:lnTo>
                  <a:lnTo>
                    <a:pt x="821125" y="212485"/>
                  </a:lnTo>
                  <a:lnTo>
                    <a:pt x="835879" y="216181"/>
                  </a:lnTo>
                  <a:lnTo>
                    <a:pt x="846947" y="219867"/>
                  </a:lnTo>
                  <a:lnTo>
                    <a:pt x="854319" y="223553"/>
                  </a:lnTo>
                  <a:lnTo>
                    <a:pt x="861701" y="223553"/>
                  </a:lnTo>
                  <a:lnTo>
                    <a:pt x="869083" y="223553"/>
                  </a:lnTo>
                  <a:lnTo>
                    <a:pt x="876456" y="219867"/>
                  </a:lnTo>
                  <a:lnTo>
                    <a:pt x="887524" y="216181"/>
                  </a:lnTo>
                  <a:lnTo>
                    <a:pt x="894905" y="212485"/>
                  </a:lnTo>
                  <a:lnTo>
                    <a:pt x="902287" y="208799"/>
                  </a:lnTo>
                  <a:lnTo>
                    <a:pt x="902287" y="212485"/>
                  </a:lnTo>
                  <a:lnTo>
                    <a:pt x="905974" y="212485"/>
                  </a:lnTo>
                  <a:lnTo>
                    <a:pt x="909660" y="216181"/>
                  </a:lnTo>
                  <a:lnTo>
                    <a:pt x="917042" y="223553"/>
                  </a:lnTo>
                  <a:lnTo>
                    <a:pt x="917042" y="219867"/>
                  </a:lnTo>
                  <a:lnTo>
                    <a:pt x="920728" y="219867"/>
                  </a:lnTo>
                  <a:lnTo>
                    <a:pt x="924414" y="219867"/>
                  </a:lnTo>
                  <a:lnTo>
                    <a:pt x="920728" y="216181"/>
                  </a:lnTo>
                  <a:lnTo>
                    <a:pt x="920728" y="212485"/>
                  </a:lnTo>
                  <a:lnTo>
                    <a:pt x="920728" y="208799"/>
                  </a:lnTo>
                  <a:lnTo>
                    <a:pt x="920728" y="205103"/>
                  </a:lnTo>
                  <a:lnTo>
                    <a:pt x="920728" y="201417"/>
                  </a:lnTo>
                  <a:lnTo>
                    <a:pt x="917042" y="194035"/>
                  </a:lnTo>
                  <a:lnTo>
                    <a:pt x="913356" y="190339"/>
                  </a:lnTo>
                  <a:lnTo>
                    <a:pt x="913356" y="186653"/>
                  </a:lnTo>
                  <a:lnTo>
                    <a:pt x="913356" y="175576"/>
                  </a:lnTo>
                  <a:lnTo>
                    <a:pt x="909660" y="171890"/>
                  </a:lnTo>
                  <a:lnTo>
                    <a:pt x="909660" y="168203"/>
                  </a:lnTo>
                  <a:lnTo>
                    <a:pt x="905974" y="164508"/>
                  </a:lnTo>
                  <a:lnTo>
                    <a:pt x="902287" y="160821"/>
                  </a:lnTo>
                  <a:lnTo>
                    <a:pt x="898592" y="157126"/>
                  </a:lnTo>
                  <a:lnTo>
                    <a:pt x="887524" y="153440"/>
                  </a:lnTo>
                  <a:lnTo>
                    <a:pt x="887524" y="149744"/>
                  </a:lnTo>
                  <a:lnTo>
                    <a:pt x="883838" y="146058"/>
                  </a:lnTo>
                  <a:lnTo>
                    <a:pt x="883838" y="134980"/>
                  </a:lnTo>
                  <a:lnTo>
                    <a:pt x="883838" y="131294"/>
                  </a:lnTo>
                  <a:lnTo>
                    <a:pt x="883838" y="127598"/>
                  </a:lnTo>
                  <a:lnTo>
                    <a:pt x="883838" y="120226"/>
                  </a:lnTo>
                  <a:lnTo>
                    <a:pt x="880151" y="120226"/>
                  </a:lnTo>
                  <a:lnTo>
                    <a:pt x="880151" y="116530"/>
                  </a:lnTo>
                  <a:lnTo>
                    <a:pt x="880151" y="109148"/>
                  </a:lnTo>
                  <a:lnTo>
                    <a:pt x="876456" y="98080"/>
                  </a:lnTo>
                  <a:lnTo>
                    <a:pt x="872769" y="98080"/>
                  </a:lnTo>
                  <a:lnTo>
                    <a:pt x="869083" y="94385"/>
                  </a:lnTo>
                  <a:lnTo>
                    <a:pt x="861701" y="94385"/>
                  </a:lnTo>
                  <a:lnTo>
                    <a:pt x="854319" y="90698"/>
                  </a:lnTo>
                  <a:lnTo>
                    <a:pt x="846947" y="90698"/>
                  </a:lnTo>
                  <a:lnTo>
                    <a:pt x="843252" y="87003"/>
                  </a:lnTo>
                  <a:lnTo>
                    <a:pt x="843252" y="79621"/>
                  </a:lnTo>
                  <a:lnTo>
                    <a:pt x="839565" y="72248"/>
                  </a:lnTo>
                  <a:lnTo>
                    <a:pt x="839565" y="68553"/>
                  </a:lnTo>
                  <a:lnTo>
                    <a:pt x="839565" y="64867"/>
                  </a:lnTo>
                  <a:lnTo>
                    <a:pt x="835879" y="64867"/>
                  </a:lnTo>
                  <a:lnTo>
                    <a:pt x="832193" y="61171"/>
                  </a:lnTo>
                  <a:lnTo>
                    <a:pt x="828497" y="61171"/>
                  </a:lnTo>
                  <a:lnTo>
                    <a:pt x="821125" y="61171"/>
                  </a:lnTo>
                  <a:lnTo>
                    <a:pt x="810057" y="61171"/>
                  </a:lnTo>
                  <a:lnTo>
                    <a:pt x="806361" y="61171"/>
                  </a:lnTo>
                  <a:lnTo>
                    <a:pt x="795293" y="64867"/>
                  </a:lnTo>
                  <a:lnTo>
                    <a:pt x="791607" y="64867"/>
                  </a:lnTo>
                  <a:lnTo>
                    <a:pt x="784225" y="64867"/>
                  </a:lnTo>
                  <a:lnTo>
                    <a:pt x="780539" y="64867"/>
                  </a:lnTo>
                  <a:lnTo>
                    <a:pt x="776853" y="64867"/>
                  </a:lnTo>
                  <a:lnTo>
                    <a:pt x="773157" y="61171"/>
                  </a:lnTo>
                  <a:lnTo>
                    <a:pt x="773157" y="57485"/>
                  </a:lnTo>
                  <a:lnTo>
                    <a:pt x="769471" y="53789"/>
                  </a:lnTo>
                  <a:lnTo>
                    <a:pt x="765785" y="50103"/>
                  </a:lnTo>
                  <a:lnTo>
                    <a:pt x="762098" y="50103"/>
                  </a:lnTo>
                  <a:lnTo>
                    <a:pt x="758403" y="50103"/>
                  </a:lnTo>
                  <a:lnTo>
                    <a:pt x="754717" y="46407"/>
                  </a:lnTo>
                  <a:lnTo>
                    <a:pt x="751030" y="46407"/>
                  </a:lnTo>
                  <a:lnTo>
                    <a:pt x="751030" y="39025"/>
                  </a:lnTo>
                  <a:lnTo>
                    <a:pt x="747335" y="39025"/>
                  </a:lnTo>
                  <a:lnTo>
                    <a:pt x="743649" y="35339"/>
                  </a:lnTo>
                  <a:lnTo>
                    <a:pt x="739962" y="35339"/>
                  </a:lnTo>
                  <a:lnTo>
                    <a:pt x="736267" y="35339"/>
                  </a:lnTo>
                  <a:lnTo>
                    <a:pt x="732581" y="31643"/>
                  </a:lnTo>
                  <a:lnTo>
                    <a:pt x="728894" y="27957"/>
                  </a:lnTo>
                  <a:lnTo>
                    <a:pt x="725199" y="24271"/>
                  </a:lnTo>
                  <a:lnTo>
                    <a:pt x="725199" y="16889"/>
                  </a:lnTo>
                  <a:lnTo>
                    <a:pt x="721512" y="13194"/>
                  </a:lnTo>
                  <a:lnTo>
                    <a:pt x="714131" y="13194"/>
                  </a:lnTo>
                  <a:lnTo>
                    <a:pt x="710444" y="13194"/>
                  </a:lnTo>
                  <a:lnTo>
                    <a:pt x="706758" y="9507"/>
                  </a:lnTo>
                  <a:lnTo>
                    <a:pt x="699376" y="5812"/>
                  </a:lnTo>
                  <a:lnTo>
                    <a:pt x="695690" y="5812"/>
                  </a:lnTo>
                  <a:lnTo>
                    <a:pt x="692004" y="5812"/>
                  </a:lnTo>
                  <a:lnTo>
                    <a:pt x="684622" y="5812"/>
                  </a:lnTo>
                  <a:lnTo>
                    <a:pt x="680936" y="5812"/>
                  </a:lnTo>
                  <a:lnTo>
                    <a:pt x="677240" y="9507"/>
                  </a:lnTo>
                  <a:lnTo>
                    <a:pt x="677240" y="13194"/>
                  </a:lnTo>
                  <a:lnTo>
                    <a:pt x="673554" y="16889"/>
                  </a:lnTo>
                  <a:lnTo>
                    <a:pt x="669868" y="16889"/>
                  </a:lnTo>
                  <a:lnTo>
                    <a:pt x="666172" y="13194"/>
                  </a:lnTo>
                  <a:lnTo>
                    <a:pt x="662486" y="13194"/>
                  </a:lnTo>
                  <a:lnTo>
                    <a:pt x="658800" y="13194"/>
                  </a:lnTo>
                  <a:lnTo>
                    <a:pt x="658800" y="9507"/>
                  </a:lnTo>
                  <a:lnTo>
                    <a:pt x="655104" y="5812"/>
                  </a:lnTo>
                  <a:lnTo>
                    <a:pt x="651418" y="5812"/>
                  </a:lnTo>
                  <a:lnTo>
                    <a:pt x="647732" y="5812"/>
                  </a:lnTo>
                  <a:lnTo>
                    <a:pt x="644036" y="5812"/>
                  </a:lnTo>
                  <a:lnTo>
                    <a:pt x="644036" y="9507"/>
                  </a:lnTo>
                  <a:lnTo>
                    <a:pt x="640350" y="16889"/>
                  </a:lnTo>
                  <a:lnTo>
                    <a:pt x="636664" y="20575"/>
                  </a:lnTo>
                  <a:lnTo>
                    <a:pt x="629282" y="20575"/>
                  </a:lnTo>
                  <a:lnTo>
                    <a:pt x="621910" y="20575"/>
                  </a:lnTo>
                  <a:lnTo>
                    <a:pt x="618214" y="20575"/>
                  </a:lnTo>
                  <a:lnTo>
                    <a:pt x="614528" y="16889"/>
                  </a:lnTo>
                  <a:lnTo>
                    <a:pt x="610841" y="13194"/>
                  </a:lnTo>
                  <a:lnTo>
                    <a:pt x="610841" y="9507"/>
                  </a:lnTo>
                  <a:lnTo>
                    <a:pt x="607146" y="9507"/>
                  </a:lnTo>
                  <a:lnTo>
                    <a:pt x="603460" y="13194"/>
                  </a:lnTo>
                  <a:lnTo>
                    <a:pt x="603460" y="16889"/>
                  </a:lnTo>
                  <a:lnTo>
                    <a:pt x="599773" y="20575"/>
                  </a:lnTo>
                  <a:lnTo>
                    <a:pt x="596078" y="24271"/>
                  </a:lnTo>
                  <a:lnTo>
                    <a:pt x="588705" y="35339"/>
                  </a:lnTo>
                  <a:lnTo>
                    <a:pt x="588705" y="39025"/>
                  </a:lnTo>
                  <a:lnTo>
                    <a:pt x="585010" y="46407"/>
                  </a:lnTo>
                  <a:lnTo>
                    <a:pt x="585010" y="53789"/>
                  </a:lnTo>
                  <a:lnTo>
                    <a:pt x="585010" y="61171"/>
                  </a:lnTo>
                  <a:lnTo>
                    <a:pt x="581323" y="61171"/>
                  </a:lnTo>
                  <a:lnTo>
                    <a:pt x="581323" y="64867"/>
                  </a:lnTo>
                  <a:lnTo>
                    <a:pt x="562874" y="72248"/>
                  </a:lnTo>
                  <a:lnTo>
                    <a:pt x="555501" y="75935"/>
                  </a:lnTo>
                  <a:lnTo>
                    <a:pt x="555501" y="79621"/>
                  </a:lnTo>
                  <a:lnTo>
                    <a:pt x="551815" y="79621"/>
                  </a:lnTo>
                  <a:lnTo>
                    <a:pt x="544433" y="75935"/>
                  </a:lnTo>
                  <a:lnTo>
                    <a:pt x="537051" y="75935"/>
                  </a:lnTo>
                  <a:lnTo>
                    <a:pt x="533365" y="79621"/>
                  </a:lnTo>
                  <a:lnTo>
                    <a:pt x="529675" y="83317"/>
                  </a:lnTo>
                  <a:lnTo>
                    <a:pt x="525986" y="79621"/>
                  </a:lnTo>
                  <a:lnTo>
                    <a:pt x="518608" y="75935"/>
                  </a:lnTo>
                  <a:lnTo>
                    <a:pt x="514919" y="72248"/>
                  </a:lnTo>
                  <a:lnTo>
                    <a:pt x="511230" y="75935"/>
                  </a:lnTo>
                  <a:lnTo>
                    <a:pt x="507540" y="75935"/>
                  </a:lnTo>
                  <a:lnTo>
                    <a:pt x="503851" y="75935"/>
                  </a:lnTo>
                  <a:lnTo>
                    <a:pt x="496473" y="75935"/>
                  </a:lnTo>
                  <a:lnTo>
                    <a:pt x="492784" y="75935"/>
                  </a:lnTo>
                  <a:lnTo>
                    <a:pt x="485405" y="75935"/>
                  </a:lnTo>
                  <a:lnTo>
                    <a:pt x="478027" y="75935"/>
                  </a:lnTo>
                  <a:lnTo>
                    <a:pt x="470649" y="79621"/>
                  </a:lnTo>
                  <a:lnTo>
                    <a:pt x="466960" y="75935"/>
                  </a:lnTo>
                  <a:lnTo>
                    <a:pt x="466960" y="72248"/>
                  </a:lnTo>
                  <a:lnTo>
                    <a:pt x="470649" y="72248"/>
                  </a:lnTo>
                  <a:lnTo>
                    <a:pt x="474338" y="68553"/>
                  </a:lnTo>
                  <a:lnTo>
                    <a:pt x="478027" y="64867"/>
                  </a:lnTo>
                  <a:lnTo>
                    <a:pt x="474338" y="61171"/>
                  </a:lnTo>
                  <a:lnTo>
                    <a:pt x="474338" y="57485"/>
                  </a:lnTo>
                  <a:lnTo>
                    <a:pt x="474338" y="53789"/>
                  </a:lnTo>
                  <a:lnTo>
                    <a:pt x="474338" y="50103"/>
                  </a:lnTo>
                  <a:lnTo>
                    <a:pt x="463271" y="46407"/>
                  </a:lnTo>
                  <a:lnTo>
                    <a:pt x="459581" y="42721"/>
                  </a:lnTo>
                  <a:lnTo>
                    <a:pt x="455892" y="39025"/>
                  </a:lnTo>
                  <a:lnTo>
                    <a:pt x="452203" y="39025"/>
                  </a:lnTo>
                  <a:lnTo>
                    <a:pt x="448514" y="42721"/>
                  </a:lnTo>
                  <a:lnTo>
                    <a:pt x="444825" y="46407"/>
                  </a:lnTo>
                  <a:lnTo>
                    <a:pt x="441136" y="46407"/>
                  </a:lnTo>
                  <a:lnTo>
                    <a:pt x="441136" y="42721"/>
                  </a:lnTo>
                  <a:lnTo>
                    <a:pt x="437445" y="42721"/>
                  </a:lnTo>
                  <a:lnTo>
                    <a:pt x="437445" y="39025"/>
                  </a:lnTo>
                  <a:lnTo>
                    <a:pt x="433756" y="35339"/>
                  </a:lnTo>
                  <a:lnTo>
                    <a:pt x="433756" y="31643"/>
                  </a:lnTo>
                  <a:lnTo>
                    <a:pt x="430067" y="31643"/>
                  </a:lnTo>
                  <a:lnTo>
                    <a:pt x="426378" y="27957"/>
                  </a:lnTo>
                  <a:lnTo>
                    <a:pt x="419000" y="24271"/>
                  </a:lnTo>
                  <a:lnTo>
                    <a:pt x="415310" y="20575"/>
                  </a:lnTo>
                  <a:lnTo>
                    <a:pt x="411621" y="20575"/>
                  </a:lnTo>
                  <a:lnTo>
                    <a:pt x="411621" y="16889"/>
                  </a:lnTo>
                  <a:lnTo>
                    <a:pt x="411621" y="13194"/>
                  </a:lnTo>
                  <a:lnTo>
                    <a:pt x="407932" y="13194"/>
                  </a:lnTo>
                  <a:lnTo>
                    <a:pt x="400554" y="13194"/>
                  </a:lnTo>
                  <a:lnTo>
                    <a:pt x="396865" y="9507"/>
                  </a:lnTo>
                  <a:lnTo>
                    <a:pt x="393175" y="9507"/>
                  </a:lnTo>
                  <a:lnTo>
                    <a:pt x="385797" y="9507"/>
                  </a:lnTo>
                  <a:lnTo>
                    <a:pt x="378419" y="5812"/>
                  </a:lnTo>
                  <a:lnTo>
                    <a:pt x="374730" y="5812"/>
                  </a:lnTo>
                  <a:lnTo>
                    <a:pt x="371041" y="5812"/>
                  </a:lnTo>
                  <a:lnTo>
                    <a:pt x="363662" y="5812"/>
                  </a:lnTo>
                  <a:close/>
                  <a:moveTo>
                    <a:pt x="367351" y="349036"/>
                  </a:moveTo>
                  <a:lnTo>
                    <a:pt x="363662" y="349036"/>
                  </a:lnTo>
                  <a:lnTo>
                    <a:pt x="359973" y="349036"/>
                  </a:lnTo>
                  <a:lnTo>
                    <a:pt x="363662" y="352731"/>
                  </a:lnTo>
                  <a:lnTo>
                    <a:pt x="367351" y="349036"/>
                  </a:lnTo>
                  <a:close/>
                  <a:moveTo>
                    <a:pt x="363662" y="308440"/>
                  </a:moveTo>
                  <a:lnTo>
                    <a:pt x="367351" y="308440"/>
                  </a:lnTo>
                  <a:lnTo>
                    <a:pt x="367351" y="312136"/>
                  </a:lnTo>
                  <a:lnTo>
                    <a:pt x="371041" y="315822"/>
                  </a:lnTo>
                  <a:lnTo>
                    <a:pt x="374730" y="315822"/>
                  </a:lnTo>
                  <a:lnTo>
                    <a:pt x="374730" y="319508"/>
                  </a:lnTo>
                  <a:lnTo>
                    <a:pt x="374730" y="323204"/>
                  </a:lnTo>
                  <a:lnTo>
                    <a:pt x="371041" y="323204"/>
                  </a:lnTo>
                  <a:lnTo>
                    <a:pt x="367351" y="319508"/>
                  </a:lnTo>
                  <a:lnTo>
                    <a:pt x="363662" y="319508"/>
                  </a:lnTo>
                  <a:lnTo>
                    <a:pt x="367351" y="315822"/>
                  </a:lnTo>
                  <a:lnTo>
                    <a:pt x="363662" y="312136"/>
                  </a:lnTo>
                  <a:lnTo>
                    <a:pt x="363662" y="308440"/>
                  </a:lnTo>
                  <a:close/>
                  <a:moveTo>
                    <a:pt x="371041" y="308440"/>
                  </a:moveTo>
                  <a:lnTo>
                    <a:pt x="374730" y="312136"/>
                  </a:lnTo>
                  <a:lnTo>
                    <a:pt x="371041" y="312136"/>
                  </a:lnTo>
                  <a:lnTo>
                    <a:pt x="371041" y="308440"/>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21600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76</a:t>
              </a:r>
            </a:p>
          </p:txBody>
        </p:sp>
        <p:sp>
          <p:nvSpPr>
            <p:cNvPr id="307" name="Freeform: Shape 306">
              <a:extLst>
                <a:ext uri="{FF2B5EF4-FFF2-40B4-BE49-F238E27FC236}">
                  <a16:creationId xmlns:a16="http://schemas.microsoft.com/office/drawing/2014/main" id="{AB870889-39ED-4803-ACF2-C0AE823830EB}"/>
                </a:ext>
              </a:extLst>
            </p:cNvPr>
            <p:cNvSpPr/>
            <p:nvPr/>
          </p:nvSpPr>
          <p:spPr>
            <a:xfrm>
              <a:off x="8344757" y="5218732"/>
              <a:ext cx="30745" cy="30745"/>
            </a:xfrm>
            <a:custGeom>
              <a:avLst/>
              <a:gdLst>
                <a:gd name="connsiteX0" fmla="*/ 13190 w 19050"/>
                <a:gd name="connsiteY0" fmla="*/ 5812 h 19050"/>
                <a:gd name="connsiteX1" fmla="*/ 13190 w 19050"/>
                <a:gd name="connsiteY1" fmla="*/ 9507 h 19050"/>
                <a:gd name="connsiteX2" fmla="*/ 16879 w 19050"/>
                <a:gd name="connsiteY2" fmla="*/ 9507 h 19050"/>
                <a:gd name="connsiteX3" fmla="*/ 16879 w 19050"/>
                <a:gd name="connsiteY3" fmla="*/ 13193 h 19050"/>
                <a:gd name="connsiteX4" fmla="*/ 13190 w 19050"/>
                <a:gd name="connsiteY4" fmla="*/ 13193 h 19050"/>
                <a:gd name="connsiteX5" fmla="*/ 13190 w 19050"/>
                <a:gd name="connsiteY5" fmla="*/ 16889 h 19050"/>
                <a:gd name="connsiteX6" fmla="*/ 16879 w 19050"/>
                <a:gd name="connsiteY6" fmla="*/ 16889 h 19050"/>
                <a:gd name="connsiteX7" fmla="*/ 13190 w 19050"/>
                <a:gd name="connsiteY7" fmla="*/ 16889 h 19050"/>
                <a:gd name="connsiteX8" fmla="*/ 9501 w 19050"/>
                <a:gd name="connsiteY8" fmla="*/ 16889 h 19050"/>
                <a:gd name="connsiteX9" fmla="*/ 5812 w 19050"/>
                <a:gd name="connsiteY9" fmla="*/ 13193 h 19050"/>
                <a:gd name="connsiteX10" fmla="*/ 5812 w 19050"/>
                <a:gd name="connsiteY10" fmla="*/ 9507 h 19050"/>
                <a:gd name="connsiteX11" fmla="*/ 5812 w 19050"/>
                <a:gd name="connsiteY11" fmla="*/ 5812 h 19050"/>
                <a:gd name="connsiteX12" fmla="*/ 5812 w 19050"/>
                <a:gd name="connsiteY12" fmla="*/ 5812 h 19050"/>
                <a:gd name="connsiteX13" fmla="*/ 5812 w 19050"/>
                <a:gd name="connsiteY13" fmla="*/ 5812 h 19050"/>
                <a:gd name="connsiteX14" fmla="*/ 9501 w 19050"/>
                <a:gd name="connsiteY14" fmla="*/ 5812 h 19050"/>
                <a:gd name="connsiteX15" fmla="*/ 13190 w 19050"/>
                <a:gd name="connsiteY15"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050" h="19050">
                  <a:moveTo>
                    <a:pt x="13190" y="5812"/>
                  </a:moveTo>
                  <a:lnTo>
                    <a:pt x="13190" y="9507"/>
                  </a:lnTo>
                  <a:lnTo>
                    <a:pt x="16879" y="9507"/>
                  </a:lnTo>
                  <a:lnTo>
                    <a:pt x="16879" y="13193"/>
                  </a:lnTo>
                  <a:lnTo>
                    <a:pt x="13190" y="13193"/>
                  </a:lnTo>
                  <a:lnTo>
                    <a:pt x="13190" y="16889"/>
                  </a:lnTo>
                  <a:lnTo>
                    <a:pt x="16879" y="16889"/>
                  </a:lnTo>
                  <a:lnTo>
                    <a:pt x="13190" y="16889"/>
                  </a:lnTo>
                  <a:lnTo>
                    <a:pt x="9501" y="16889"/>
                  </a:lnTo>
                  <a:lnTo>
                    <a:pt x="5812" y="13193"/>
                  </a:lnTo>
                  <a:lnTo>
                    <a:pt x="5812" y="9507"/>
                  </a:lnTo>
                  <a:lnTo>
                    <a:pt x="5812" y="5812"/>
                  </a:lnTo>
                  <a:lnTo>
                    <a:pt x="5812" y="5812"/>
                  </a:lnTo>
                  <a:lnTo>
                    <a:pt x="5812" y="5812"/>
                  </a:lnTo>
                  <a:lnTo>
                    <a:pt x="9501" y="5812"/>
                  </a:lnTo>
                  <a:lnTo>
                    <a:pt x="13190" y="5812"/>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08" name="Freeform: Shape 307">
              <a:extLst>
                <a:ext uri="{FF2B5EF4-FFF2-40B4-BE49-F238E27FC236}">
                  <a16:creationId xmlns:a16="http://schemas.microsoft.com/office/drawing/2014/main" id="{6ACD6EE4-CB0F-4157-9A9E-2CDDF9309528}"/>
                </a:ext>
              </a:extLst>
            </p:cNvPr>
            <p:cNvSpPr/>
            <p:nvPr/>
          </p:nvSpPr>
          <p:spPr>
            <a:xfrm>
              <a:off x="8172091" y="5212783"/>
              <a:ext cx="15373" cy="15373"/>
            </a:xfrm>
            <a:custGeom>
              <a:avLst/>
              <a:gdLst>
                <a:gd name="connsiteX0" fmla="*/ 5812 w 9525"/>
                <a:gd name="connsiteY0" fmla="*/ 9498 h 9525"/>
                <a:gd name="connsiteX1" fmla="*/ 9501 w 9525"/>
                <a:gd name="connsiteY1" fmla="*/ 9498 h 9525"/>
                <a:gd name="connsiteX2" fmla="*/ 13190 w 9525"/>
                <a:gd name="connsiteY2" fmla="*/ 5812 h 9525"/>
                <a:gd name="connsiteX3" fmla="*/ 13190 w 9525"/>
                <a:gd name="connsiteY3" fmla="*/ 9498 h 9525"/>
                <a:gd name="connsiteX4" fmla="*/ 13190 w 9525"/>
                <a:gd name="connsiteY4" fmla="*/ 9498 h 9525"/>
                <a:gd name="connsiteX5" fmla="*/ 13190 w 9525"/>
                <a:gd name="connsiteY5" fmla="*/ 9498 h 9525"/>
                <a:gd name="connsiteX6" fmla="*/ 5812 w 9525"/>
                <a:gd name="connsiteY6" fmla="*/ 9498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9525">
                  <a:moveTo>
                    <a:pt x="5812" y="9498"/>
                  </a:moveTo>
                  <a:lnTo>
                    <a:pt x="9501" y="9498"/>
                  </a:lnTo>
                  <a:lnTo>
                    <a:pt x="13190" y="5812"/>
                  </a:lnTo>
                  <a:lnTo>
                    <a:pt x="13190" y="9498"/>
                  </a:lnTo>
                  <a:lnTo>
                    <a:pt x="13190" y="9498"/>
                  </a:lnTo>
                  <a:lnTo>
                    <a:pt x="13190" y="9498"/>
                  </a:lnTo>
                  <a:lnTo>
                    <a:pt x="5812" y="9498"/>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09" name="Freeform: Shape 308">
              <a:extLst>
                <a:ext uri="{FF2B5EF4-FFF2-40B4-BE49-F238E27FC236}">
                  <a16:creationId xmlns:a16="http://schemas.microsoft.com/office/drawing/2014/main" id="{F4E42445-3AF9-4004-B87C-EBCFE24067A3}"/>
                </a:ext>
              </a:extLst>
            </p:cNvPr>
            <p:cNvSpPr/>
            <p:nvPr/>
          </p:nvSpPr>
          <p:spPr>
            <a:xfrm>
              <a:off x="8309033" y="5224698"/>
              <a:ext cx="46118" cy="30745"/>
            </a:xfrm>
            <a:custGeom>
              <a:avLst/>
              <a:gdLst>
                <a:gd name="connsiteX0" fmla="*/ 24258 w 28575"/>
                <a:gd name="connsiteY0" fmla="*/ 13193 h 19050"/>
                <a:gd name="connsiteX1" fmla="*/ 24258 w 28575"/>
                <a:gd name="connsiteY1" fmla="*/ 13193 h 19050"/>
                <a:gd name="connsiteX2" fmla="*/ 24258 w 28575"/>
                <a:gd name="connsiteY2" fmla="*/ 16880 h 19050"/>
                <a:gd name="connsiteX3" fmla="*/ 24258 w 28575"/>
                <a:gd name="connsiteY3" fmla="*/ 16880 h 19050"/>
                <a:gd name="connsiteX4" fmla="*/ 24258 w 28575"/>
                <a:gd name="connsiteY4" fmla="*/ 20575 h 19050"/>
                <a:gd name="connsiteX5" fmla="*/ 24258 w 28575"/>
                <a:gd name="connsiteY5" fmla="*/ 20575 h 19050"/>
                <a:gd name="connsiteX6" fmla="*/ 20568 w 28575"/>
                <a:gd name="connsiteY6" fmla="*/ 20575 h 19050"/>
                <a:gd name="connsiteX7" fmla="*/ 20568 w 28575"/>
                <a:gd name="connsiteY7" fmla="*/ 20575 h 19050"/>
                <a:gd name="connsiteX8" fmla="*/ 16879 w 28575"/>
                <a:gd name="connsiteY8" fmla="*/ 20575 h 19050"/>
                <a:gd name="connsiteX9" fmla="*/ 16879 w 28575"/>
                <a:gd name="connsiteY9" fmla="*/ 16880 h 19050"/>
                <a:gd name="connsiteX10" fmla="*/ 13190 w 28575"/>
                <a:gd name="connsiteY10" fmla="*/ 16880 h 19050"/>
                <a:gd name="connsiteX11" fmla="*/ 13190 w 28575"/>
                <a:gd name="connsiteY11" fmla="*/ 16880 h 19050"/>
                <a:gd name="connsiteX12" fmla="*/ 16879 w 28575"/>
                <a:gd name="connsiteY12" fmla="*/ 16880 h 19050"/>
                <a:gd name="connsiteX13" fmla="*/ 20568 w 28575"/>
                <a:gd name="connsiteY13" fmla="*/ 16880 h 19050"/>
                <a:gd name="connsiteX14" fmla="*/ 16879 w 28575"/>
                <a:gd name="connsiteY14" fmla="*/ 13193 h 19050"/>
                <a:gd name="connsiteX15" fmla="*/ 20568 w 28575"/>
                <a:gd name="connsiteY15" fmla="*/ 13193 h 19050"/>
                <a:gd name="connsiteX16" fmla="*/ 20568 w 28575"/>
                <a:gd name="connsiteY16" fmla="*/ 13193 h 19050"/>
                <a:gd name="connsiteX17" fmla="*/ 16879 w 28575"/>
                <a:gd name="connsiteY17" fmla="*/ 13193 h 19050"/>
                <a:gd name="connsiteX18" fmla="*/ 13190 w 28575"/>
                <a:gd name="connsiteY18" fmla="*/ 16880 h 19050"/>
                <a:gd name="connsiteX19" fmla="*/ 13190 w 28575"/>
                <a:gd name="connsiteY19" fmla="*/ 13193 h 19050"/>
                <a:gd name="connsiteX20" fmla="*/ 13190 w 28575"/>
                <a:gd name="connsiteY20" fmla="*/ 13193 h 19050"/>
                <a:gd name="connsiteX21" fmla="*/ 16879 w 28575"/>
                <a:gd name="connsiteY21" fmla="*/ 13193 h 19050"/>
                <a:gd name="connsiteX22" fmla="*/ 16879 w 28575"/>
                <a:gd name="connsiteY22" fmla="*/ 13193 h 19050"/>
                <a:gd name="connsiteX23" fmla="*/ 13190 w 28575"/>
                <a:gd name="connsiteY23" fmla="*/ 13193 h 19050"/>
                <a:gd name="connsiteX24" fmla="*/ 16879 w 28575"/>
                <a:gd name="connsiteY24" fmla="*/ 9498 h 19050"/>
                <a:gd name="connsiteX25" fmla="*/ 16879 w 28575"/>
                <a:gd name="connsiteY25" fmla="*/ 9498 h 19050"/>
                <a:gd name="connsiteX26" fmla="*/ 13190 w 28575"/>
                <a:gd name="connsiteY26" fmla="*/ 9498 h 19050"/>
                <a:gd name="connsiteX27" fmla="*/ 13190 w 28575"/>
                <a:gd name="connsiteY27" fmla="*/ 9498 h 19050"/>
                <a:gd name="connsiteX28" fmla="*/ 9501 w 28575"/>
                <a:gd name="connsiteY28" fmla="*/ 9498 h 19050"/>
                <a:gd name="connsiteX29" fmla="*/ 9501 w 28575"/>
                <a:gd name="connsiteY29" fmla="*/ 9498 h 19050"/>
                <a:gd name="connsiteX30" fmla="*/ 9501 w 28575"/>
                <a:gd name="connsiteY30" fmla="*/ 5812 h 19050"/>
                <a:gd name="connsiteX31" fmla="*/ 9501 w 28575"/>
                <a:gd name="connsiteY31" fmla="*/ 9498 h 19050"/>
                <a:gd name="connsiteX32" fmla="*/ 5812 w 28575"/>
                <a:gd name="connsiteY32" fmla="*/ 9498 h 19050"/>
                <a:gd name="connsiteX33" fmla="*/ 5812 w 28575"/>
                <a:gd name="connsiteY33" fmla="*/ 5812 h 19050"/>
                <a:gd name="connsiteX34" fmla="*/ 13190 w 28575"/>
                <a:gd name="connsiteY34" fmla="*/ 5812 h 19050"/>
                <a:gd name="connsiteX35" fmla="*/ 16879 w 28575"/>
                <a:gd name="connsiteY35" fmla="*/ 5812 h 19050"/>
                <a:gd name="connsiteX36" fmla="*/ 16879 w 28575"/>
                <a:gd name="connsiteY36" fmla="*/ 5812 h 19050"/>
                <a:gd name="connsiteX37" fmla="*/ 20568 w 28575"/>
                <a:gd name="connsiteY37" fmla="*/ 9498 h 19050"/>
                <a:gd name="connsiteX38" fmla="*/ 20568 w 28575"/>
                <a:gd name="connsiteY38" fmla="*/ 9498 h 19050"/>
                <a:gd name="connsiteX39" fmla="*/ 24258 w 28575"/>
                <a:gd name="connsiteY39" fmla="*/ 13193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575" h="19050">
                  <a:moveTo>
                    <a:pt x="24258" y="13193"/>
                  </a:moveTo>
                  <a:lnTo>
                    <a:pt x="24258" y="13193"/>
                  </a:lnTo>
                  <a:lnTo>
                    <a:pt x="24258" y="16880"/>
                  </a:lnTo>
                  <a:lnTo>
                    <a:pt x="24258" y="16880"/>
                  </a:lnTo>
                  <a:lnTo>
                    <a:pt x="24258" y="20575"/>
                  </a:lnTo>
                  <a:lnTo>
                    <a:pt x="24258" y="20575"/>
                  </a:lnTo>
                  <a:lnTo>
                    <a:pt x="20568" y="20575"/>
                  </a:lnTo>
                  <a:lnTo>
                    <a:pt x="20568" y="20575"/>
                  </a:lnTo>
                  <a:lnTo>
                    <a:pt x="16879" y="20575"/>
                  </a:lnTo>
                  <a:lnTo>
                    <a:pt x="16879" y="16880"/>
                  </a:lnTo>
                  <a:lnTo>
                    <a:pt x="13190" y="16880"/>
                  </a:lnTo>
                  <a:lnTo>
                    <a:pt x="13190" y="16880"/>
                  </a:lnTo>
                  <a:lnTo>
                    <a:pt x="16879" y="16880"/>
                  </a:lnTo>
                  <a:lnTo>
                    <a:pt x="20568" y="16880"/>
                  </a:lnTo>
                  <a:lnTo>
                    <a:pt x="16879" y="13193"/>
                  </a:lnTo>
                  <a:lnTo>
                    <a:pt x="20568" y="13193"/>
                  </a:lnTo>
                  <a:lnTo>
                    <a:pt x="20568" y="13193"/>
                  </a:lnTo>
                  <a:lnTo>
                    <a:pt x="16879" y="13193"/>
                  </a:lnTo>
                  <a:lnTo>
                    <a:pt x="13190" y="16880"/>
                  </a:lnTo>
                  <a:lnTo>
                    <a:pt x="13190" y="13193"/>
                  </a:lnTo>
                  <a:lnTo>
                    <a:pt x="13190" y="13193"/>
                  </a:lnTo>
                  <a:lnTo>
                    <a:pt x="16879" y="13193"/>
                  </a:lnTo>
                  <a:lnTo>
                    <a:pt x="16879" y="13193"/>
                  </a:lnTo>
                  <a:lnTo>
                    <a:pt x="13190" y="13193"/>
                  </a:lnTo>
                  <a:lnTo>
                    <a:pt x="16879" y="9498"/>
                  </a:lnTo>
                  <a:lnTo>
                    <a:pt x="16879" y="9498"/>
                  </a:lnTo>
                  <a:lnTo>
                    <a:pt x="13190" y="9498"/>
                  </a:lnTo>
                  <a:lnTo>
                    <a:pt x="13190" y="9498"/>
                  </a:lnTo>
                  <a:lnTo>
                    <a:pt x="9501" y="9498"/>
                  </a:lnTo>
                  <a:lnTo>
                    <a:pt x="9501" y="9498"/>
                  </a:lnTo>
                  <a:lnTo>
                    <a:pt x="9501" y="5812"/>
                  </a:lnTo>
                  <a:lnTo>
                    <a:pt x="9501" y="9498"/>
                  </a:lnTo>
                  <a:lnTo>
                    <a:pt x="5812" y="9498"/>
                  </a:lnTo>
                  <a:lnTo>
                    <a:pt x="5812" y="5812"/>
                  </a:lnTo>
                  <a:lnTo>
                    <a:pt x="13190" y="5812"/>
                  </a:lnTo>
                  <a:lnTo>
                    <a:pt x="16879" y="5812"/>
                  </a:lnTo>
                  <a:lnTo>
                    <a:pt x="16879" y="5812"/>
                  </a:lnTo>
                  <a:lnTo>
                    <a:pt x="20568" y="9498"/>
                  </a:lnTo>
                  <a:lnTo>
                    <a:pt x="20568" y="9498"/>
                  </a:lnTo>
                  <a:lnTo>
                    <a:pt x="24258" y="13193"/>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10" name="Freeform: Shape 309">
              <a:extLst>
                <a:ext uri="{FF2B5EF4-FFF2-40B4-BE49-F238E27FC236}">
                  <a16:creationId xmlns:a16="http://schemas.microsoft.com/office/drawing/2014/main" id="{2097215A-1C64-4FCB-BF42-510B38AB0CF6}"/>
                </a:ext>
              </a:extLst>
            </p:cNvPr>
            <p:cNvSpPr/>
            <p:nvPr/>
          </p:nvSpPr>
          <p:spPr>
            <a:xfrm>
              <a:off x="7701717" y="5159176"/>
              <a:ext cx="722515" cy="276709"/>
            </a:xfrm>
            <a:custGeom>
              <a:avLst/>
              <a:gdLst>
                <a:gd name="connsiteX0" fmla="*/ 79595 w 447675"/>
                <a:gd name="connsiteY0" fmla="*/ 5812 h 171450"/>
                <a:gd name="connsiteX1" fmla="*/ 79595 w 447675"/>
                <a:gd name="connsiteY1" fmla="*/ 9498 h 171450"/>
                <a:gd name="connsiteX2" fmla="*/ 75906 w 447675"/>
                <a:gd name="connsiteY2" fmla="*/ 9498 h 171450"/>
                <a:gd name="connsiteX3" fmla="*/ 72217 w 447675"/>
                <a:gd name="connsiteY3" fmla="*/ 9498 h 171450"/>
                <a:gd name="connsiteX4" fmla="*/ 64839 w 447675"/>
                <a:gd name="connsiteY4" fmla="*/ 13194 h 171450"/>
                <a:gd name="connsiteX5" fmla="*/ 61149 w 447675"/>
                <a:gd name="connsiteY5" fmla="*/ 13194 h 171450"/>
                <a:gd name="connsiteX6" fmla="*/ 57460 w 447675"/>
                <a:gd name="connsiteY6" fmla="*/ 13194 h 171450"/>
                <a:gd name="connsiteX7" fmla="*/ 53771 w 447675"/>
                <a:gd name="connsiteY7" fmla="*/ 16880 h 171450"/>
                <a:gd name="connsiteX8" fmla="*/ 50082 w 447675"/>
                <a:gd name="connsiteY8" fmla="*/ 16880 h 171450"/>
                <a:gd name="connsiteX9" fmla="*/ 46393 w 447675"/>
                <a:gd name="connsiteY9" fmla="*/ 16880 h 171450"/>
                <a:gd name="connsiteX10" fmla="*/ 42703 w 447675"/>
                <a:gd name="connsiteY10" fmla="*/ 16880 h 171450"/>
                <a:gd name="connsiteX11" fmla="*/ 39014 w 447675"/>
                <a:gd name="connsiteY11" fmla="*/ 16880 h 171450"/>
                <a:gd name="connsiteX12" fmla="*/ 35325 w 447675"/>
                <a:gd name="connsiteY12" fmla="*/ 16880 h 171450"/>
                <a:gd name="connsiteX13" fmla="*/ 35325 w 447675"/>
                <a:gd name="connsiteY13" fmla="*/ 20575 h 171450"/>
                <a:gd name="connsiteX14" fmla="*/ 31636 w 447675"/>
                <a:gd name="connsiteY14" fmla="*/ 20575 h 171450"/>
                <a:gd name="connsiteX15" fmla="*/ 27947 w 447675"/>
                <a:gd name="connsiteY15" fmla="*/ 24262 h 171450"/>
                <a:gd name="connsiteX16" fmla="*/ 24258 w 447675"/>
                <a:gd name="connsiteY16" fmla="*/ 24262 h 171450"/>
                <a:gd name="connsiteX17" fmla="*/ 20568 w 447675"/>
                <a:gd name="connsiteY17" fmla="*/ 24262 h 171450"/>
                <a:gd name="connsiteX18" fmla="*/ 16879 w 447675"/>
                <a:gd name="connsiteY18" fmla="*/ 27957 h 171450"/>
                <a:gd name="connsiteX19" fmla="*/ 13190 w 447675"/>
                <a:gd name="connsiteY19" fmla="*/ 27957 h 171450"/>
                <a:gd name="connsiteX20" fmla="*/ 13190 w 447675"/>
                <a:gd name="connsiteY20" fmla="*/ 31643 h 171450"/>
                <a:gd name="connsiteX21" fmla="*/ 16879 w 447675"/>
                <a:gd name="connsiteY21" fmla="*/ 35339 h 171450"/>
                <a:gd name="connsiteX22" fmla="*/ 16879 w 447675"/>
                <a:gd name="connsiteY22" fmla="*/ 42711 h 171450"/>
                <a:gd name="connsiteX23" fmla="*/ 16879 w 447675"/>
                <a:gd name="connsiteY23" fmla="*/ 46407 h 171450"/>
                <a:gd name="connsiteX24" fmla="*/ 16879 w 447675"/>
                <a:gd name="connsiteY24" fmla="*/ 50093 h 171450"/>
                <a:gd name="connsiteX25" fmla="*/ 20568 w 447675"/>
                <a:gd name="connsiteY25" fmla="*/ 53789 h 171450"/>
                <a:gd name="connsiteX26" fmla="*/ 20568 w 447675"/>
                <a:gd name="connsiteY26" fmla="*/ 61171 h 171450"/>
                <a:gd name="connsiteX27" fmla="*/ 9501 w 447675"/>
                <a:gd name="connsiteY27" fmla="*/ 72239 h 171450"/>
                <a:gd name="connsiteX28" fmla="*/ 5812 w 447675"/>
                <a:gd name="connsiteY28" fmla="*/ 75935 h 171450"/>
                <a:gd name="connsiteX29" fmla="*/ 9501 w 447675"/>
                <a:gd name="connsiteY29" fmla="*/ 79621 h 171450"/>
                <a:gd name="connsiteX30" fmla="*/ 16879 w 447675"/>
                <a:gd name="connsiteY30" fmla="*/ 87003 h 171450"/>
                <a:gd name="connsiteX31" fmla="*/ 13190 w 447675"/>
                <a:gd name="connsiteY31" fmla="*/ 87003 h 171450"/>
                <a:gd name="connsiteX32" fmla="*/ 9501 w 447675"/>
                <a:gd name="connsiteY32" fmla="*/ 87003 h 171450"/>
                <a:gd name="connsiteX33" fmla="*/ 9501 w 447675"/>
                <a:gd name="connsiteY33" fmla="*/ 90689 h 171450"/>
                <a:gd name="connsiteX34" fmla="*/ 13190 w 447675"/>
                <a:gd name="connsiteY34" fmla="*/ 94385 h 171450"/>
                <a:gd name="connsiteX35" fmla="*/ 16879 w 447675"/>
                <a:gd name="connsiteY35" fmla="*/ 98071 h 171450"/>
                <a:gd name="connsiteX36" fmla="*/ 16879 w 447675"/>
                <a:gd name="connsiteY36" fmla="*/ 101766 h 171450"/>
                <a:gd name="connsiteX37" fmla="*/ 13190 w 447675"/>
                <a:gd name="connsiteY37" fmla="*/ 105453 h 171450"/>
                <a:gd name="connsiteX38" fmla="*/ 16879 w 447675"/>
                <a:gd name="connsiteY38" fmla="*/ 109148 h 171450"/>
                <a:gd name="connsiteX39" fmla="*/ 20568 w 447675"/>
                <a:gd name="connsiteY39" fmla="*/ 109148 h 171450"/>
                <a:gd name="connsiteX40" fmla="*/ 24258 w 447675"/>
                <a:gd name="connsiteY40" fmla="*/ 116530 h 171450"/>
                <a:gd name="connsiteX41" fmla="*/ 27947 w 447675"/>
                <a:gd name="connsiteY41" fmla="*/ 116530 h 171450"/>
                <a:gd name="connsiteX42" fmla="*/ 31636 w 447675"/>
                <a:gd name="connsiteY42" fmla="*/ 123912 h 171450"/>
                <a:gd name="connsiteX43" fmla="*/ 35325 w 447675"/>
                <a:gd name="connsiteY43" fmla="*/ 120216 h 171450"/>
                <a:gd name="connsiteX44" fmla="*/ 39014 w 447675"/>
                <a:gd name="connsiteY44" fmla="*/ 123912 h 171450"/>
                <a:gd name="connsiteX45" fmla="*/ 39014 w 447675"/>
                <a:gd name="connsiteY45" fmla="*/ 127598 h 171450"/>
                <a:gd name="connsiteX46" fmla="*/ 39014 w 447675"/>
                <a:gd name="connsiteY46" fmla="*/ 131294 h 171450"/>
                <a:gd name="connsiteX47" fmla="*/ 42703 w 447675"/>
                <a:gd name="connsiteY47" fmla="*/ 131294 h 171450"/>
                <a:gd name="connsiteX48" fmla="*/ 46393 w 447675"/>
                <a:gd name="connsiteY48" fmla="*/ 134980 h 171450"/>
                <a:gd name="connsiteX49" fmla="*/ 50082 w 447675"/>
                <a:gd name="connsiteY49" fmla="*/ 134980 h 171450"/>
                <a:gd name="connsiteX50" fmla="*/ 61149 w 447675"/>
                <a:gd name="connsiteY50" fmla="*/ 134980 h 171450"/>
                <a:gd name="connsiteX51" fmla="*/ 90663 w 447675"/>
                <a:gd name="connsiteY51" fmla="*/ 131294 h 171450"/>
                <a:gd name="connsiteX52" fmla="*/ 86974 w 447675"/>
                <a:gd name="connsiteY52" fmla="*/ 105453 h 171450"/>
                <a:gd name="connsiteX53" fmla="*/ 83284 w 447675"/>
                <a:gd name="connsiteY53" fmla="*/ 101766 h 171450"/>
                <a:gd name="connsiteX54" fmla="*/ 90663 w 447675"/>
                <a:gd name="connsiteY54" fmla="*/ 98071 h 171450"/>
                <a:gd name="connsiteX55" fmla="*/ 94352 w 447675"/>
                <a:gd name="connsiteY55" fmla="*/ 101766 h 171450"/>
                <a:gd name="connsiteX56" fmla="*/ 98042 w 447675"/>
                <a:gd name="connsiteY56" fmla="*/ 101766 h 171450"/>
                <a:gd name="connsiteX57" fmla="*/ 98042 w 447675"/>
                <a:gd name="connsiteY57" fmla="*/ 98071 h 171450"/>
                <a:gd name="connsiteX58" fmla="*/ 101731 w 447675"/>
                <a:gd name="connsiteY58" fmla="*/ 98071 h 171450"/>
                <a:gd name="connsiteX59" fmla="*/ 105420 w 447675"/>
                <a:gd name="connsiteY59" fmla="*/ 98071 h 171450"/>
                <a:gd name="connsiteX60" fmla="*/ 105420 w 447675"/>
                <a:gd name="connsiteY60" fmla="*/ 94385 h 171450"/>
                <a:gd name="connsiteX61" fmla="*/ 109109 w 447675"/>
                <a:gd name="connsiteY61" fmla="*/ 94385 h 171450"/>
                <a:gd name="connsiteX62" fmla="*/ 112798 w 447675"/>
                <a:gd name="connsiteY62" fmla="*/ 98071 h 171450"/>
                <a:gd name="connsiteX63" fmla="*/ 116487 w 447675"/>
                <a:gd name="connsiteY63" fmla="*/ 101766 h 171450"/>
                <a:gd name="connsiteX64" fmla="*/ 120177 w 447675"/>
                <a:gd name="connsiteY64" fmla="*/ 98071 h 171450"/>
                <a:gd name="connsiteX65" fmla="*/ 116487 w 447675"/>
                <a:gd name="connsiteY65" fmla="*/ 90689 h 171450"/>
                <a:gd name="connsiteX66" fmla="*/ 123866 w 447675"/>
                <a:gd name="connsiteY66" fmla="*/ 87003 h 171450"/>
                <a:gd name="connsiteX67" fmla="*/ 127555 w 447675"/>
                <a:gd name="connsiteY67" fmla="*/ 90689 h 171450"/>
                <a:gd name="connsiteX68" fmla="*/ 134933 w 447675"/>
                <a:gd name="connsiteY68" fmla="*/ 94385 h 171450"/>
                <a:gd name="connsiteX69" fmla="*/ 138622 w 447675"/>
                <a:gd name="connsiteY69" fmla="*/ 98071 h 171450"/>
                <a:gd name="connsiteX70" fmla="*/ 146001 w 447675"/>
                <a:gd name="connsiteY70" fmla="*/ 101766 h 171450"/>
                <a:gd name="connsiteX71" fmla="*/ 149690 w 447675"/>
                <a:gd name="connsiteY71" fmla="*/ 101766 h 171450"/>
                <a:gd name="connsiteX72" fmla="*/ 149690 w 447675"/>
                <a:gd name="connsiteY72" fmla="*/ 98071 h 171450"/>
                <a:gd name="connsiteX73" fmla="*/ 157068 w 447675"/>
                <a:gd name="connsiteY73" fmla="*/ 98071 h 171450"/>
                <a:gd name="connsiteX74" fmla="*/ 164446 w 447675"/>
                <a:gd name="connsiteY74" fmla="*/ 105453 h 171450"/>
                <a:gd name="connsiteX75" fmla="*/ 168136 w 447675"/>
                <a:gd name="connsiteY75" fmla="*/ 105453 h 171450"/>
                <a:gd name="connsiteX76" fmla="*/ 171825 w 447675"/>
                <a:gd name="connsiteY76" fmla="*/ 109148 h 171450"/>
                <a:gd name="connsiteX77" fmla="*/ 171825 w 447675"/>
                <a:gd name="connsiteY77" fmla="*/ 112835 h 171450"/>
                <a:gd name="connsiteX78" fmla="*/ 182892 w 447675"/>
                <a:gd name="connsiteY78" fmla="*/ 112835 h 171450"/>
                <a:gd name="connsiteX79" fmla="*/ 186581 w 447675"/>
                <a:gd name="connsiteY79" fmla="*/ 116530 h 171450"/>
                <a:gd name="connsiteX80" fmla="*/ 186581 w 447675"/>
                <a:gd name="connsiteY80" fmla="*/ 112835 h 171450"/>
                <a:gd name="connsiteX81" fmla="*/ 201338 w 447675"/>
                <a:gd name="connsiteY81" fmla="*/ 116530 h 171450"/>
                <a:gd name="connsiteX82" fmla="*/ 205027 w 447675"/>
                <a:gd name="connsiteY82" fmla="*/ 116530 h 171450"/>
                <a:gd name="connsiteX83" fmla="*/ 208716 w 447675"/>
                <a:gd name="connsiteY83" fmla="*/ 123912 h 171450"/>
                <a:gd name="connsiteX84" fmla="*/ 212406 w 447675"/>
                <a:gd name="connsiteY84" fmla="*/ 123912 h 171450"/>
                <a:gd name="connsiteX85" fmla="*/ 212406 w 447675"/>
                <a:gd name="connsiteY85" fmla="*/ 120216 h 171450"/>
                <a:gd name="connsiteX86" fmla="*/ 216095 w 447675"/>
                <a:gd name="connsiteY86" fmla="*/ 123912 h 171450"/>
                <a:gd name="connsiteX87" fmla="*/ 219784 w 447675"/>
                <a:gd name="connsiteY87" fmla="*/ 127598 h 171450"/>
                <a:gd name="connsiteX88" fmla="*/ 223473 w 447675"/>
                <a:gd name="connsiteY88" fmla="*/ 127598 h 171450"/>
                <a:gd name="connsiteX89" fmla="*/ 223473 w 447675"/>
                <a:gd name="connsiteY89" fmla="*/ 131294 h 171450"/>
                <a:gd name="connsiteX90" fmla="*/ 219784 w 447675"/>
                <a:gd name="connsiteY90" fmla="*/ 134980 h 171450"/>
                <a:gd name="connsiteX91" fmla="*/ 219784 w 447675"/>
                <a:gd name="connsiteY91" fmla="*/ 142362 h 171450"/>
                <a:gd name="connsiteX92" fmla="*/ 219784 w 447675"/>
                <a:gd name="connsiteY92" fmla="*/ 153430 h 171450"/>
                <a:gd name="connsiteX93" fmla="*/ 219784 w 447675"/>
                <a:gd name="connsiteY93" fmla="*/ 160812 h 171450"/>
                <a:gd name="connsiteX94" fmla="*/ 223473 w 447675"/>
                <a:gd name="connsiteY94" fmla="*/ 164508 h 171450"/>
                <a:gd name="connsiteX95" fmla="*/ 227162 w 447675"/>
                <a:gd name="connsiteY95" fmla="*/ 164508 h 171450"/>
                <a:gd name="connsiteX96" fmla="*/ 227162 w 447675"/>
                <a:gd name="connsiteY96" fmla="*/ 160812 h 171450"/>
                <a:gd name="connsiteX97" fmla="*/ 230852 w 447675"/>
                <a:gd name="connsiteY97" fmla="*/ 164508 h 171450"/>
                <a:gd name="connsiteX98" fmla="*/ 234541 w 447675"/>
                <a:gd name="connsiteY98" fmla="*/ 164508 h 171450"/>
                <a:gd name="connsiteX99" fmla="*/ 238231 w 447675"/>
                <a:gd name="connsiteY99" fmla="*/ 164508 h 171450"/>
                <a:gd name="connsiteX100" fmla="*/ 241920 w 447675"/>
                <a:gd name="connsiteY100" fmla="*/ 164508 h 171450"/>
                <a:gd name="connsiteX101" fmla="*/ 245609 w 447675"/>
                <a:gd name="connsiteY101" fmla="*/ 164508 h 171450"/>
                <a:gd name="connsiteX102" fmla="*/ 249298 w 447675"/>
                <a:gd name="connsiteY102" fmla="*/ 164508 h 171450"/>
                <a:gd name="connsiteX103" fmla="*/ 252987 w 447675"/>
                <a:gd name="connsiteY103" fmla="*/ 164508 h 171450"/>
                <a:gd name="connsiteX104" fmla="*/ 256676 w 447675"/>
                <a:gd name="connsiteY104" fmla="*/ 164508 h 171450"/>
                <a:gd name="connsiteX105" fmla="*/ 264055 w 447675"/>
                <a:gd name="connsiteY105" fmla="*/ 157126 h 171450"/>
                <a:gd name="connsiteX106" fmla="*/ 267744 w 447675"/>
                <a:gd name="connsiteY106" fmla="*/ 157126 h 171450"/>
                <a:gd name="connsiteX107" fmla="*/ 271433 w 447675"/>
                <a:gd name="connsiteY107" fmla="*/ 157126 h 171450"/>
                <a:gd name="connsiteX108" fmla="*/ 271433 w 447675"/>
                <a:gd name="connsiteY108" fmla="*/ 164508 h 171450"/>
                <a:gd name="connsiteX109" fmla="*/ 267744 w 447675"/>
                <a:gd name="connsiteY109" fmla="*/ 164508 h 171450"/>
                <a:gd name="connsiteX110" fmla="*/ 264055 w 447675"/>
                <a:gd name="connsiteY110" fmla="*/ 168194 h 171450"/>
                <a:gd name="connsiteX111" fmla="*/ 267744 w 447675"/>
                <a:gd name="connsiteY111" fmla="*/ 171890 h 171450"/>
                <a:gd name="connsiteX112" fmla="*/ 271433 w 447675"/>
                <a:gd name="connsiteY112" fmla="*/ 171890 h 171450"/>
                <a:gd name="connsiteX113" fmla="*/ 275122 w 447675"/>
                <a:gd name="connsiteY113" fmla="*/ 171890 h 171450"/>
                <a:gd name="connsiteX114" fmla="*/ 282501 w 447675"/>
                <a:gd name="connsiteY114" fmla="*/ 168194 h 171450"/>
                <a:gd name="connsiteX115" fmla="*/ 286190 w 447675"/>
                <a:gd name="connsiteY115" fmla="*/ 168194 h 171450"/>
                <a:gd name="connsiteX116" fmla="*/ 282501 w 447675"/>
                <a:gd name="connsiteY116" fmla="*/ 160812 h 171450"/>
                <a:gd name="connsiteX117" fmla="*/ 289879 w 447675"/>
                <a:gd name="connsiteY117" fmla="*/ 157126 h 171450"/>
                <a:gd name="connsiteX118" fmla="*/ 293568 w 447675"/>
                <a:gd name="connsiteY118" fmla="*/ 164508 h 171450"/>
                <a:gd name="connsiteX119" fmla="*/ 297257 w 447675"/>
                <a:gd name="connsiteY119" fmla="*/ 164508 h 171450"/>
                <a:gd name="connsiteX120" fmla="*/ 297257 w 447675"/>
                <a:gd name="connsiteY120" fmla="*/ 160812 h 171450"/>
                <a:gd name="connsiteX121" fmla="*/ 300946 w 447675"/>
                <a:gd name="connsiteY121" fmla="*/ 160812 h 171450"/>
                <a:gd name="connsiteX122" fmla="*/ 304635 w 447675"/>
                <a:gd name="connsiteY122" fmla="*/ 160812 h 171450"/>
                <a:gd name="connsiteX123" fmla="*/ 308325 w 447675"/>
                <a:gd name="connsiteY123" fmla="*/ 157126 h 171450"/>
                <a:gd name="connsiteX124" fmla="*/ 308325 w 447675"/>
                <a:gd name="connsiteY124" fmla="*/ 153430 h 171450"/>
                <a:gd name="connsiteX125" fmla="*/ 315703 w 447675"/>
                <a:gd name="connsiteY125" fmla="*/ 153430 h 171450"/>
                <a:gd name="connsiteX126" fmla="*/ 319392 w 447675"/>
                <a:gd name="connsiteY126" fmla="*/ 146048 h 171450"/>
                <a:gd name="connsiteX127" fmla="*/ 323081 w 447675"/>
                <a:gd name="connsiteY127" fmla="*/ 146048 h 171450"/>
                <a:gd name="connsiteX128" fmla="*/ 326770 w 447675"/>
                <a:gd name="connsiteY128" fmla="*/ 142362 h 171450"/>
                <a:gd name="connsiteX129" fmla="*/ 334149 w 447675"/>
                <a:gd name="connsiteY129" fmla="*/ 138666 h 171450"/>
                <a:gd name="connsiteX130" fmla="*/ 337838 w 447675"/>
                <a:gd name="connsiteY130" fmla="*/ 138666 h 171450"/>
                <a:gd name="connsiteX131" fmla="*/ 337838 w 447675"/>
                <a:gd name="connsiteY131" fmla="*/ 142362 h 171450"/>
                <a:gd name="connsiteX132" fmla="*/ 341527 w 447675"/>
                <a:gd name="connsiteY132" fmla="*/ 142362 h 171450"/>
                <a:gd name="connsiteX133" fmla="*/ 345216 w 447675"/>
                <a:gd name="connsiteY133" fmla="*/ 138666 h 171450"/>
                <a:gd name="connsiteX134" fmla="*/ 345216 w 447675"/>
                <a:gd name="connsiteY134" fmla="*/ 142362 h 171450"/>
                <a:gd name="connsiteX135" fmla="*/ 352595 w 447675"/>
                <a:gd name="connsiteY135" fmla="*/ 142362 h 171450"/>
                <a:gd name="connsiteX136" fmla="*/ 356284 w 447675"/>
                <a:gd name="connsiteY136" fmla="*/ 138666 h 171450"/>
                <a:gd name="connsiteX137" fmla="*/ 359973 w 447675"/>
                <a:gd name="connsiteY137" fmla="*/ 138666 h 171450"/>
                <a:gd name="connsiteX138" fmla="*/ 363662 w 447675"/>
                <a:gd name="connsiteY138" fmla="*/ 134980 h 171450"/>
                <a:gd name="connsiteX139" fmla="*/ 371040 w 447675"/>
                <a:gd name="connsiteY139" fmla="*/ 127598 h 171450"/>
                <a:gd name="connsiteX140" fmla="*/ 378419 w 447675"/>
                <a:gd name="connsiteY140" fmla="*/ 123912 h 171450"/>
                <a:gd name="connsiteX141" fmla="*/ 385798 w 447675"/>
                <a:gd name="connsiteY141" fmla="*/ 120216 h 171450"/>
                <a:gd name="connsiteX142" fmla="*/ 404244 w 447675"/>
                <a:gd name="connsiteY142" fmla="*/ 105453 h 171450"/>
                <a:gd name="connsiteX143" fmla="*/ 407933 w 447675"/>
                <a:gd name="connsiteY143" fmla="*/ 101766 h 171450"/>
                <a:gd name="connsiteX144" fmla="*/ 444825 w 447675"/>
                <a:gd name="connsiteY144" fmla="*/ 57475 h 171450"/>
                <a:gd name="connsiteX145" fmla="*/ 441135 w 447675"/>
                <a:gd name="connsiteY145" fmla="*/ 57475 h 171450"/>
                <a:gd name="connsiteX146" fmla="*/ 441135 w 447675"/>
                <a:gd name="connsiteY146" fmla="*/ 53789 h 171450"/>
                <a:gd name="connsiteX147" fmla="*/ 437446 w 447675"/>
                <a:gd name="connsiteY147" fmla="*/ 53789 h 171450"/>
                <a:gd name="connsiteX148" fmla="*/ 437446 w 447675"/>
                <a:gd name="connsiteY148" fmla="*/ 50093 h 171450"/>
                <a:gd name="connsiteX149" fmla="*/ 437446 w 447675"/>
                <a:gd name="connsiteY149" fmla="*/ 46407 h 171450"/>
                <a:gd name="connsiteX150" fmla="*/ 433757 w 447675"/>
                <a:gd name="connsiteY150" fmla="*/ 50093 h 171450"/>
                <a:gd name="connsiteX151" fmla="*/ 433757 w 447675"/>
                <a:gd name="connsiteY151" fmla="*/ 46407 h 171450"/>
                <a:gd name="connsiteX152" fmla="*/ 433757 w 447675"/>
                <a:gd name="connsiteY152" fmla="*/ 42711 h 171450"/>
                <a:gd name="connsiteX153" fmla="*/ 430068 w 447675"/>
                <a:gd name="connsiteY153" fmla="*/ 39025 h 171450"/>
                <a:gd name="connsiteX154" fmla="*/ 426379 w 447675"/>
                <a:gd name="connsiteY154" fmla="*/ 39025 h 171450"/>
                <a:gd name="connsiteX155" fmla="*/ 422690 w 447675"/>
                <a:gd name="connsiteY155" fmla="*/ 39025 h 171450"/>
                <a:gd name="connsiteX156" fmla="*/ 426379 w 447675"/>
                <a:gd name="connsiteY156" fmla="*/ 35339 h 171450"/>
                <a:gd name="connsiteX157" fmla="*/ 422690 w 447675"/>
                <a:gd name="connsiteY157" fmla="*/ 35339 h 171450"/>
                <a:gd name="connsiteX158" fmla="*/ 419000 w 447675"/>
                <a:gd name="connsiteY158" fmla="*/ 35339 h 171450"/>
                <a:gd name="connsiteX159" fmla="*/ 419000 w 447675"/>
                <a:gd name="connsiteY159" fmla="*/ 39025 h 171450"/>
                <a:gd name="connsiteX160" fmla="*/ 415311 w 447675"/>
                <a:gd name="connsiteY160" fmla="*/ 42711 h 171450"/>
                <a:gd name="connsiteX161" fmla="*/ 415311 w 447675"/>
                <a:gd name="connsiteY161" fmla="*/ 46407 h 171450"/>
                <a:gd name="connsiteX162" fmla="*/ 419000 w 447675"/>
                <a:gd name="connsiteY162" fmla="*/ 50093 h 171450"/>
                <a:gd name="connsiteX163" fmla="*/ 422690 w 447675"/>
                <a:gd name="connsiteY163" fmla="*/ 50093 h 171450"/>
                <a:gd name="connsiteX164" fmla="*/ 422690 w 447675"/>
                <a:gd name="connsiteY164" fmla="*/ 53789 h 171450"/>
                <a:gd name="connsiteX165" fmla="*/ 422690 w 447675"/>
                <a:gd name="connsiteY165" fmla="*/ 57475 h 171450"/>
                <a:gd name="connsiteX166" fmla="*/ 419000 w 447675"/>
                <a:gd name="connsiteY166" fmla="*/ 53789 h 171450"/>
                <a:gd name="connsiteX167" fmla="*/ 415311 w 447675"/>
                <a:gd name="connsiteY167" fmla="*/ 57475 h 171450"/>
                <a:gd name="connsiteX168" fmla="*/ 419000 w 447675"/>
                <a:gd name="connsiteY168" fmla="*/ 57475 h 171450"/>
                <a:gd name="connsiteX169" fmla="*/ 415311 w 447675"/>
                <a:gd name="connsiteY169" fmla="*/ 61171 h 171450"/>
                <a:gd name="connsiteX170" fmla="*/ 419000 w 447675"/>
                <a:gd name="connsiteY170" fmla="*/ 61171 h 171450"/>
                <a:gd name="connsiteX171" fmla="*/ 419000 w 447675"/>
                <a:gd name="connsiteY171" fmla="*/ 64857 h 171450"/>
                <a:gd name="connsiteX172" fmla="*/ 415311 w 447675"/>
                <a:gd name="connsiteY172" fmla="*/ 61171 h 171450"/>
                <a:gd name="connsiteX173" fmla="*/ 407933 w 447675"/>
                <a:gd name="connsiteY173" fmla="*/ 61171 h 171450"/>
                <a:gd name="connsiteX174" fmla="*/ 411622 w 447675"/>
                <a:gd name="connsiteY174" fmla="*/ 64857 h 171450"/>
                <a:gd name="connsiteX175" fmla="*/ 411622 w 447675"/>
                <a:gd name="connsiteY175" fmla="*/ 68553 h 171450"/>
                <a:gd name="connsiteX176" fmla="*/ 407933 w 447675"/>
                <a:gd name="connsiteY176" fmla="*/ 61171 h 171450"/>
                <a:gd name="connsiteX177" fmla="*/ 404244 w 447675"/>
                <a:gd name="connsiteY177" fmla="*/ 57475 h 171450"/>
                <a:gd name="connsiteX178" fmla="*/ 400555 w 447675"/>
                <a:gd name="connsiteY178" fmla="*/ 57475 h 171450"/>
                <a:gd name="connsiteX179" fmla="*/ 404244 w 447675"/>
                <a:gd name="connsiteY179" fmla="*/ 61171 h 171450"/>
                <a:gd name="connsiteX180" fmla="*/ 407933 w 447675"/>
                <a:gd name="connsiteY180" fmla="*/ 64857 h 171450"/>
                <a:gd name="connsiteX181" fmla="*/ 404244 w 447675"/>
                <a:gd name="connsiteY181" fmla="*/ 64857 h 171450"/>
                <a:gd name="connsiteX182" fmla="*/ 404244 w 447675"/>
                <a:gd name="connsiteY182" fmla="*/ 61171 h 171450"/>
                <a:gd name="connsiteX183" fmla="*/ 400555 w 447675"/>
                <a:gd name="connsiteY183" fmla="*/ 61171 h 171450"/>
                <a:gd name="connsiteX184" fmla="*/ 396865 w 447675"/>
                <a:gd name="connsiteY184" fmla="*/ 61171 h 171450"/>
                <a:gd name="connsiteX185" fmla="*/ 393176 w 447675"/>
                <a:gd name="connsiteY185" fmla="*/ 61171 h 171450"/>
                <a:gd name="connsiteX186" fmla="*/ 393176 w 447675"/>
                <a:gd name="connsiteY186" fmla="*/ 64857 h 171450"/>
                <a:gd name="connsiteX187" fmla="*/ 396865 w 447675"/>
                <a:gd name="connsiteY187" fmla="*/ 64857 h 171450"/>
                <a:gd name="connsiteX188" fmla="*/ 396865 w 447675"/>
                <a:gd name="connsiteY188" fmla="*/ 68553 h 171450"/>
                <a:gd name="connsiteX189" fmla="*/ 393176 w 447675"/>
                <a:gd name="connsiteY189" fmla="*/ 68553 h 171450"/>
                <a:gd name="connsiteX190" fmla="*/ 385798 w 447675"/>
                <a:gd name="connsiteY190" fmla="*/ 53789 h 171450"/>
                <a:gd name="connsiteX191" fmla="*/ 382109 w 447675"/>
                <a:gd name="connsiteY191" fmla="*/ 53789 h 171450"/>
                <a:gd name="connsiteX192" fmla="*/ 371040 w 447675"/>
                <a:gd name="connsiteY192" fmla="*/ 46407 h 171450"/>
                <a:gd name="connsiteX193" fmla="*/ 371040 w 447675"/>
                <a:gd name="connsiteY193" fmla="*/ 42711 h 171450"/>
                <a:gd name="connsiteX194" fmla="*/ 367351 w 447675"/>
                <a:gd name="connsiteY194" fmla="*/ 42711 h 171450"/>
                <a:gd name="connsiteX195" fmla="*/ 367351 w 447675"/>
                <a:gd name="connsiteY195" fmla="*/ 46407 h 171450"/>
                <a:gd name="connsiteX196" fmla="*/ 352595 w 447675"/>
                <a:gd name="connsiteY196" fmla="*/ 42711 h 171450"/>
                <a:gd name="connsiteX197" fmla="*/ 348905 w 447675"/>
                <a:gd name="connsiteY197" fmla="*/ 39025 h 171450"/>
                <a:gd name="connsiteX198" fmla="*/ 348905 w 447675"/>
                <a:gd name="connsiteY198" fmla="*/ 35339 h 171450"/>
                <a:gd name="connsiteX199" fmla="*/ 345216 w 447675"/>
                <a:gd name="connsiteY199" fmla="*/ 31643 h 171450"/>
                <a:gd name="connsiteX200" fmla="*/ 345216 w 447675"/>
                <a:gd name="connsiteY200" fmla="*/ 27957 h 171450"/>
                <a:gd name="connsiteX201" fmla="*/ 341527 w 447675"/>
                <a:gd name="connsiteY201" fmla="*/ 24262 h 171450"/>
                <a:gd name="connsiteX202" fmla="*/ 345216 w 447675"/>
                <a:gd name="connsiteY202" fmla="*/ 20575 h 171450"/>
                <a:gd name="connsiteX203" fmla="*/ 341527 w 447675"/>
                <a:gd name="connsiteY203" fmla="*/ 20575 h 171450"/>
                <a:gd name="connsiteX204" fmla="*/ 337838 w 447675"/>
                <a:gd name="connsiteY204" fmla="*/ 16880 h 171450"/>
                <a:gd name="connsiteX205" fmla="*/ 337838 w 447675"/>
                <a:gd name="connsiteY205" fmla="*/ 13194 h 171450"/>
                <a:gd name="connsiteX206" fmla="*/ 330460 w 447675"/>
                <a:gd name="connsiteY206" fmla="*/ 13194 h 171450"/>
                <a:gd name="connsiteX207" fmla="*/ 326770 w 447675"/>
                <a:gd name="connsiteY207" fmla="*/ 13194 h 171450"/>
                <a:gd name="connsiteX208" fmla="*/ 323081 w 447675"/>
                <a:gd name="connsiteY208" fmla="*/ 9498 h 171450"/>
                <a:gd name="connsiteX209" fmla="*/ 315703 w 447675"/>
                <a:gd name="connsiteY209" fmla="*/ 9498 h 171450"/>
                <a:gd name="connsiteX210" fmla="*/ 312014 w 447675"/>
                <a:gd name="connsiteY210" fmla="*/ 16880 h 171450"/>
                <a:gd name="connsiteX211" fmla="*/ 312014 w 447675"/>
                <a:gd name="connsiteY211" fmla="*/ 20575 h 171450"/>
                <a:gd name="connsiteX212" fmla="*/ 308325 w 447675"/>
                <a:gd name="connsiteY212" fmla="*/ 20575 h 171450"/>
                <a:gd name="connsiteX213" fmla="*/ 308325 w 447675"/>
                <a:gd name="connsiteY213" fmla="*/ 27957 h 171450"/>
                <a:gd name="connsiteX214" fmla="*/ 308325 w 447675"/>
                <a:gd name="connsiteY214" fmla="*/ 31643 h 171450"/>
                <a:gd name="connsiteX215" fmla="*/ 308325 w 447675"/>
                <a:gd name="connsiteY215" fmla="*/ 35339 h 171450"/>
                <a:gd name="connsiteX216" fmla="*/ 308325 w 447675"/>
                <a:gd name="connsiteY216" fmla="*/ 39025 h 171450"/>
                <a:gd name="connsiteX217" fmla="*/ 304635 w 447675"/>
                <a:gd name="connsiteY217" fmla="*/ 42711 h 171450"/>
                <a:gd name="connsiteX218" fmla="*/ 297257 w 447675"/>
                <a:gd name="connsiteY218" fmla="*/ 42711 h 171450"/>
                <a:gd name="connsiteX219" fmla="*/ 286190 w 447675"/>
                <a:gd name="connsiteY219" fmla="*/ 46407 h 171450"/>
                <a:gd name="connsiteX220" fmla="*/ 278811 w 447675"/>
                <a:gd name="connsiteY220" fmla="*/ 50093 h 171450"/>
                <a:gd name="connsiteX221" fmla="*/ 275122 w 447675"/>
                <a:gd name="connsiteY221" fmla="*/ 53789 h 171450"/>
                <a:gd name="connsiteX222" fmla="*/ 271433 w 447675"/>
                <a:gd name="connsiteY222" fmla="*/ 53789 h 171450"/>
                <a:gd name="connsiteX223" fmla="*/ 271433 w 447675"/>
                <a:gd name="connsiteY223" fmla="*/ 57475 h 171450"/>
                <a:gd name="connsiteX224" fmla="*/ 264055 w 447675"/>
                <a:gd name="connsiteY224" fmla="*/ 57475 h 171450"/>
                <a:gd name="connsiteX225" fmla="*/ 264055 w 447675"/>
                <a:gd name="connsiteY225" fmla="*/ 61171 h 171450"/>
                <a:gd name="connsiteX226" fmla="*/ 260366 w 447675"/>
                <a:gd name="connsiteY226" fmla="*/ 64857 h 171450"/>
                <a:gd name="connsiteX227" fmla="*/ 256676 w 447675"/>
                <a:gd name="connsiteY227" fmla="*/ 64857 h 171450"/>
                <a:gd name="connsiteX228" fmla="*/ 249298 w 447675"/>
                <a:gd name="connsiteY228" fmla="*/ 64857 h 171450"/>
                <a:gd name="connsiteX229" fmla="*/ 245609 w 447675"/>
                <a:gd name="connsiteY229" fmla="*/ 64857 h 171450"/>
                <a:gd name="connsiteX230" fmla="*/ 241920 w 447675"/>
                <a:gd name="connsiteY230" fmla="*/ 61171 h 171450"/>
                <a:gd name="connsiteX231" fmla="*/ 238231 w 447675"/>
                <a:gd name="connsiteY231" fmla="*/ 61171 h 171450"/>
                <a:gd name="connsiteX232" fmla="*/ 238231 w 447675"/>
                <a:gd name="connsiteY232" fmla="*/ 64857 h 171450"/>
                <a:gd name="connsiteX233" fmla="*/ 234541 w 447675"/>
                <a:gd name="connsiteY233" fmla="*/ 61171 h 171450"/>
                <a:gd name="connsiteX234" fmla="*/ 234541 w 447675"/>
                <a:gd name="connsiteY234" fmla="*/ 64857 h 171450"/>
                <a:gd name="connsiteX235" fmla="*/ 234541 w 447675"/>
                <a:gd name="connsiteY235" fmla="*/ 68553 h 171450"/>
                <a:gd name="connsiteX236" fmla="*/ 230852 w 447675"/>
                <a:gd name="connsiteY236" fmla="*/ 61171 h 171450"/>
                <a:gd name="connsiteX237" fmla="*/ 230852 w 447675"/>
                <a:gd name="connsiteY237" fmla="*/ 57475 h 171450"/>
                <a:gd name="connsiteX238" fmla="*/ 227162 w 447675"/>
                <a:gd name="connsiteY238" fmla="*/ 57475 h 171450"/>
                <a:gd name="connsiteX239" fmla="*/ 223473 w 447675"/>
                <a:gd name="connsiteY239" fmla="*/ 57475 h 171450"/>
                <a:gd name="connsiteX240" fmla="*/ 223473 w 447675"/>
                <a:gd name="connsiteY240" fmla="*/ 53789 h 171450"/>
                <a:gd name="connsiteX241" fmla="*/ 212406 w 447675"/>
                <a:gd name="connsiteY241" fmla="*/ 53789 h 171450"/>
                <a:gd name="connsiteX242" fmla="*/ 212406 w 447675"/>
                <a:gd name="connsiteY242" fmla="*/ 64857 h 171450"/>
                <a:gd name="connsiteX243" fmla="*/ 205027 w 447675"/>
                <a:gd name="connsiteY243" fmla="*/ 61171 h 171450"/>
                <a:gd name="connsiteX244" fmla="*/ 205027 w 447675"/>
                <a:gd name="connsiteY244" fmla="*/ 57475 h 171450"/>
                <a:gd name="connsiteX245" fmla="*/ 208716 w 447675"/>
                <a:gd name="connsiteY245" fmla="*/ 53789 h 171450"/>
                <a:gd name="connsiteX246" fmla="*/ 205027 w 447675"/>
                <a:gd name="connsiteY246" fmla="*/ 53789 h 171450"/>
                <a:gd name="connsiteX247" fmla="*/ 197649 w 447675"/>
                <a:gd name="connsiteY247" fmla="*/ 53789 h 171450"/>
                <a:gd name="connsiteX248" fmla="*/ 193960 w 447675"/>
                <a:gd name="connsiteY248" fmla="*/ 53789 h 171450"/>
                <a:gd name="connsiteX249" fmla="*/ 190271 w 447675"/>
                <a:gd name="connsiteY249" fmla="*/ 53789 h 171450"/>
                <a:gd name="connsiteX250" fmla="*/ 186581 w 447675"/>
                <a:gd name="connsiteY250" fmla="*/ 53789 h 171450"/>
                <a:gd name="connsiteX251" fmla="*/ 186581 w 447675"/>
                <a:gd name="connsiteY251" fmla="*/ 50093 h 171450"/>
                <a:gd name="connsiteX252" fmla="*/ 182892 w 447675"/>
                <a:gd name="connsiteY252" fmla="*/ 46407 h 171450"/>
                <a:gd name="connsiteX253" fmla="*/ 179203 w 447675"/>
                <a:gd name="connsiteY253" fmla="*/ 42711 h 171450"/>
                <a:gd name="connsiteX254" fmla="*/ 175514 w 447675"/>
                <a:gd name="connsiteY254" fmla="*/ 42711 h 171450"/>
                <a:gd name="connsiteX255" fmla="*/ 175514 w 447675"/>
                <a:gd name="connsiteY255" fmla="*/ 39025 h 171450"/>
                <a:gd name="connsiteX256" fmla="*/ 171825 w 447675"/>
                <a:gd name="connsiteY256" fmla="*/ 35339 h 171450"/>
                <a:gd name="connsiteX257" fmla="*/ 160757 w 447675"/>
                <a:gd name="connsiteY257" fmla="*/ 35339 h 171450"/>
                <a:gd name="connsiteX258" fmla="*/ 153379 w 447675"/>
                <a:gd name="connsiteY258" fmla="*/ 31643 h 171450"/>
                <a:gd name="connsiteX259" fmla="*/ 149690 w 447675"/>
                <a:gd name="connsiteY259" fmla="*/ 31643 h 171450"/>
                <a:gd name="connsiteX260" fmla="*/ 138622 w 447675"/>
                <a:gd name="connsiteY260" fmla="*/ 27957 h 171450"/>
                <a:gd name="connsiteX261" fmla="*/ 134933 w 447675"/>
                <a:gd name="connsiteY261" fmla="*/ 27957 h 171450"/>
                <a:gd name="connsiteX262" fmla="*/ 134933 w 447675"/>
                <a:gd name="connsiteY262" fmla="*/ 24262 h 171450"/>
                <a:gd name="connsiteX263" fmla="*/ 131244 w 447675"/>
                <a:gd name="connsiteY263" fmla="*/ 24262 h 171450"/>
                <a:gd name="connsiteX264" fmla="*/ 123866 w 447675"/>
                <a:gd name="connsiteY264" fmla="*/ 20575 h 171450"/>
                <a:gd name="connsiteX265" fmla="*/ 120177 w 447675"/>
                <a:gd name="connsiteY265" fmla="*/ 20575 h 171450"/>
                <a:gd name="connsiteX266" fmla="*/ 116487 w 447675"/>
                <a:gd name="connsiteY266" fmla="*/ 16880 h 171450"/>
                <a:gd name="connsiteX267" fmla="*/ 112798 w 447675"/>
                <a:gd name="connsiteY267" fmla="*/ 13194 h 171450"/>
                <a:gd name="connsiteX268" fmla="*/ 109109 w 447675"/>
                <a:gd name="connsiteY268" fmla="*/ 13194 h 171450"/>
                <a:gd name="connsiteX269" fmla="*/ 105420 w 447675"/>
                <a:gd name="connsiteY269" fmla="*/ 9498 h 171450"/>
                <a:gd name="connsiteX270" fmla="*/ 101731 w 447675"/>
                <a:gd name="connsiteY270" fmla="*/ 9498 h 171450"/>
                <a:gd name="connsiteX271" fmla="*/ 101731 w 447675"/>
                <a:gd name="connsiteY271" fmla="*/ 5812 h 171450"/>
                <a:gd name="connsiteX272" fmla="*/ 90663 w 447675"/>
                <a:gd name="connsiteY272" fmla="*/ 5812 h 171450"/>
                <a:gd name="connsiteX273" fmla="*/ 86974 w 447675"/>
                <a:gd name="connsiteY273" fmla="*/ 5812 h 171450"/>
                <a:gd name="connsiteX274" fmla="*/ 79595 w 447675"/>
                <a:gd name="connsiteY274" fmla="*/ 5812 h 171450"/>
                <a:gd name="connsiteX275" fmla="*/ 415311 w 447675"/>
                <a:gd name="connsiteY275" fmla="*/ 57475 h 171450"/>
                <a:gd name="connsiteX276" fmla="*/ 411622 w 447675"/>
                <a:gd name="connsiteY276" fmla="*/ 53789 h 171450"/>
                <a:gd name="connsiteX277" fmla="*/ 407933 w 447675"/>
                <a:gd name="connsiteY277" fmla="*/ 57475 h 171450"/>
                <a:gd name="connsiteX278" fmla="*/ 415311 w 447675"/>
                <a:gd name="connsiteY278" fmla="*/ 57475 h 171450"/>
                <a:gd name="connsiteX279" fmla="*/ 411622 w 447675"/>
                <a:gd name="connsiteY279" fmla="*/ 53789 h 171450"/>
                <a:gd name="connsiteX280" fmla="*/ 415311 w 447675"/>
                <a:gd name="connsiteY280" fmla="*/ 53789 h 171450"/>
                <a:gd name="connsiteX281" fmla="*/ 419000 w 447675"/>
                <a:gd name="connsiteY281" fmla="*/ 53789 h 171450"/>
                <a:gd name="connsiteX282" fmla="*/ 422690 w 447675"/>
                <a:gd name="connsiteY282" fmla="*/ 53789 h 171450"/>
                <a:gd name="connsiteX283" fmla="*/ 419000 w 447675"/>
                <a:gd name="connsiteY283" fmla="*/ 50093 h 171450"/>
                <a:gd name="connsiteX284" fmla="*/ 415311 w 447675"/>
                <a:gd name="connsiteY284" fmla="*/ 50093 h 171450"/>
                <a:gd name="connsiteX285" fmla="*/ 411622 w 447675"/>
                <a:gd name="connsiteY285" fmla="*/ 50093 h 171450"/>
                <a:gd name="connsiteX286" fmla="*/ 411622 w 447675"/>
                <a:gd name="connsiteY286" fmla="*/ 53789 h 171450"/>
                <a:gd name="connsiteX287" fmla="*/ 419000 w 447675"/>
                <a:gd name="connsiteY287" fmla="*/ 42711 h 171450"/>
                <a:gd name="connsiteX288" fmla="*/ 422690 w 447675"/>
                <a:gd name="connsiteY288" fmla="*/ 46407 h 171450"/>
                <a:gd name="connsiteX289" fmla="*/ 419000 w 447675"/>
                <a:gd name="connsiteY289" fmla="*/ 46407 h 171450"/>
                <a:gd name="connsiteX290" fmla="*/ 419000 w 447675"/>
                <a:gd name="connsiteY290" fmla="*/ 42711 h 171450"/>
                <a:gd name="connsiteX291" fmla="*/ 426379 w 447675"/>
                <a:gd name="connsiteY291" fmla="*/ 42711 h 171450"/>
                <a:gd name="connsiteX292" fmla="*/ 430068 w 447675"/>
                <a:gd name="connsiteY292" fmla="*/ 42711 h 171450"/>
                <a:gd name="connsiteX293" fmla="*/ 426379 w 447675"/>
                <a:gd name="connsiteY293" fmla="*/ 46407 h 171450"/>
                <a:gd name="connsiteX294" fmla="*/ 426379 w 447675"/>
                <a:gd name="connsiteY294" fmla="*/ 42711 h 171450"/>
                <a:gd name="connsiteX295" fmla="*/ 400555 w 447675"/>
                <a:gd name="connsiteY295" fmla="*/ 68553 h 171450"/>
                <a:gd name="connsiteX296" fmla="*/ 404244 w 447675"/>
                <a:gd name="connsiteY296" fmla="*/ 68553 h 171450"/>
                <a:gd name="connsiteX297" fmla="*/ 404244 w 447675"/>
                <a:gd name="connsiteY297" fmla="*/ 72239 h 171450"/>
                <a:gd name="connsiteX298" fmla="*/ 400555 w 447675"/>
                <a:gd name="connsiteY298" fmla="*/ 72239 h 171450"/>
                <a:gd name="connsiteX299" fmla="*/ 400555 w 447675"/>
                <a:gd name="connsiteY299" fmla="*/ 6855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Lst>
              <a:rect l="l" t="t" r="r" b="b"/>
              <a:pathLst>
                <a:path w="447675" h="171450">
                  <a:moveTo>
                    <a:pt x="79595" y="5812"/>
                  </a:moveTo>
                  <a:lnTo>
                    <a:pt x="79595" y="9498"/>
                  </a:lnTo>
                  <a:lnTo>
                    <a:pt x="75906" y="9498"/>
                  </a:lnTo>
                  <a:lnTo>
                    <a:pt x="72217" y="9498"/>
                  </a:lnTo>
                  <a:lnTo>
                    <a:pt x="64839" y="13194"/>
                  </a:lnTo>
                  <a:lnTo>
                    <a:pt x="61149" y="13194"/>
                  </a:lnTo>
                  <a:lnTo>
                    <a:pt x="57460" y="13194"/>
                  </a:lnTo>
                  <a:lnTo>
                    <a:pt x="53771" y="16880"/>
                  </a:lnTo>
                  <a:lnTo>
                    <a:pt x="50082" y="16880"/>
                  </a:lnTo>
                  <a:lnTo>
                    <a:pt x="46393" y="16880"/>
                  </a:lnTo>
                  <a:lnTo>
                    <a:pt x="42703" y="16880"/>
                  </a:lnTo>
                  <a:lnTo>
                    <a:pt x="39014" y="16880"/>
                  </a:lnTo>
                  <a:lnTo>
                    <a:pt x="35325" y="16880"/>
                  </a:lnTo>
                  <a:lnTo>
                    <a:pt x="35325" y="20575"/>
                  </a:lnTo>
                  <a:lnTo>
                    <a:pt x="31636" y="20575"/>
                  </a:lnTo>
                  <a:lnTo>
                    <a:pt x="27947" y="24262"/>
                  </a:lnTo>
                  <a:lnTo>
                    <a:pt x="24258" y="24262"/>
                  </a:lnTo>
                  <a:lnTo>
                    <a:pt x="20568" y="24262"/>
                  </a:lnTo>
                  <a:lnTo>
                    <a:pt x="16879" y="27957"/>
                  </a:lnTo>
                  <a:lnTo>
                    <a:pt x="13190" y="27957"/>
                  </a:lnTo>
                  <a:lnTo>
                    <a:pt x="13190" y="31643"/>
                  </a:lnTo>
                  <a:lnTo>
                    <a:pt x="16879" y="35339"/>
                  </a:lnTo>
                  <a:lnTo>
                    <a:pt x="16879" y="42711"/>
                  </a:lnTo>
                  <a:lnTo>
                    <a:pt x="16879" y="46407"/>
                  </a:lnTo>
                  <a:lnTo>
                    <a:pt x="16879" y="50093"/>
                  </a:lnTo>
                  <a:lnTo>
                    <a:pt x="20568" y="53789"/>
                  </a:lnTo>
                  <a:lnTo>
                    <a:pt x="20568" y="61171"/>
                  </a:lnTo>
                  <a:lnTo>
                    <a:pt x="9501" y="72239"/>
                  </a:lnTo>
                  <a:lnTo>
                    <a:pt x="5812" y="75935"/>
                  </a:lnTo>
                  <a:lnTo>
                    <a:pt x="9501" y="79621"/>
                  </a:lnTo>
                  <a:lnTo>
                    <a:pt x="16879" y="87003"/>
                  </a:lnTo>
                  <a:lnTo>
                    <a:pt x="13190" y="87003"/>
                  </a:lnTo>
                  <a:lnTo>
                    <a:pt x="9501" y="87003"/>
                  </a:lnTo>
                  <a:lnTo>
                    <a:pt x="9501" y="90689"/>
                  </a:lnTo>
                  <a:lnTo>
                    <a:pt x="13190" y="94385"/>
                  </a:lnTo>
                  <a:lnTo>
                    <a:pt x="16879" y="98071"/>
                  </a:lnTo>
                  <a:lnTo>
                    <a:pt x="16879" y="101766"/>
                  </a:lnTo>
                  <a:lnTo>
                    <a:pt x="13190" y="105453"/>
                  </a:lnTo>
                  <a:lnTo>
                    <a:pt x="16879" y="109148"/>
                  </a:lnTo>
                  <a:lnTo>
                    <a:pt x="20568" y="109148"/>
                  </a:lnTo>
                  <a:lnTo>
                    <a:pt x="24258" y="116530"/>
                  </a:lnTo>
                  <a:lnTo>
                    <a:pt x="27947" y="116530"/>
                  </a:lnTo>
                  <a:lnTo>
                    <a:pt x="31636" y="123912"/>
                  </a:lnTo>
                  <a:lnTo>
                    <a:pt x="35325" y="120216"/>
                  </a:lnTo>
                  <a:lnTo>
                    <a:pt x="39014" y="123912"/>
                  </a:lnTo>
                  <a:lnTo>
                    <a:pt x="39014" y="127598"/>
                  </a:lnTo>
                  <a:lnTo>
                    <a:pt x="39014" y="131294"/>
                  </a:lnTo>
                  <a:lnTo>
                    <a:pt x="42703" y="131294"/>
                  </a:lnTo>
                  <a:lnTo>
                    <a:pt x="46393" y="134980"/>
                  </a:lnTo>
                  <a:lnTo>
                    <a:pt x="50082" y="134980"/>
                  </a:lnTo>
                  <a:lnTo>
                    <a:pt x="61149" y="134980"/>
                  </a:lnTo>
                  <a:lnTo>
                    <a:pt x="90663" y="131294"/>
                  </a:lnTo>
                  <a:lnTo>
                    <a:pt x="86974" y="105453"/>
                  </a:lnTo>
                  <a:lnTo>
                    <a:pt x="83284" y="101766"/>
                  </a:lnTo>
                  <a:lnTo>
                    <a:pt x="90663" y="98071"/>
                  </a:lnTo>
                  <a:lnTo>
                    <a:pt x="94352" y="101766"/>
                  </a:lnTo>
                  <a:lnTo>
                    <a:pt x="98042" y="101766"/>
                  </a:lnTo>
                  <a:lnTo>
                    <a:pt x="98042" y="98071"/>
                  </a:lnTo>
                  <a:lnTo>
                    <a:pt x="101731" y="98071"/>
                  </a:lnTo>
                  <a:lnTo>
                    <a:pt x="105420" y="98071"/>
                  </a:lnTo>
                  <a:lnTo>
                    <a:pt x="105420" y="94385"/>
                  </a:lnTo>
                  <a:lnTo>
                    <a:pt x="109109" y="94385"/>
                  </a:lnTo>
                  <a:lnTo>
                    <a:pt x="112798" y="98071"/>
                  </a:lnTo>
                  <a:lnTo>
                    <a:pt x="116487" y="101766"/>
                  </a:lnTo>
                  <a:lnTo>
                    <a:pt x="120177" y="98071"/>
                  </a:lnTo>
                  <a:lnTo>
                    <a:pt x="116487" y="90689"/>
                  </a:lnTo>
                  <a:lnTo>
                    <a:pt x="123866" y="87003"/>
                  </a:lnTo>
                  <a:lnTo>
                    <a:pt x="127555" y="90689"/>
                  </a:lnTo>
                  <a:lnTo>
                    <a:pt x="134933" y="94385"/>
                  </a:lnTo>
                  <a:lnTo>
                    <a:pt x="138622" y="98071"/>
                  </a:lnTo>
                  <a:lnTo>
                    <a:pt x="146001" y="101766"/>
                  </a:lnTo>
                  <a:lnTo>
                    <a:pt x="149690" y="101766"/>
                  </a:lnTo>
                  <a:lnTo>
                    <a:pt x="149690" y="98071"/>
                  </a:lnTo>
                  <a:lnTo>
                    <a:pt x="157068" y="98071"/>
                  </a:lnTo>
                  <a:lnTo>
                    <a:pt x="164446" y="105453"/>
                  </a:lnTo>
                  <a:lnTo>
                    <a:pt x="168136" y="105453"/>
                  </a:lnTo>
                  <a:lnTo>
                    <a:pt x="171825" y="109148"/>
                  </a:lnTo>
                  <a:lnTo>
                    <a:pt x="171825" y="112835"/>
                  </a:lnTo>
                  <a:lnTo>
                    <a:pt x="182892" y="112835"/>
                  </a:lnTo>
                  <a:lnTo>
                    <a:pt x="186581" y="116530"/>
                  </a:lnTo>
                  <a:lnTo>
                    <a:pt x="186581" y="112835"/>
                  </a:lnTo>
                  <a:lnTo>
                    <a:pt x="201338" y="116530"/>
                  </a:lnTo>
                  <a:lnTo>
                    <a:pt x="205027" y="116530"/>
                  </a:lnTo>
                  <a:lnTo>
                    <a:pt x="208716" y="123912"/>
                  </a:lnTo>
                  <a:lnTo>
                    <a:pt x="212406" y="123912"/>
                  </a:lnTo>
                  <a:lnTo>
                    <a:pt x="212406" y="120216"/>
                  </a:lnTo>
                  <a:lnTo>
                    <a:pt x="216095" y="123912"/>
                  </a:lnTo>
                  <a:lnTo>
                    <a:pt x="219784" y="127598"/>
                  </a:lnTo>
                  <a:lnTo>
                    <a:pt x="223473" y="127598"/>
                  </a:lnTo>
                  <a:lnTo>
                    <a:pt x="223473" y="131294"/>
                  </a:lnTo>
                  <a:lnTo>
                    <a:pt x="219784" y="134980"/>
                  </a:lnTo>
                  <a:lnTo>
                    <a:pt x="219784" y="142362"/>
                  </a:lnTo>
                  <a:lnTo>
                    <a:pt x="219784" y="153430"/>
                  </a:lnTo>
                  <a:lnTo>
                    <a:pt x="219784" y="160812"/>
                  </a:lnTo>
                  <a:lnTo>
                    <a:pt x="223473" y="164508"/>
                  </a:lnTo>
                  <a:lnTo>
                    <a:pt x="227162" y="164508"/>
                  </a:lnTo>
                  <a:lnTo>
                    <a:pt x="227162" y="160812"/>
                  </a:lnTo>
                  <a:lnTo>
                    <a:pt x="230852" y="164508"/>
                  </a:lnTo>
                  <a:lnTo>
                    <a:pt x="234541" y="164508"/>
                  </a:lnTo>
                  <a:lnTo>
                    <a:pt x="238231" y="164508"/>
                  </a:lnTo>
                  <a:lnTo>
                    <a:pt x="241920" y="164508"/>
                  </a:lnTo>
                  <a:lnTo>
                    <a:pt x="245609" y="164508"/>
                  </a:lnTo>
                  <a:lnTo>
                    <a:pt x="249298" y="164508"/>
                  </a:lnTo>
                  <a:lnTo>
                    <a:pt x="252987" y="164508"/>
                  </a:lnTo>
                  <a:lnTo>
                    <a:pt x="256676" y="164508"/>
                  </a:lnTo>
                  <a:lnTo>
                    <a:pt x="264055" y="157126"/>
                  </a:lnTo>
                  <a:lnTo>
                    <a:pt x="267744" y="157126"/>
                  </a:lnTo>
                  <a:lnTo>
                    <a:pt x="271433" y="157126"/>
                  </a:lnTo>
                  <a:lnTo>
                    <a:pt x="271433" y="164508"/>
                  </a:lnTo>
                  <a:lnTo>
                    <a:pt x="267744" y="164508"/>
                  </a:lnTo>
                  <a:lnTo>
                    <a:pt x="264055" y="168194"/>
                  </a:lnTo>
                  <a:lnTo>
                    <a:pt x="267744" y="171890"/>
                  </a:lnTo>
                  <a:lnTo>
                    <a:pt x="271433" y="171890"/>
                  </a:lnTo>
                  <a:lnTo>
                    <a:pt x="275122" y="171890"/>
                  </a:lnTo>
                  <a:lnTo>
                    <a:pt x="282501" y="168194"/>
                  </a:lnTo>
                  <a:lnTo>
                    <a:pt x="286190" y="168194"/>
                  </a:lnTo>
                  <a:lnTo>
                    <a:pt x="282501" y="160812"/>
                  </a:lnTo>
                  <a:lnTo>
                    <a:pt x="289879" y="157126"/>
                  </a:lnTo>
                  <a:lnTo>
                    <a:pt x="293568" y="164508"/>
                  </a:lnTo>
                  <a:lnTo>
                    <a:pt x="297257" y="164508"/>
                  </a:lnTo>
                  <a:lnTo>
                    <a:pt x="297257" y="160812"/>
                  </a:lnTo>
                  <a:lnTo>
                    <a:pt x="300946" y="160812"/>
                  </a:lnTo>
                  <a:lnTo>
                    <a:pt x="304635" y="160812"/>
                  </a:lnTo>
                  <a:lnTo>
                    <a:pt x="308325" y="157126"/>
                  </a:lnTo>
                  <a:lnTo>
                    <a:pt x="308325" y="153430"/>
                  </a:lnTo>
                  <a:lnTo>
                    <a:pt x="315703" y="153430"/>
                  </a:lnTo>
                  <a:lnTo>
                    <a:pt x="319392" y="146048"/>
                  </a:lnTo>
                  <a:lnTo>
                    <a:pt x="323081" y="146048"/>
                  </a:lnTo>
                  <a:lnTo>
                    <a:pt x="326770" y="142362"/>
                  </a:lnTo>
                  <a:lnTo>
                    <a:pt x="334149" y="138666"/>
                  </a:lnTo>
                  <a:lnTo>
                    <a:pt x="337838" y="138666"/>
                  </a:lnTo>
                  <a:lnTo>
                    <a:pt x="337838" y="142362"/>
                  </a:lnTo>
                  <a:lnTo>
                    <a:pt x="341527" y="142362"/>
                  </a:lnTo>
                  <a:lnTo>
                    <a:pt x="345216" y="138666"/>
                  </a:lnTo>
                  <a:lnTo>
                    <a:pt x="345216" y="142362"/>
                  </a:lnTo>
                  <a:lnTo>
                    <a:pt x="352595" y="142362"/>
                  </a:lnTo>
                  <a:lnTo>
                    <a:pt x="356284" y="138666"/>
                  </a:lnTo>
                  <a:lnTo>
                    <a:pt x="359973" y="138666"/>
                  </a:lnTo>
                  <a:lnTo>
                    <a:pt x="363662" y="134980"/>
                  </a:lnTo>
                  <a:lnTo>
                    <a:pt x="371040" y="127598"/>
                  </a:lnTo>
                  <a:lnTo>
                    <a:pt x="378419" y="123912"/>
                  </a:lnTo>
                  <a:lnTo>
                    <a:pt x="385798" y="120216"/>
                  </a:lnTo>
                  <a:lnTo>
                    <a:pt x="404244" y="105453"/>
                  </a:lnTo>
                  <a:lnTo>
                    <a:pt x="407933" y="101766"/>
                  </a:lnTo>
                  <a:lnTo>
                    <a:pt x="444825" y="57475"/>
                  </a:lnTo>
                  <a:lnTo>
                    <a:pt x="441135" y="57475"/>
                  </a:lnTo>
                  <a:lnTo>
                    <a:pt x="441135" y="53789"/>
                  </a:lnTo>
                  <a:lnTo>
                    <a:pt x="437446" y="53789"/>
                  </a:lnTo>
                  <a:lnTo>
                    <a:pt x="437446" y="50093"/>
                  </a:lnTo>
                  <a:lnTo>
                    <a:pt x="437446" y="46407"/>
                  </a:lnTo>
                  <a:lnTo>
                    <a:pt x="433757" y="50093"/>
                  </a:lnTo>
                  <a:lnTo>
                    <a:pt x="433757" y="46407"/>
                  </a:lnTo>
                  <a:lnTo>
                    <a:pt x="433757" y="42711"/>
                  </a:lnTo>
                  <a:lnTo>
                    <a:pt x="430068" y="39025"/>
                  </a:lnTo>
                  <a:lnTo>
                    <a:pt x="426379" y="39025"/>
                  </a:lnTo>
                  <a:lnTo>
                    <a:pt x="422690" y="39025"/>
                  </a:lnTo>
                  <a:lnTo>
                    <a:pt x="426379" y="35339"/>
                  </a:lnTo>
                  <a:lnTo>
                    <a:pt x="422690" y="35339"/>
                  </a:lnTo>
                  <a:lnTo>
                    <a:pt x="419000" y="35339"/>
                  </a:lnTo>
                  <a:lnTo>
                    <a:pt x="419000" y="39025"/>
                  </a:lnTo>
                  <a:lnTo>
                    <a:pt x="415311" y="42711"/>
                  </a:lnTo>
                  <a:lnTo>
                    <a:pt x="415311" y="46407"/>
                  </a:lnTo>
                  <a:lnTo>
                    <a:pt x="419000" y="50093"/>
                  </a:lnTo>
                  <a:lnTo>
                    <a:pt x="422690" y="50093"/>
                  </a:lnTo>
                  <a:lnTo>
                    <a:pt x="422690" y="53789"/>
                  </a:lnTo>
                  <a:lnTo>
                    <a:pt x="422690" y="57475"/>
                  </a:lnTo>
                  <a:lnTo>
                    <a:pt x="419000" y="53789"/>
                  </a:lnTo>
                  <a:lnTo>
                    <a:pt x="415311" y="57475"/>
                  </a:lnTo>
                  <a:lnTo>
                    <a:pt x="419000" y="57475"/>
                  </a:lnTo>
                  <a:lnTo>
                    <a:pt x="415311" y="61171"/>
                  </a:lnTo>
                  <a:lnTo>
                    <a:pt x="419000" y="61171"/>
                  </a:lnTo>
                  <a:lnTo>
                    <a:pt x="419000" y="64857"/>
                  </a:lnTo>
                  <a:lnTo>
                    <a:pt x="415311" y="61171"/>
                  </a:lnTo>
                  <a:lnTo>
                    <a:pt x="407933" y="61171"/>
                  </a:lnTo>
                  <a:lnTo>
                    <a:pt x="411622" y="64857"/>
                  </a:lnTo>
                  <a:lnTo>
                    <a:pt x="411622" y="68553"/>
                  </a:lnTo>
                  <a:lnTo>
                    <a:pt x="407933" y="61171"/>
                  </a:lnTo>
                  <a:lnTo>
                    <a:pt x="404244" y="57475"/>
                  </a:lnTo>
                  <a:lnTo>
                    <a:pt x="400555" y="57475"/>
                  </a:lnTo>
                  <a:lnTo>
                    <a:pt x="404244" y="61171"/>
                  </a:lnTo>
                  <a:lnTo>
                    <a:pt x="407933" y="64857"/>
                  </a:lnTo>
                  <a:lnTo>
                    <a:pt x="404244" y="64857"/>
                  </a:lnTo>
                  <a:lnTo>
                    <a:pt x="404244" y="61171"/>
                  </a:lnTo>
                  <a:lnTo>
                    <a:pt x="400555" y="61171"/>
                  </a:lnTo>
                  <a:lnTo>
                    <a:pt x="396865" y="61171"/>
                  </a:lnTo>
                  <a:lnTo>
                    <a:pt x="393176" y="61171"/>
                  </a:lnTo>
                  <a:lnTo>
                    <a:pt x="393176" y="64857"/>
                  </a:lnTo>
                  <a:lnTo>
                    <a:pt x="396865" y="64857"/>
                  </a:lnTo>
                  <a:lnTo>
                    <a:pt x="396865" y="68553"/>
                  </a:lnTo>
                  <a:lnTo>
                    <a:pt x="393176" y="68553"/>
                  </a:lnTo>
                  <a:lnTo>
                    <a:pt x="385798" y="53789"/>
                  </a:lnTo>
                  <a:lnTo>
                    <a:pt x="382109" y="53789"/>
                  </a:lnTo>
                  <a:lnTo>
                    <a:pt x="371040" y="46407"/>
                  </a:lnTo>
                  <a:lnTo>
                    <a:pt x="371040" y="42711"/>
                  </a:lnTo>
                  <a:lnTo>
                    <a:pt x="367351" y="42711"/>
                  </a:lnTo>
                  <a:lnTo>
                    <a:pt x="367351" y="46407"/>
                  </a:lnTo>
                  <a:lnTo>
                    <a:pt x="352595" y="42711"/>
                  </a:lnTo>
                  <a:lnTo>
                    <a:pt x="348905" y="39025"/>
                  </a:lnTo>
                  <a:lnTo>
                    <a:pt x="348905" y="35339"/>
                  </a:lnTo>
                  <a:lnTo>
                    <a:pt x="345216" y="31643"/>
                  </a:lnTo>
                  <a:lnTo>
                    <a:pt x="345216" y="27957"/>
                  </a:lnTo>
                  <a:lnTo>
                    <a:pt x="341527" y="24262"/>
                  </a:lnTo>
                  <a:lnTo>
                    <a:pt x="345216" y="20575"/>
                  </a:lnTo>
                  <a:lnTo>
                    <a:pt x="341527" y="20575"/>
                  </a:lnTo>
                  <a:lnTo>
                    <a:pt x="337838" y="16880"/>
                  </a:lnTo>
                  <a:lnTo>
                    <a:pt x="337838" y="13194"/>
                  </a:lnTo>
                  <a:lnTo>
                    <a:pt x="330460" y="13194"/>
                  </a:lnTo>
                  <a:lnTo>
                    <a:pt x="326770" y="13194"/>
                  </a:lnTo>
                  <a:lnTo>
                    <a:pt x="323081" y="9498"/>
                  </a:lnTo>
                  <a:lnTo>
                    <a:pt x="315703" y="9498"/>
                  </a:lnTo>
                  <a:lnTo>
                    <a:pt x="312014" y="16880"/>
                  </a:lnTo>
                  <a:lnTo>
                    <a:pt x="312014" y="20575"/>
                  </a:lnTo>
                  <a:lnTo>
                    <a:pt x="308325" y="20575"/>
                  </a:lnTo>
                  <a:lnTo>
                    <a:pt x="308325" y="27957"/>
                  </a:lnTo>
                  <a:lnTo>
                    <a:pt x="308325" y="31643"/>
                  </a:lnTo>
                  <a:lnTo>
                    <a:pt x="308325" y="35339"/>
                  </a:lnTo>
                  <a:lnTo>
                    <a:pt x="308325" y="39025"/>
                  </a:lnTo>
                  <a:lnTo>
                    <a:pt x="304635" y="42711"/>
                  </a:lnTo>
                  <a:lnTo>
                    <a:pt x="297257" y="42711"/>
                  </a:lnTo>
                  <a:lnTo>
                    <a:pt x="286190" y="46407"/>
                  </a:lnTo>
                  <a:lnTo>
                    <a:pt x="278811" y="50093"/>
                  </a:lnTo>
                  <a:lnTo>
                    <a:pt x="275122" y="53789"/>
                  </a:lnTo>
                  <a:lnTo>
                    <a:pt x="271433" y="53789"/>
                  </a:lnTo>
                  <a:lnTo>
                    <a:pt x="271433" y="57475"/>
                  </a:lnTo>
                  <a:lnTo>
                    <a:pt x="264055" y="57475"/>
                  </a:lnTo>
                  <a:lnTo>
                    <a:pt x="264055" y="61171"/>
                  </a:lnTo>
                  <a:lnTo>
                    <a:pt x="260366" y="64857"/>
                  </a:lnTo>
                  <a:lnTo>
                    <a:pt x="256676" y="64857"/>
                  </a:lnTo>
                  <a:lnTo>
                    <a:pt x="249298" y="64857"/>
                  </a:lnTo>
                  <a:lnTo>
                    <a:pt x="245609" y="64857"/>
                  </a:lnTo>
                  <a:lnTo>
                    <a:pt x="241920" y="61171"/>
                  </a:lnTo>
                  <a:lnTo>
                    <a:pt x="238231" y="61171"/>
                  </a:lnTo>
                  <a:lnTo>
                    <a:pt x="238231" y="64857"/>
                  </a:lnTo>
                  <a:lnTo>
                    <a:pt x="234541" y="61171"/>
                  </a:lnTo>
                  <a:lnTo>
                    <a:pt x="234541" y="64857"/>
                  </a:lnTo>
                  <a:lnTo>
                    <a:pt x="234541" y="68553"/>
                  </a:lnTo>
                  <a:lnTo>
                    <a:pt x="230852" y="61171"/>
                  </a:lnTo>
                  <a:lnTo>
                    <a:pt x="230852" y="57475"/>
                  </a:lnTo>
                  <a:lnTo>
                    <a:pt x="227162" y="57475"/>
                  </a:lnTo>
                  <a:lnTo>
                    <a:pt x="223473" y="57475"/>
                  </a:lnTo>
                  <a:lnTo>
                    <a:pt x="223473" y="53789"/>
                  </a:lnTo>
                  <a:lnTo>
                    <a:pt x="212406" y="53789"/>
                  </a:lnTo>
                  <a:lnTo>
                    <a:pt x="212406" y="64857"/>
                  </a:lnTo>
                  <a:lnTo>
                    <a:pt x="205027" y="61171"/>
                  </a:lnTo>
                  <a:lnTo>
                    <a:pt x="205027" y="57475"/>
                  </a:lnTo>
                  <a:lnTo>
                    <a:pt x="208716" y="53789"/>
                  </a:lnTo>
                  <a:lnTo>
                    <a:pt x="205027" y="53789"/>
                  </a:lnTo>
                  <a:lnTo>
                    <a:pt x="197649" y="53789"/>
                  </a:lnTo>
                  <a:lnTo>
                    <a:pt x="193960" y="53789"/>
                  </a:lnTo>
                  <a:lnTo>
                    <a:pt x="190271" y="53789"/>
                  </a:lnTo>
                  <a:lnTo>
                    <a:pt x="186581" y="53789"/>
                  </a:lnTo>
                  <a:lnTo>
                    <a:pt x="186581" y="50093"/>
                  </a:lnTo>
                  <a:lnTo>
                    <a:pt x="182892" y="46407"/>
                  </a:lnTo>
                  <a:lnTo>
                    <a:pt x="179203" y="42711"/>
                  </a:lnTo>
                  <a:lnTo>
                    <a:pt x="175514" y="42711"/>
                  </a:lnTo>
                  <a:lnTo>
                    <a:pt x="175514" y="39025"/>
                  </a:lnTo>
                  <a:lnTo>
                    <a:pt x="171825" y="35339"/>
                  </a:lnTo>
                  <a:lnTo>
                    <a:pt x="160757" y="35339"/>
                  </a:lnTo>
                  <a:lnTo>
                    <a:pt x="153379" y="31643"/>
                  </a:lnTo>
                  <a:lnTo>
                    <a:pt x="149690" y="31643"/>
                  </a:lnTo>
                  <a:lnTo>
                    <a:pt x="138622" y="27957"/>
                  </a:lnTo>
                  <a:lnTo>
                    <a:pt x="134933" y="27957"/>
                  </a:lnTo>
                  <a:lnTo>
                    <a:pt x="134933" y="24262"/>
                  </a:lnTo>
                  <a:lnTo>
                    <a:pt x="131244" y="24262"/>
                  </a:lnTo>
                  <a:lnTo>
                    <a:pt x="123866" y="20575"/>
                  </a:lnTo>
                  <a:lnTo>
                    <a:pt x="120177" y="20575"/>
                  </a:lnTo>
                  <a:lnTo>
                    <a:pt x="116487" y="16880"/>
                  </a:lnTo>
                  <a:lnTo>
                    <a:pt x="112798" y="13194"/>
                  </a:lnTo>
                  <a:lnTo>
                    <a:pt x="109109" y="13194"/>
                  </a:lnTo>
                  <a:lnTo>
                    <a:pt x="105420" y="9498"/>
                  </a:lnTo>
                  <a:lnTo>
                    <a:pt x="101731" y="9498"/>
                  </a:lnTo>
                  <a:lnTo>
                    <a:pt x="101731" y="5812"/>
                  </a:lnTo>
                  <a:lnTo>
                    <a:pt x="90663" y="5812"/>
                  </a:lnTo>
                  <a:lnTo>
                    <a:pt x="86974" y="5812"/>
                  </a:lnTo>
                  <a:lnTo>
                    <a:pt x="79595" y="5812"/>
                  </a:lnTo>
                  <a:close/>
                  <a:moveTo>
                    <a:pt x="415311" y="57475"/>
                  </a:moveTo>
                  <a:lnTo>
                    <a:pt x="411622" y="53789"/>
                  </a:lnTo>
                  <a:lnTo>
                    <a:pt x="407933" y="57475"/>
                  </a:lnTo>
                  <a:lnTo>
                    <a:pt x="415311" y="57475"/>
                  </a:lnTo>
                  <a:close/>
                  <a:moveTo>
                    <a:pt x="411622" y="53789"/>
                  </a:moveTo>
                  <a:lnTo>
                    <a:pt x="415311" y="53789"/>
                  </a:lnTo>
                  <a:lnTo>
                    <a:pt x="419000" y="53789"/>
                  </a:lnTo>
                  <a:lnTo>
                    <a:pt x="422690" y="53789"/>
                  </a:lnTo>
                  <a:lnTo>
                    <a:pt x="419000" y="50093"/>
                  </a:lnTo>
                  <a:lnTo>
                    <a:pt x="415311" y="50093"/>
                  </a:lnTo>
                  <a:lnTo>
                    <a:pt x="411622" y="50093"/>
                  </a:lnTo>
                  <a:lnTo>
                    <a:pt x="411622" y="53789"/>
                  </a:lnTo>
                  <a:close/>
                  <a:moveTo>
                    <a:pt x="419000" y="42711"/>
                  </a:moveTo>
                  <a:lnTo>
                    <a:pt x="422690" y="46407"/>
                  </a:lnTo>
                  <a:lnTo>
                    <a:pt x="419000" y="46407"/>
                  </a:lnTo>
                  <a:lnTo>
                    <a:pt x="419000" y="42711"/>
                  </a:lnTo>
                  <a:close/>
                  <a:moveTo>
                    <a:pt x="426379" y="42711"/>
                  </a:moveTo>
                  <a:lnTo>
                    <a:pt x="430068" y="42711"/>
                  </a:lnTo>
                  <a:lnTo>
                    <a:pt x="426379" y="46407"/>
                  </a:lnTo>
                  <a:lnTo>
                    <a:pt x="426379" y="42711"/>
                  </a:lnTo>
                  <a:close/>
                  <a:moveTo>
                    <a:pt x="400555" y="68553"/>
                  </a:moveTo>
                  <a:lnTo>
                    <a:pt x="404244" y="68553"/>
                  </a:lnTo>
                  <a:lnTo>
                    <a:pt x="404244" y="72239"/>
                  </a:lnTo>
                  <a:lnTo>
                    <a:pt x="400555" y="72239"/>
                  </a:lnTo>
                  <a:lnTo>
                    <a:pt x="400555" y="68553"/>
                  </a:lnTo>
                  <a:close/>
                </a:path>
              </a:pathLst>
            </a:custGeom>
            <a:solidFill>
              <a:srgbClr val="FFE8BA"/>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11" name="Freeform: Shape 310">
              <a:extLst>
                <a:ext uri="{FF2B5EF4-FFF2-40B4-BE49-F238E27FC236}">
                  <a16:creationId xmlns:a16="http://schemas.microsoft.com/office/drawing/2014/main" id="{4560C932-D661-4F59-A8A6-889F1F464D3A}"/>
                </a:ext>
              </a:extLst>
            </p:cNvPr>
            <p:cNvSpPr/>
            <p:nvPr/>
          </p:nvSpPr>
          <p:spPr>
            <a:xfrm>
              <a:off x="7969650" y="4974536"/>
              <a:ext cx="15373" cy="30745"/>
            </a:xfrm>
            <a:custGeom>
              <a:avLst/>
              <a:gdLst>
                <a:gd name="connsiteX0" fmla="*/ 9501 w 9525"/>
                <a:gd name="connsiteY0" fmla="*/ 13184 h 19050"/>
                <a:gd name="connsiteX1" fmla="*/ 9501 w 9525"/>
                <a:gd name="connsiteY1" fmla="*/ 13184 h 19050"/>
                <a:gd name="connsiteX2" fmla="*/ 5812 w 9525"/>
                <a:gd name="connsiteY2" fmla="*/ 9498 h 19050"/>
                <a:gd name="connsiteX3" fmla="*/ 5812 w 9525"/>
                <a:gd name="connsiteY3" fmla="*/ 5812 h 19050"/>
                <a:gd name="connsiteX4" fmla="*/ 5812 w 9525"/>
                <a:gd name="connsiteY4" fmla="*/ 5812 h 19050"/>
                <a:gd name="connsiteX5" fmla="*/ 9501 w 9525"/>
                <a:gd name="connsiteY5" fmla="*/ 5812 h 19050"/>
                <a:gd name="connsiteX6" fmla="*/ 13190 w 9525"/>
                <a:gd name="connsiteY6" fmla="*/ 9498 h 19050"/>
                <a:gd name="connsiteX7" fmla="*/ 13190 w 9525"/>
                <a:gd name="connsiteY7" fmla="*/ 13184 h 19050"/>
                <a:gd name="connsiteX8" fmla="*/ 9501 w 9525"/>
                <a:gd name="connsiteY8" fmla="*/ 16879 h 19050"/>
                <a:gd name="connsiteX9" fmla="*/ 9501 w 9525"/>
                <a:gd name="connsiteY9" fmla="*/ 16879 h 19050"/>
                <a:gd name="connsiteX10" fmla="*/ 9501 w 9525"/>
                <a:gd name="connsiteY10" fmla="*/ 13184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25" h="19050">
                  <a:moveTo>
                    <a:pt x="9501" y="13184"/>
                  </a:moveTo>
                  <a:lnTo>
                    <a:pt x="9501" y="13184"/>
                  </a:lnTo>
                  <a:lnTo>
                    <a:pt x="5812" y="9498"/>
                  </a:lnTo>
                  <a:lnTo>
                    <a:pt x="5812" y="5812"/>
                  </a:lnTo>
                  <a:lnTo>
                    <a:pt x="5812" y="5812"/>
                  </a:lnTo>
                  <a:lnTo>
                    <a:pt x="9501" y="5812"/>
                  </a:lnTo>
                  <a:lnTo>
                    <a:pt x="13190" y="9498"/>
                  </a:lnTo>
                  <a:lnTo>
                    <a:pt x="13190" y="13184"/>
                  </a:lnTo>
                  <a:lnTo>
                    <a:pt x="9501" y="16879"/>
                  </a:lnTo>
                  <a:lnTo>
                    <a:pt x="9501" y="16879"/>
                  </a:lnTo>
                  <a:lnTo>
                    <a:pt x="9501" y="13184"/>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12" name="Freeform: Shape 311">
              <a:extLst>
                <a:ext uri="{FF2B5EF4-FFF2-40B4-BE49-F238E27FC236}">
                  <a16:creationId xmlns:a16="http://schemas.microsoft.com/office/drawing/2014/main" id="{2E60D9B6-5EAB-47CB-BD16-D78069718F75}"/>
                </a:ext>
              </a:extLst>
            </p:cNvPr>
            <p:cNvSpPr/>
            <p:nvPr/>
          </p:nvSpPr>
          <p:spPr>
            <a:xfrm>
              <a:off x="7963696" y="4849451"/>
              <a:ext cx="61491" cy="76864"/>
            </a:xfrm>
            <a:custGeom>
              <a:avLst/>
              <a:gdLst>
                <a:gd name="connsiteX0" fmla="*/ 31636 w 38100"/>
                <a:gd name="connsiteY0" fmla="*/ 5812 h 47625"/>
                <a:gd name="connsiteX1" fmla="*/ 31636 w 38100"/>
                <a:gd name="connsiteY1" fmla="*/ 5812 h 47625"/>
                <a:gd name="connsiteX2" fmla="*/ 31636 w 38100"/>
                <a:gd name="connsiteY2" fmla="*/ 5812 h 47625"/>
                <a:gd name="connsiteX3" fmla="*/ 27947 w 38100"/>
                <a:gd name="connsiteY3" fmla="*/ 9498 h 47625"/>
                <a:gd name="connsiteX4" fmla="*/ 27947 w 38100"/>
                <a:gd name="connsiteY4" fmla="*/ 16880 h 47625"/>
                <a:gd name="connsiteX5" fmla="*/ 27947 w 38100"/>
                <a:gd name="connsiteY5" fmla="*/ 20575 h 47625"/>
                <a:gd name="connsiteX6" fmla="*/ 27947 w 38100"/>
                <a:gd name="connsiteY6" fmla="*/ 20575 h 47625"/>
                <a:gd name="connsiteX7" fmla="*/ 31636 w 38100"/>
                <a:gd name="connsiteY7" fmla="*/ 24261 h 47625"/>
                <a:gd name="connsiteX8" fmla="*/ 35325 w 38100"/>
                <a:gd name="connsiteY8" fmla="*/ 20575 h 47625"/>
                <a:gd name="connsiteX9" fmla="*/ 31636 w 38100"/>
                <a:gd name="connsiteY9" fmla="*/ 16880 h 47625"/>
                <a:gd name="connsiteX10" fmla="*/ 31636 w 38100"/>
                <a:gd name="connsiteY10" fmla="*/ 16880 h 47625"/>
                <a:gd name="connsiteX11" fmla="*/ 35325 w 38100"/>
                <a:gd name="connsiteY11" fmla="*/ 20575 h 47625"/>
                <a:gd name="connsiteX12" fmla="*/ 31636 w 38100"/>
                <a:gd name="connsiteY12" fmla="*/ 24261 h 47625"/>
                <a:gd name="connsiteX13" fmla="*/ 31636 w 38100"/>
                <a:gd name="connsiteY13" fmla="*/ 24261 h 47625"/>
                <a:gd name="connsiteX14" fmla="*/ 24257 w 38100"/>
                <a:gd name="connsiteY14" fmla="*/ 20575 h 47625"/>
                <a:gd name="connsiteX15" fmla="*/ 24257 w 38100"/>
                <a:gd name="connsiteY15" fmla="*/ 24261 h 47625"/>
                <a:gd name="connsiteX16" fmla="*/ 24257 w 38100"/>
                <a:gd name="connsiteY16" fmla="*/ 27957 h 47625"/>
                <a:gd name="connsiteX17" fmla="*/ 24257 w 38100"/>
                <a:gd name="connsiteY17" fmla="*/ 27957 h 47625"/>
                <a:gd name="connsiteX18" fmla="*/ 24257 w 38100"/>
                <a:gd name="connsiteY18" fmla="*/ 27957 h 47625"/>
                <a:gd name="connsiteX19" fmla="*/ 20568 w 38100"/>
                <a:gd name="connsiteY19" fmla="*/ 24261 h 47625"/>
                <a:gd name="connsiteX20" fmla="*/ 20568 w 38100"/>
                <a:gd name="connsiteY20" fmla="*/ 24261 h 47625"/>
                <a:gd name="connsiteX21" fmla="*/ 20568 w 38100"/>
                <a:gd name="connsiteY21" fmla="*/ 24261 h 47625"/>
                <a:gd name="connsiteX22" fmla="*/ 16879 w 38100"/>
                <a:gd name="connsiteY22" fmla="*/ 27957 h 47625"/>
                <a:gd name="connsiteX23" fmla="*/ 16879 w 38100"/>
                <a:gd name="connsiteY23" fmla="*/ 27957 h 47625"/>
                <a:gd name="connsiteX24" fmla="*/ 20568 w 38100"/>
                <a:gd name="connsiteY24" fmla="*/ 27957 h 47625"/>
                <a:gd name="connsiteX25" fmla="*/ 20568 w 38100"/>
                <a:gd name="connsiteY25" fmla="*/ 31643 h 47625"/>
                <a:gd name="connsiteX26" fmla="*/ 16879 w 38100"/>
                <a:gd name="connsiteY26" fmla="*/ 31643 h 47625"/>
                <a:gd name="connsiteX27" fmla="*/ 16879 w 38100"/>
                <a:gd name="connsiteY27" fmla="*/ 27957 h 47625"/>
                <a:gd name="connsiteX28" fmla="*/ 13190 w 38100"/>
                <a:gd name="connsiteY28" fmla="*/ 31643 h 47625"/>
                <a:gd name="connsiteX29" fmla="*/ 13190 w 38100"/>
                <a:gd name="connsiteY29" fmla="*/ 31643 h 47625"/>
                <a:gd name="connsiteX30" fmla="*/ 13190 w 38100"/>
                <a:gd name="connsiteY30" fmla="*/ 35339 h 47625"/>
                <a:gd name="connsiteX31" fmla="*/ 13190 w 38100"/>
                <a:gd name="connsiteY31" fmla="*/ 42711 h 47625"/>
                <a:gd name="connsiteX32" fmla="*/ 9501 w 38100"/>
                <a:gd name="connsiteY32" fmla="*/ 42711 h 47625"/>
                <a:gd name="connsiteX33" fmla="*/ 9501 w 38100"/>
                <a:gd name="connsiteY33" fmla="*/ 42711 h 47625"/>
                <a:gd name="connsiteX34" fmla="*/ 13190 w 38100"/>
                <a:gd name="connsiteY34" fmla="*/ 35339 h 47625"/>
                <a:gd name="connsiteX35" fmla="*/ 13190 w 38100"/>
                <a:gd name="connsiteY35" fmla="*/ 31643 h 47625"/>
                <a:gd name="connsiteX36" fmla="*/ 9501 w 38100"/>
                <a:gd name="connsiteY36" fmla="*/ 27957 h 47625"/>
                <a:gd name="connsiteX37" fmla="*/ 9501 w 38100"/>
                <a:gd name="connsiteY37" fmla="*/ 27957 h 47625"/>
                <a:gd name="connsiteX38" fmla="*/ 5812 w 38100"/>
                <a:gd name="connsiteY38" fmla="*/ 27957 h 47625"/>
                <a:gd name="connsiteX39" fmla="*/ 5812 w 38100"/>
                <a:gd name="connsiteY39" fmla="*/ 27957 h 47625"/>
                <a:gd name="connsiteX40" fmla="*/ 5812 w 38100"/>
                <a:gd name="connsiteY40" fmla="*/ 27957 h 47625"/>
                <a:gd name="connsiteX41" fmla="*/ 5812 w 38100"/>
                <a:gd name="connsiteY41" fmla="*/ 27957 h 47625"/>
                <a:gd name="connsiteX42" fmla="*/ 9501 w 38100"/>
                <a:gd name="connsiteY42" fmla="*/ 27957 h 47625"/>
                <a:gd name="connsiteX43" fmla="*/ 13190 w 38100"/>
                <a:gd name="connsiteY43" fmla="*/ 20575 h 47625"/>
                <a:gd name="connsiteX44" fmla="*/ 20568 w 38100"/>
                <a:gd name="connsiteY44" fmla="*/ 16880 h 47625"/>
                <a:gd name="connsiteX45" fmla="*/ 20568 w 38100"/>
                <a:gd name="connsiteY45" fmla="*/ 13194 h 47625"/>
                <a:gd name="connsiteX46" fmla="*/ 20568 w 38100"/>
                <a:gd name="connsiteY46" fmla="*/ 13194 h 47625"/>
                <a:gd name="connsiteX47" fmla="*/ 20568 w 38100"/>
                <a:gd name="connsiteY47" fmla="*/ 9498 h 47625"/>
                <a:gd name="connsiteX48" fmla="*/ 20568 w 38100"/>
                <a:gd name="connsiteY48" fmla="*/ 9498 h 47625"/>
                <a:gd name="connsiteX49" fmla="*/ 20568 w 38100"/>
                <a:gd name="connsiteY49" fmla="*/ 9498 h 47625"/>
                <a:gd name="connsiteX50" fmla="*/ 20568 w 38100"/>
                <a:gd name="connsiteY50" fmla="*/ 13194 h 47625"/>
                <a:gd name="connsiteX51" fmla="*/ 20568 w 38100"/>
                <a:gd name="connsiteY51" fmla="*/ 13194 h 47625"/>
                <a:gd name="connsiteX52" fmla="*/ 20568 w 38100"/>
                <a:gd name="connsiteY52" fmla="*/ 13194 h 47625"/>
                <a:gd name="connsiteX53" fmla="*/ 24257 w 38100"/>
                <a:gd name="connsiteY53" fmla="*/ 13194 h 47625"/>
                <a:gd name="connsiteX54" fmla="*/ 24257 w 38100"/>
                <a:gd name="connsiteY54" fmla="*/ 13194 h 47625"/>
                <a:gd name="connsiteX55" fmla="*/ 24257 w 38100"/>
                <a:gd name="connsiteY55" fmla="*/ 13194 h 47625"/>
                <a:gd name="connsiteX56" fmla="*/ 24257 w 38100"/>
                <a:gd name="connsiteY56" fmla="*/ 13194 h 47625"/>
                <a:gd name="connsiteX57" fmla="*/ 27947 w 38100"/>
                <a:gd name="connsiteY57" fmla="*/ 13194 h 47625"/>
                <a:gd name="connsiteX58" fmla="*/ 27947 w 38100"/>
                <a:gd name="connsiteY58" fmla="*/ 9498 h 47625"/>
                <a:gd name="connsiteX59" fmla="*/ 31636 w 38100"/>
                <a:gd name="connsiteY59" fmla="*/ 5812 h 47625"/>
                <a:gd name="connsiteX60" fmla="*/ 31636 w 38100"/>
                <a:gd name="connsiteY60" fmla="*/ 581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100" h="47625">
                  <a:moveTo>
                    <a:pt x="31636" y="5812"/>
                  </a:moveTo>
                  <a:lnTo>
                    <a:pt x="31636" y="5812"/>
                  </a:lnTo>
                  <a:lnTo>
                    <a:pt x="31636" y="5812"/>
                  </a:lnTo>
                  <a:lnTo>
                    <a:pt x="27947" y="9498"/>
                  </a:lnTo>
                  <a:lnTo>
                    <a:pt x="27947" y="16880"/>
                  </a:lnTo>
                  <a:lnTo>
                    <a:pt x="27947" y="20575"/>
                  </a:lnTo>
                  <a:lnTo>
                    <a:pt x="27947" y="20575"/>
                  </a:lnTo>
                  <a:lnTo>
                    <a:pt x="31636" y="24261"/>
                  </a:lnTo>
                  <a:lnTo>
                    <a:pt x="35325" y="20575"/>
                  </a:lnTo>
                  <a:lnTo>
                    <a:pt x="31636" y="16880"/>
                  </a:lnTo>
                  <a:lnTo>
                    <a:pt x="31636" y="16880"/>
                  </a:lnTo>
                  <a:lnTo>
                    <a:pt x="35325" y="20575"/>
                  </a:lnTo>
                  <a:lnTo>
                    <a:pt x="31636" y="24261"/>
                  </a:lnTo>
                  <a:lnTo>
                    <a:pt x="31636" y="24261"/>
                  </a:lnTo>
                  <a:lnTo>
                    <a:pt x="24257" y="20575"/>
                  </a:lnTo>
                  <a:lnTo>
                    <a:pt x="24257" y="24261"/>
                  </a:lnTo>
                  <a:lnTo>
                    <a:pt x="24257" y="27957"/>
                  </a:lnTo>
                  <a:lnTo>
                    <a:pt x="24257" y="27957"/>
                  </a:lnTo>
                  <a:lnTo>
                    <a:pt x="24257" y="27957"/>
                  </a:lnTo>
                  <a:lnTo>
                    <a:pt x="20568" y="24261"/>
                  </a:lnTo>
                  <a:lnTo>
                    <a:pt x="20568" y="24261"/>
                  </a:lnTo>
                  <a:lnTo>
                    <a:pt x="20568" y="24261"/>
                  </a:lnTo>
                  <a:lnTo>
                    <a:pt x="16879" y="27957"/>
                  </a:lnTo>
                  <a:lnTo>
                    <a:pt x="16879" y="27957"/>
                  </a:lnTo>
                  <a:lnTo>
                    <a:pt x="20568" y="27957"/>
                  </a:lnTo>
                  <a:lnTo>
                    <a:pt x="20568" y="31643"/>
                  </a:lnTo>
                  <a:lnTo>
                    <a:pt x="16879" y="31643"/>
                  </a:lnTo>
                  <a:lnTo>
                    <a:pt x="16879" y="27957"/>
                  </a:lnTo>
                  <a:lnTo>
                    <a:pt x="13190" y="31643"/>
                  </a:lnTo>
                  <a:lnTo>
                    <a:pt x="13190" y="31643"/>
                  </a:lnTo>
                  <a:lnTo>
                    <a:pt x="13190" y="35339"/>
                  </a:lnTo>
                  <a:lnTo>
                    <a:pt x="13190" y="42711"/>
                  </a:lnTo>
                  <a:lnTo>
                    <a:pt x="9501" y="42711"/>
                  </a:lnTo>
                  <a:lnTo>
                    <a:pt x="9501" y="42711"/>
                  </a:lnTo>
                  <a:lnTo>
                    <a:pt x="13190" y="35339"/>
                  </a:lnTo>
                  <a:lnTo>
                    <a:pt x="13190" y="31643"/>
                  </a:lnTo>
                  <a:lnTo>
                    <a:pt x="9501" y="27957"/>
                  </a:lnTo>
                  <a:lnTo>
                    <a:pt x="9501" y="27957"/>
                  </a:lnTo>
                  <a:lnTo>
                    <a:pt x="5812" y="27957"/>
                  </a:lnTo>
                  <a:lnTo>
                    <a:pt x="5812" y="27957"/>
                  </a:lnTo>
                  <a:lnTo>
                    <a:pt x="5812" y="27957"/>
                  </a:lnTo>
                  <a:lnTo>
                    <a:pt x="5812" y="27957"/>
                  </a:lnTo>
                  <a:lnTo>
                    <a:pt x="9501" y="27957"/>
                  </a:lnTo>
                  <a:lnTo>
                    <a:pt x="13190" y="20575"/>
                  </a:lnTo>
                  <a:lnTo>
                    <a:pt x="20568" y="16880"/>
                  </a:lnTo>
                  <a:lnTo>
                    <a:pt x="20568" y="13194"/>
                  </a:lnTo>
                  <a:lnTo>
                    <a:pt x="20568" y="13194"/>
                  </a:lnTo>
                  <a:lnTo>
                    <a:pt x="20568" y="9498"/>
                  </a:lnTo>
                  <a:lnTo>
                    <a:pt x="20568" y="9498"/>
                  </a:lnTo>
                  <a:lnTo>
                    <a:pt x="20568" y="9498"/>
                  </a:lnTo>
                  <a:lnTo>
                    <a:pt x="20568" y="13194"/>
                  </a:lnTo>
                  <a:lnTo>
                    <a:pt x="20568" y="13194"/>
                  </a:lnTo>
                  <a:lnTo>
                    <a:pt x="20568" y="13194"/>
                  </a:lnTo>
                  <a:lnTo>
                    <a:pt x="24257" y="13194"/>
                  </a:lnTo>
                  <a:lnTo>
                    <a:pt x="24257" y="13194"/>
                  </a:lnTo>
                  <a:lnTo>
                    <a:pt x="24257" y="13194"/>
                  </a:lnTo>
                  <a:lnTo>
                    <a:pt x="24257" y="13194"/>
                  </a:lnTo>
                  <a:lnTo>
                    <a:pt x="27947" y="13194"/>
                  </a:lnTo>
                  <a:lnTo>
                    <a:pt x="27947" y="9498"/>
                  </a:lnTo>
                  <a:lnTo>
                    <a:pt x="31636" y="5812"/>
                  </a:lnTo>
                  <a:lnTo>
                    <a:pt x="31636" y="5812"/>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13" name="Freeform: Shape 312">
              <a:extLst>
                <a:ext uri="{FF2B5EF4-FFF2-40B4-BE49-F238E27FC236}">
                  <a16:creationId xmlns:a16="http://schemas.microsoft.com/office/drawing/2014/main" id="{C1AFE732-A2D7-4A6B-ACA6-D9B392E33CCF}"/>
                </a:ext>
              </a:extLst>
            </p:cNvPr>
            <p:cNvSpPr/>
            <p:nvPr/>
          </p:nvSpPr>
          <p:spPr>
            <a:xfrm>
              <a:off x="7963696" y="5093659"/>
              <a:ext cx="30745" cy="46118"/>
            </a:xfrm>
            <a:custGeom>
              <a:avLst/>
              <a:gdLst>
                <a:gd name="connsiteX0" fmla="*/ 20568 w 19050"/>
                <a:gd name="connsiteY0" fmla="*/ 24261 h 28575"/>
                <a:gd name="connsiteX1" fmla="*/ 9501 w 19050"/>
                <a:gd name="connsiteY1" fmla="*/ 16880 h 28575"/>
                <a:gd name="connsiteX2" fmla="*/ 5812 w 19050"/>
                <a:gd name="connsiteY2" fmla="*/ 13193 h 28575"/>
                <a:gd name="connsiteX3" fmla="*/ 5812 w 19050"/>
                <a:gd name="connsiteY3" fmla="*/ 13193 h 28575"/>
                <a:gd name="connsiteX4" fmla="*/ 9501 w 19050"/>
                <a:gd name="connsiteY4" fmla="*/ 5812 h 28575"/>
                <a:gd name="connsiteX5" fmla="*/ 13190 w 19050"/>
                <a:gd name="connsiteY5" fmla="*/ 9498 h 28575"/>
                <a:gd name="connsiteX6" fmla="*/ 20568 w 19050"/>
                <a:gd name="connsiteY6" fmla="*/ 13193 h 28575"/>
                <a:gd name="connsiteX7" fmla="*/ 16879 w 19050"/>
                <a:gd name="connsiteY7" fmla="*/ 16880 h 28575"/>
                <a:gd name="connsiteX8" fmla="*/ 16879 w 19050"/>
                <a:gd name="connsiteY8" fmla="*/ 20575 h 28575"/>
                <a:gd name="connsiteX9" fmla="*/ 20568 w 19050"/>
                <a:gd name="connsiteY9" fmla="*/ 24261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28575">
                  <a:moveTo>
                    <a:pt x="20568" y="24261"/>
                  </a:moveTo>
                  <a:lnTo>
                    <a:pt x="9501" y="16880"/>
                  </a:lnTo>
                  <a:lnTo>
                    <a:pt x="5812" y="13193"/>
                  </a:lnTo>
                  <a:lnTo>
                    <a:pt x="5812" y="13193"/>
                  </a:lnTo>
                  <a:lnTo>
                    <a:pt x="9501" y="5812"/>
                  </a:lnTo>
                  <a:lnTo>
                    <a:pt x="13190" y="9498"/>
                  </a:lnTo>
                  <a:lnTo>
                    <a:pt x="20568" y="13193"/>
                  </a:lnTo>
                  <a:lnTo>
                    <a:pt x="16879" y="16880"/>
                  </a:lnTo>
                  <a:lnTo>
                    <a:pt x="16879" y="20575"/>
                  </a:lnTo>
                  <a:lnTo>
                    <a:pt x="20568" y="24261"/>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14" name="Freeform: Shape 313">
              <a:extLst>
                <a:ext uri="{FF2B5EF4-FFF2-40B4-BE49-F238E27FC236}">
                  <a16:creationId xmlns:a16="http://schemas.microsoft.com/office/drawing/2014/main" id="{46F053DA-90B8-4DF6-855B-8FB071DE16E2}"/>
                </a:ext>
              </a:extLst>
            </p:cNvPr>
            <p:cNvSpPr/>
            <p:nvPr/>
          </p:nvSpPr>
          <p:spPr>
            <a:xfrm>
              <a:off x="7975604" y="5087694"/>
              <a:ext cx="30745" cy="15373"/>
            </a:xfrm>
            <a:custGeom>
              <a:avLst/>
              <a:gdLst>
                <a:gd name="connsiteX0" fmla="*/ 16879 w 19050"/>
                <a:gd name="connsiteY0" fmla="*/ 13193 h 9525"/>
                <a:gd name="connsiteX1" fmla="*/ 13190 w 19050"/>
                <a:gd name="connsiteY1" fmla="*/ 13193 h 9525"/>
                <a:gd name="connsiteX2" fmla="*/ 5812 w 19050"/>
                <a:gd name="connsiteY2" fmla="*/ 9507 h 9525"/>
                <a:gd name="connsiteX3" fmla="*/ 5812 w 19050"/>
                <a:gd name="connsiteY3" fmla="*/ 9507 h 9525"/>
                <a:gd name="connsiteX4" fmla="*/ 13190 w 19050"/>
                <a:gd name="connsiteY4" fmla="*/ 5812 h 9525"/>
                <a:gd name="connsiteX5" fmla="*/ 16879 w 19050"/>
                <a:gd name="connsiteY5" fmla="*/ 5812 h 9525"/>
                <a:gd name="connsiteX6" fmla="*/ 16879 w 19050"/>
                <a:gd name="connsiteY6" fmla="*/ 5812 h 9525"/>
                <a:gd name="connsiteX7" fmla="*/ 16879 w 19050"/>
                <a:gd name="connsiteY7" fmla="*/ 13193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 h="9525">
                  <a:moveTo>
                    <a:pt x="16879" y="13193"/>
                  </a:moveTo>
                  <a:lnTo>
                    <a:pt x="13190" y="13193"/>
                  </a:lnTo>
                  <a:lnTo>
                    <a:pt x="5812" y="9507"/>
                  </a:lnTo>
                  <a:lnTo>
                    <a:pt x="5812" y="9507"/>
                  </a:lnTo>
                  <a:lnTo>
                    <a:pt x="13190" y="5812"/>
                  </a:lnTo>
                  <a:lnTo>
                    <a:pt x="16879" y="5812"/>
                  </a:lnTo>
                  <a:lnTo>
                    <a:pt x="16879" y="5812"/>
                  </a:lnTo>
                  <a:lnTo>
                    <a:pt x="16879" y="13193"/>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15" name="Freeform: Shape 314">
              <a:extLst>
                <a:ext uri="{FF2B5EF4-FFF2-40B4-BE49-F238E27FC236}">
                  <a16:creationId xmlns:a16="http://schemas.microsoft.com/office/drawing/2014/main" id="{18B245AC-2237-4DB1-AFF7-2C18B37FEAFA}"/>
                </a:ext>
              </a:extLst>
            </p:cNvPr>
            <p:cNvSpPr/>
            <p:nvPr/>
          </p:nvSpPr>
          <p:spPr>
            <a:xfrm>
              <a:off x="8160182" y="4736276"/>
              <a:ext cx="30745" cy="15373"/>
            </a:xfrm>
            <a:custGeom>
              <a:avLst/>
              <a:gdLst>
                <a:gd name="connsiteX0" fmla="*/ 5812 w 19050"/>
                <a:gd name="connsiteY0" fmla="*/ 9507 h 9525"/>
                <a:gd name="connsiteX1" fmla="*/ 5812 w 19050"/>
                <a:gd name="connsiteY1" fmla="*/ 9507 h 9525"/>
                <a:gd name="connsiteX2" fmla="*/ 5812 w 19050"/>
                <a:gd name="connsiteY2" fmla="*/ 9507 h 9525"/>
                <a:gd name="connsiteX3" fmla="*/ 5812 w 19050"/>
                <a:gd name="connsiteY3" fmla="*/ 5812 h 9525"/>
                <a:gd name="connsiteX4" fmla="*/ 9501 w 19050"/>
                <a:gd name="connsiteY4" fmla="*/ 5812 h 9525"/>
                <a:gd name="connsiteX5" fmla="*/ 16879 w 19050"/>
                <a:gd name="connsiteY5" fmla="*/ 9507 h 9525"/>
                <a:gd name="connsiteX6" fmla="*/ 13190 w 19050"/>
                <a:gd name="connsiteY6" fmla="*/ 9507 h 9525"/>
                <a:gd name="connsiteX7" fmla="*/ 5812 w 19050"/>
                <a:gd name="connsiteY7" fmla="*/ 9507 h 9525"/>
                <a:gd name="connsiteX8" fmla="*/ 5812 w 19050"/>
                <a:gd name="connsiteY8" fmla="*/ 9507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 h="9525">
                  <a:moveTo>
                    <a:pt x="5812" y="9507"/>
                  </a:moveTo>
                  <a:lnTo>
                    <a:pt x="5812" y="9507"/>
                  </a:lnTo>
                  <a:lnTo>
                    <a:pt x="5812" y="9507"/>
                  </a:lnTo>
                  <a:lnTo>
                    <a:pt x="5812" y="5812"/>
                  </a:lnTo>
                  <a:lnTo>
                    <a:pt x="9501" y="5812"/>
                  </a:lnTo>
                  <a:lnTo>
                    <a:pt x="16879" y="9507"/>
                  </a:lnTo>
                  <a:lnTo>
                    <a:pt x="13190" y="9507"/>
                  </a:lnTo>
                  <a:lnTo>
                    <a:pt x="5812" y="9507"/>
                  </a:lnTo>
                  <a:lnTo>
                    <a:pt x="5812" y="9507"/>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16" name="Freeform: Shape 315">
              <a:extLst>
                <a:ext uri="{FF2B5EF4-FFF2-40B4-BE49-F238E27FC236}">
                  <a16:creationId xmlns:a16="http://schemas.microsoft.com/office/drawing/2014/main" id="{8DB97314-BBF7-4E29-ABA4-29EC62C42E7B}"/>
                </a:ext>
              </a:extLst>
            </p:cNvPr>
            <p:cNvSpPr/>
            <p:nvPr/>
          </p:nvSpPr>
          <p:spPr>
            <a:xfrm>
              <a:off x="8338803" y="4843485"/>
              <a:ext cx="46118" cy="46118"/>
            </a:xfrm>
            <a:custGeom>
              <a:avLst/>
              <a:gdLst>
                <a:gd name="connsiteX0" fmla="*/ 31636 w 28575"/>
                <a:gd name="connsiteY0" fmla="*/ 24271 h 28575"/>
                <a:gd name="connsiteX1" fmla="*/ 31636 w 28575"/>
                <a:gd name="connsiteY1" fmla="*/ 20575 h 28575"/>
                <a:gd name="connsiteX2" fmla="*/ 27947 w 28575"/>
                <a:gd name="connsiteY2" fmla="*/ 16889 h 28575"/>
                <a:gd name="connsiteX3" fmla="*/ 24257 w 28575"/>
                <a:gd name="connsiteY3" fmla="*/ 13194 h 28575"/>
                <a:gd name="connsiteX4" fmla="*/ 24257 w 28575"/>
                <a:gd name="connsiteY4" fmla="*/ 16889 h 28575"/>
                <a:gd name="connsiteX5" fmla="*/ 20568 w 28575"/>
                <a:gd name="connsiteY5" fmla="*/ 16889 h 28575"/>
                <a:gd name="connsiteX6" fmla="*/ 13190 w 28575"/>
                <a:gd name="connsiteY6" fmla="*/ 9507 h 28575"/>
                <a:gd name="connsiteX7" fmla="*/ 16879 w 28575"/>
                <a:gd name="connsiteY7" fmla="*/ 5812 h 28575"/>
                <a:gd name="connsiteX8" fmla="*/ 16879 w 28575"/>
                <a:gd name="connsiteY8" fmla="*/ 5812 h 28575"/>
                <a:gd name="connsiteX9" fmla="*/ 13190 w 28575"/>
                <a:gd name="connsiteY9" fmla="*/ 5812 h 28575"/>
                <a:gd name="connsiteX10" fmla="*/ 13190 w 28575"/>
                <a:gd name="connsiteY10" fmla="*/ 9507 h 28575"/>
                <a:gd name="connsiteX11" fmla="*/ 5812 w 28575"/>
                <a:gd name="connsiteY11" fmla="*/ 9507 h 28575"/>
                <a:gd name="connsiteX12" fmla="*/ 5812 w 28575"/>
                <a:gd name="connsiteY12" fmla="*/ 5812 h 28575"/>
                <a:gd name="connsiteX13" fmla="*/ 13190 w 28575"/>
                <a:gd name="connsiteY13" fmla="*/ 5812 h 28575"/>
                <a:gd name="connsiteX14" fmla="*/ 13190 w 28575"/>
                <a:gd name="connsiteY14" fmla="*/ 5812 h 28575"/>
                <a:gd name="connsiteX15" fmla="*/ 24257 w 28575"/>
                <a:gd name="connsiteY15" fmla="*/ 5812 h 28575"/>
                <a:gd name="connsiteX16" fmla="*/ 27947 w 28575"/>
                <a:gd name="connsiteY16" fmla="*/ 5812 h 28575"/>
                <a:gd name="connsiteX17" fmla="*/ 27947 w 28575"/>
                <a:gd name="connsiteY17" fmla="*/ 5812 h 28575"/>
                <a:gd name="connsiteX18" fmla="*/ 24257 w 28575"/>
                <a:gd name="connsiteY18" fmla="*/ 5812 h 28575"/>
                <a:gd name="connsiteX19" fmla="*/ 24257 w 28575"/>
                <a:gd name="connsiteY19" fmla="*/ 5812 h 28575"/>
                <a:gd name="connsiteX20" fmla="*/ 20568 w 28575"/>
                <a:gd name="connsiteY20" fmla="*/ 5812 h 28575"/>
                <a:gd name="connsiteX21" fmla="*/ 20568 w 28575"/>
                <a:gd name="connsiteY21" fmla="*/ 5812 h 28575"/>
                <a:gd name="connsiteX22" fmla="*/ 20568 w 28575"/>
                <a:gd name="connsiteY22" fmla="*/ 9507 h 28575"/>
                <a:gd name="connsiteX23" fmla="*/ 20568 w 28575"/>
                <a:gd name="connsiteY23" fmla="*/ 9507 h 28575"/>
                <a:gd name="connsiteX24" fmla="*/ 27947 w 28575"/>
                <a:gd name="connsiteY24" fmla="*/ 9507 h 28575"/>
                <a:gd name="connsiteX25" fmla="*/ 27947 w 28575"/>
                <a:gd name="connsiteY25" fmla="*/ 13194 h 28575"/>
                <a:gd name="connsiteX26" fmla="*/ 31636 w 28575"/>
                <a:gd name="connsiteY26" fmla="*/ 16889 h 28575"/>
                <a:gd name="connsiteX27" fmla="*/ 31636 w 28575"/>
                <a:gd name="connsiteY27" fmla="*/ 20575 h 28575"/>
                <a:gd name="connsiteX28" fmla="*/ 31636 w 28575"/>
                <a:gd name="connsiteY28" fmla="*/ 24271 h 28575"/>
                <a:gd name="connsiteX29" fmla="*/ 31636 w 28575"/>
                <a:gd name="connsiteY29" fmla="*/ 24271 h 28575"/>
                <a:gd name="connsiteX30" fmla="*/ 31636 w 28575"/>
                <a:gd name="connsiteY30" fmla="*/ 24271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8575" h="28575">
                  <a:moveTo>
                    <a:pt x="31636" y="24271"/>
                  </a:moveTo>
                  <a:lnTo>
                    <a:pt x="31636" y="20575"/>
                  </a:lnTo>
                  <a:lnTo>
                    <a:pt x="27947" y="16889"/>
                  </a:lnTo>
                  <a:lnTo>
                    <a:pt x="24257" y="13194"/>
                  </a:lnTo>
                  <a:lnTo>
                    <a:pt x="24257" y="16889"/>
                  </a:lnTo>
                  <a:lnTo>
                    <a:pt x="20568" y="16889"/>
                  </a:lnTo>
                  <a:lnTo>
                    <a:pt x="13190" y="9507"/>
                  </a:lnTo>
                  <a:lnTo>
                    <a:pt x="16879" y="5812"/>
                  </a:lnTo>
                  <a:lnTo>
                    <a:pt x="16879" y="5812"/>
                  </a:lnTo>
                  <a:lnTo>
                    <a:pt x="13190" y="5812"/>
                  </a:lnTo>
                  <a:lnTo>
                    <a:pt x="13190" y="9507"/>
                  </a:lnTo>
                  <a:lnTo>
                    <a:pt x="5812" y="9507"/>
                  </a:lnTo>
                  <a:lnTo>
                    <a:pt x="5812" y="5812"/>
                  </a:lnTo>
                  <a:lnTo>
                    <a:pt x="13190" y="5812"/>
                  </a:lnTo>
                  <a:lnTo>
                    <a:pt x="13190" y="5812"/>
                  </a:lnTo>
                  <a:lnTo>
                    <a:pt x="24257" y="5812"/>
                  </a:lnTo>
                  <a:lnTo>
                    <a:pt x="27947" y="5812"/>
                  </a:lnTo>
                  <a:lnTo>
                    <a:pt x="27947" y="5812"/>
                  </a:lnTo>
                  <a:lnTo>
                    <a:pt x="24257" y="5812"/>
                  </a:lnTo>
                  <a:lnTo>
                    <a:pt x="24257" y="5812"/>
                  </a:lnTo>
                  <a:lnTo>
                    <a:pt x="20568" y="5812"/>
                  </a:lnTo>
                  <a:lnTo>
                    <a:pt x="20568" y="5812"/>
                  </a:lnTo>
                  <a:lnTo>
                    <a:pt x="20568" y="9507"/>
                  </a:lnTo>
                  <a:lnTo>
                    <a:pt x="20568" y="9507"/>
                  </a:lnTo>
                  <a:lnTo>
                    <a:pt x="27947" y="9507"/>
                  </a:lnTo>
                  <a:lnTo>
                    <a:pt x="27947" y="13194"/>
                  </a:lnTo>
                  <a:lnTo>
                    <a:pt x="31636" y="16889"/>
                  </a:lnTo>
                  <a:lnTo>
                    <a:pt x="31636" y="20575"/>
                  </a:lnTo>
                  <a:lnTo>
                    <a:pt x="31636" y="24271"/>
                  </a:lnTo>
                  <a:lnTo>
                    <a:pt x="31636" y="24271"/>
                  </a:lnTo>
                  <a:lnTo>
                    <a:pt x="31636" y="24271"/>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17" name="Freeform: Shape 316">
              <a:extLst>
                <a:ext uri="{FF2B5EF4-FFF2-40B4-BE49-F238E27FC236}">
                  <a16:creationId xmlns:a16="http://schemas.microsoft.com/office/drawing/2014/main" id="{DF71530C-D297-4043-AC3C-B165BCF258C8}"/>
                </a:ext>
              </a:extLst>
            </p:cNvPr>
            <p:cNvSpPr/>
            <p:nvPr/>
          </p:nvSpPr>
          <p:spPr>
            <a:xfrm>
              <a:off x="8112549" y="4986434"/>
              <a:ext cx="15373" cy="15373"/>
            </a:xfrm>
            <a:custGeom>
              <a:avLst/>
              <a:gdLst>
                <a:gd name="connsiteX0" fmla="*/ 9501 w 9525"/>
                <a:gd name="connsiteY0" fmla="*/ 9507 h 9525"/>
                <a:gd name="connsiteX1" fmla="*/ 9501 w 9525"/>
                <a:gd name="connsiteY1" fmla="*/ 5812 h 9525"/>
                <a:gd name="connsiteX2" fmla="*/ 5812 w 9525"/>
                <a:gd name="connsiteY2" fmla="*/ 5812 h 9525"/>
                <a:gd name="connsiteX3" fmla="*/ 9501 w 9525"/>
                <a:gd name="connsiteY3" fmla="*/ 5812 h 9525"/>
                <a:gd name="connsiteX4" fmla="*/ 9501 w 9525"/>
                <a:gd name="connsiteY4" fmla="*/ 5812 h 9525"/>
                <a:gd name="connsiteX5" fmla="*/ 9501 w 9525"/>
                <a:gd name="connsiteY5" fmla="*/ 9507 h 9525"/>
                <a:gd name="connsiteX6" fmla="*/ 9501 w 9525"/>
                <a:gd name="connsiteY6" fmla="*/ 9507 h 9525"/>
                <a:gd name="connsiteX7" fmla="*/ 9501 w 9525"/>
                <a:gd name="connsiteY7" fmla="*/ 9507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 h="9525">
                  <a:moveTo>
                    <a:pt x="9501" y="9507"/>
                  </a:moveTo>
                  <a:lnTo>
                    <a:pt x="9501" y="5812"/>
                  </a:lnTo>
                  <a:lnTo>
                    <a:pt x="5812" y="5812"/>
                  </a:lnTo>
                  <a:lnTo>
                    <a:pt x="9501" y="5812"/>
                  </a:lnTo>
                  <a:lnTo>
                    <a:pt x="9501" y="5812"/>
                  </a:lnTo>
                  <a:lnTo>
                    <a:pt x="9501" y="9507"/>
                  </a:lnTo>
                  <a:lnTo>
                    <a:pt x="9501" y="9507"/>
                  </a:lnTo>
                  <a:lnTo>
                    <a:pt x="9501" y="9507"/>
                  </a:lnTo>
                  <a:close/>
                </a:path>
              </a:pathLst>
            </a:custGeom>
            <a:solidFill>
              <a:srgbClr val="95C5C9"/>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18" name="Freeform: Shape 317">
              <a:extLst>
                <a:ext uri="{FF2B5EF4-FFF2-40B4-BE49-F238E27FC236}">
                  <a16:creationId xmlns:a16="http://schemas.microsoft.com/office/drawing/2014/main" id="{AD1535CA-801A-46D3-ADFD-62D891404F05}"/>
                </a:ext>
              </a:extLst>
            </p:cNvPr>
            <p:cNvSpPr/>
            <p:nvPr/>
          </p:nvSpPr>
          <p:spPr>
            <a:xfrm>
              <a:off x="7933928" y="4909004"/>
              <a:ext cx="215217" cy="107609"/>
            </a:xfrm>
            <a:custGeom>
              <a:avLst/>
              <a:gdLst>
                <a:gd name="connsiteX0" fmla="*/ 109108 w 133350"/>
                <a:gd name="connsiteY0" fmla="*/ 5812 h 66675"/>
                <a:gd name="connsiteX1" fmla="*/ 109108 w 133350"/>
                <a:gd name="connsiteY1" fmla="*/ 5812 h 66675"/>
                <a:gd name="connsiteX2" fmla="*/ 112797 w 133350"/>
                <a:gd name="connsiteY2" fmla="*/ 5812 h 66675"/>
                <a:gd name="connsiteX3" fmla="*/ 112797 w 133350"/>
                <a:gd name="connsiteY3" fmla="*/ 5812 h 66675"/>
                <a:gd name="connsiteX4" fmla="*/ 112797 w 133350"/>
                <a:gd name="connsiteY4" fmla="*/ 9507 h 66675"/>
                <a:gd name="connsiteX5" fmla="*/ 116487 w 133350"/>
                <a:gd name="connsiteY5" fmla="*/ 9507 h 66675"/>
                <a:gd name="connsiteX6" fmla="*/ 120176 w 133350"/>
                <a:gd name="connsiteY6" fmla="*/ 9507 h 66675"/>
                <a:gd name="connsiteX7" fmla="*/ 123865 w 133350"/>
                <a:gd name="connsiteY7" fmla="*/ 13193 h 66675"/>
                <a:gd name="connsiteX8" fmla="*/ 123865 w 133350"/>
                <a:gd name="connsiteY8" fmla="*/ 16889 h 66675"/>
                <a:gd name="connsiteX9" fmla="*/ 127554 w 133350"/>
                <a:gd name="connsiteY9" fmla="*/ 24271 h 66675"/>
                <a:gd name="connsiteX10" fmla="*/ 131243 w 133350"/>
                <a:gd name="connsiteY10" fmla="*/ 27957 h 66675"/>
                <a:gd name="connsiteX11" fmla="*/ 131243 w 133350"/>
                <a:gd name="connsiteY11" fmla="*/ 31653 h 66675"/>
                <a:gd name="connsiteX12" fmla="*/ 131243 w 133350"/>
                <a:gd name="connsiteY12" fmla="*/ 31653 h 66675"/>
                <a:gd name="connsiteX13" fmla="*/ 134932 w 133350"/>
                <a:gd name="connsiteY13" fmla="*/ 31653 h 66675"/>
                <a:gd name="connsiteX14" fmla="*/ 134932 w 133350"/>
                <a:gd name="connsiteY14" fmla="*/ 35339 h 66675"/>
                <a:gd name="connsiteX15" fmla="*/ 134932 w 133350"/>
                <a:gd name="connsiteY15" fmla="*/ 39035 h 66675"/>
                <a:gd name="connsiteX16" fmla="*/ 134932 w 133350"/>
                <a:gd name="connsiteY16" fmla="*/ 39035 h 66675"/>
                <a:gd name="connsiteX17" fmla="*/ 134932 w 133350"/>
                <a:gd name="connsiteY17" fmla="*/ 42721 h 66675"/>
                <a:gd name="connsiteX18" fmla="*/ 134932 w 133350"/>
                <a:gd name="connsiteY18" fmla="*/ 42721 h 66675"/>
                <a:gd name="connsiteX19" fmla="*/ 131243 w 133350"/>
                <a:gd name="connsiteY19" fmla="*/ 46417 h 66675"/>
                <a:gd name="connsiteX20" fmla="*/ 123865 w 133350"/>
                <a:gd name="connsiteY20" fmla="*/ 46417 h 66675"/>
                <a:gd name="connsiteX21" fmla="*/ 123865 w 133350"/>
                <a:gd name="connsiteY21" fmla="*/ 46417 h 66675"/>
                <a:gd name="connsiteX22" fmla="*/ 123865 w 133350"/>
                <a:gd name="connsiteY22" fmla="*/ 46417 h 66675"/>
                <a:gd name="connsiteX23" fmla="*/ 120176 w 133350"/>
                <a:gd name="connsiteY23" fmla="*/ 53789 h 66675"/>
                <a:gd name="connsiteX24" fmla="*/ 120176 w 133350"/>
                <a:gd name="connsiteY24" fmla="*/ 53789 h 66675"/>
                <a:gd name="connsiteX25" fmla="*/ 112797 w 133350"/>
                <a:gd name="connsiteY25" fmla="*/ 53789 h 66675"/>
                <a:gd name="connsiteX26" fmla="*/ 109108 w 133350"/>
                <a:gd name="connsiteY26" fmla="*/ 50103 h 66675"/>
                <a:gd name="connsiteX27" fmla="*/ 105419 w 133350"/>
                <a:gd name="connsiteY27" fmla="*/ 46417 h 66675"/>
                <a:gd name="connsiteX28" fmla="*/ 105419 w 133350"/>
                <a:gd name="connsiteY28" fmla="*/ 46417 h 66675"/>
                <a:gd name="connsiteX29" fmla="*/ 98041 w 133350"/>
                <a:gd name="connsiteY29" fmla="*/ 46417 h 66675"/>
                <a:gd name="connsiteX30" fmla="*/ 94352 w 133350"/>
                <a:gd name="connsiteY30" fmla="*/ 46417 h 66675"/>
                <a:gd name="connsiteX31" fmla="*/ 94352 w 133350"/>
                <a:gd name="connsiteY31" fmla="*/ 50103 h 66675"/>
                <a:gd name="connsiteX32" fmla="*/ 90662 w 133350"/>
                <a:gd name="connsiteY32" fmla="*/ 50103 h 66675"/>
                <a:gd name="connsiteX33" fmla="*/ 90662 w 133350"/>
                <a:gd name="connsiteY33" fmla="*/ 50103 h 66675"/>
                <a:gd name="connsiteX34" fmla="*/ 86973 w 133350"/>
                <a:gd name="connsiteY34" fmla="*/ 50103 h 66675"/>
                <a:gd name="connsiteX35" fmla="*/ 79595 w 133350"/>
                <a:gd name="connsiteY35" fmla="*/ 50103 h 66675"/>
                <a:gd name="connsiteX36" fmla="*/ 75906 w 133350"/>
                <a:gd name="connsiteY36" fmla="*/ 46417 h 66675"/>
                <a:gd name="connsiteX37" fmla="*/ 68528 w 133350"/>
                <a:gd name="connsiteY37" fmla="*/ 46417 h 66675"/>
                <a:gd name="connsiteX38" fmla="*/ 53771 w 133350"/>
                <a:gd name="connsiteY38" fmla="*/ 50103 h 66675"/>
                <a:gd name="connsiteX39" fmla="*/ 50082 w 133350"/>
                <a:gd name="connsiteY39" fmla="*/ 53789 h 66675"/>
                <a:gd name="connsiteX40" fmla="*/ 46393 w 133350"/>
                <a:gd name="connsiteY40" fmla="*/ 61171 h 66675"/>
                <a:gd name="connsiteX41" fmla="*/ 42703 w 133350"/>
                <a:gd name="connsiteY41" fmla="*/ 61171 h 66675"/>
                <a:gd name="connsiteX42" fmla="*/ 39014 w 133350"/>
                <a:gd name="connsiteY42" fmla="*/ 68553 h 66675"/>
                <a:gd name="connsiteX43" fmla="*/ 39014 w 133350"/>
                <a:gd name="connsiteY43" fmla="*/ 68553 h 66675"/>
                <a:gd name="connsiteX44" fmla="*/ 39014 w 133350"/>
                <a:gd name="connsiteY44" fmla="*/ 64867 h 66675"/>
                <a:gd name="connsiteX45" fmla="*/ 35325 w 133350"/>
                <a:gd name="connsiteY45" fmla="*/ 61171 h 66675"/>
                <a:gd name="connsiteX46" fmla="*/ 39014 w 133350"/>
                <a:gd name="connsiteY46" fmla="*/ 57485 h 66675"/>
                <a:gd name="connsiteX47" fmla="*/ 39014 w 133350"/>
                <a:gd name="connsiteY47" fmla="*/ 53789 h 66675"/>
                <a:gd name="connsiteX48" fmla="*/ 39014 w 133350"/>
                <a:gd name="connsiteY48" fmla="*/ 50103 h 66675"/>
                <a:gd name="connsiteX49" fmla="*/ 31636 w 133350"/>
                <a:gd name="connsiteY49" fmla="*/ 42721 h 66675"/>
                <a:gd name="connsiteX50" fmla="*/ 35325 w 133350"/>
                <a:gd name="connsiteY50" fmla="*/ 42721 h 66675"/>
                <a:gd name="connsiteX51" fmla="*/ 35325 w 133350"/>
                <a:gd name="connsiteY51" fmla="*/ 39035 h 66675"/>
                <a:gd name="connsiteX52" fmla="*/ 39014 w 133350"/>
                <a:gd name="connsiteY52" fmla="*/ 35339 h 66675"/>
                <a:gd name="connsiteX53" fmla="*/ 39014 w 133350"/>
                <a:gd name="connsiteY53" fmla="*/ 35339 h 66675"/>
                <a:gd name="connsiteX54" fmla="*/ 35325 w 133350"/>
                <a:gd name="connsiteY54" fmla="*/ 39035 h 66675"/>
                <a:gd name="connsiteX55" fmla="*/ 35325 w 133350"/>
                <a:gd name="connsiteY55" fmla="*/ 39035 h 66675"/>
                <a:gd name="connsiteX56" fmla="*/ 31636 w 133350"/>
                <a:gd name="connsiteY56" fmla="*/ 42721 h 66675"/>
                <a:gd name="connsiteX57" fmla="*/ 31636 w 133350"/>
                <a:gd name="connsiteY57" fmla="*/ 42721 h 66675"/>
                <a:gd name="connsiteX58" fmla="*/ 27947 w 133350"/>
                <a:gd name="connsiteY58" fmla="*/ 39035 h 66675"/>
                <a:gd name="connsiteX59" fmla="*/ 24258 w 133350"/>
                <a:gd name="connsiteY59" fmla="*/ 35339 h 66675"/>
                <a:gd name="connsiteX60" fmla="*/ 20568 w 133350"/>
                <a:gd name="connsiteY60" fmla="*/ 35339 h 66675"/>
                <a:gd name="connsiteX61" fmla="*/ 16879 w 133350"/>
                <a:gd name="connsiteY61" fmla="*/ 31653 h 66675"/>
                <a:gd name="connsiteX62" fmla="*/ 13190 w 133350"/>
                <a:gd name="connsiteY62" fmla="*/ 31653 h 66675"/>
                <a:gd name="connsiteX63" fmla="*/ 13190 w 133350"/>
                <a:gd name="connsiteY63" fmla="*/ 24271 h 66675"/>
                <a:gd name="connsiteX64" fmla="*/ 9501 w 133350"/>
                <a:gd name="connsiteY64" fmla="*/ 24271 h 66675"/>
                <a:gd name="connsiteX65" fmla="*/ 9501 w 133350"/>
                <a:gd name="connsiteY65" fmla="*/ 20575 h 66675"/>
                <a:gd name="connsiteX66" fmla="*/ 9501 w 133350"/>
                <a:gd name="connsiteY66" fmla="*/ 16889 h 66675"/>
                <a:gd name="connsiteX67" fmla="*/ 13190 w 133350"/>
                <a:gd name="connsiteY67" fmla="*/ 16889 h 66675"/>
                <a:gd name="connsiteX68" fmla="*/ 13190 w 133350"/>
                <a:gd name="connsiteY68" fmla="*/ 16889 h 66675"/>
                <a:gd name="connsiteX69" fmla="*/ 9501 w 133350"/>
                <a:gd name="connsiteY69" fmla="*/ 16889 h 66675"/>
                <a:gd name="connsiteX70" fmla="*/ 5812 w 133350"/>
                <a:gd name="connsiteY70" fmla="*/ 16889 h 66675"/>
                <a:gd name="connsiteX71" fmla="*/ 5812 w 133350"/>
                <a:gd name="connsiteY71" fmla="*/ 16889 h 66675"/>
                <a:gd name="connsiteX72" fmla="*/ 5812 w 133350"/>
                <a:gd name="connsiteY72" fmla="*/ 16889 h 66675"/>
                <a:gd name="connsiteX73" fmla="*/ 16879 w 133350"/>
                <a:gd name="connsiteY73" fmla="*/ 13193 h 66675"/>
                <a:gd name="connsiteX74" fmla="*/ 27947 w 133350"/>
                <a:gd name="connsiteY74" fmla="*/ 9507 h 66675"/>
                <a:gd name="connsiteX75" fmla="*/ 27947 w 133350"/>
                <a:gd name="connsiteY75" fmla="*/ 5812 h 66675"/>
                <a:gd name="connsiteX76" fmla="*/ 27947 w 133350"/>
                <a:gd name="connsiteY76" fmla="*/ 5812 h 66675"/>
                <a:gd name="connsiteX77" fmla="*/ 31636 w 133350"/>
                <a:gd name="connsiteY77" fmla="*/ 5812 h 66675"/>
                <a:gd name="connsiteX78" fmla="*/ 31636 w 133350"/>
                <a:gd name="connsiteY78" fmla="*/ 5812 h 66675"/>
                <a:gd name="connsiteX79" fmla="*/ 31636 w 133350"/>
                <a:gd name="connsiteY79" fmla="*/ 9507 h 66675"/>
                <a:gd name="connsiteX80" fmla="*/ 35325 w 133350"/>
                <a:gd name="connsiteY80" fmla="*/ 9507 h 66675"/>
                <a:gd name="connsiteX81" fmla="*/ 39014 w 133350"/>
                <a:gd name="connsiteY81" fmla="*/ 9507 h 66675"/>
                <a:gd name="connsiteX82" fmla="*/ 42703 w 133350"/>
                <a:gd name="connsiteY82" fmla="*/ 13193 h 66675"/>
                <a:gd name="connsiteX83" fmla="*/ 46393 w 133350"/>
                <a:gd name="connsiteY83" fmla="*/ 13193 h 66675"/>
                <a:gd name="connsiteX84" fmla="*/ 50082 w 133350"/>
                <a:gd name="connsiteY84" fmla="*/ 16889 h 66675"/>
                <a:gd name="connsiteX85" fmla="*/ 50082 w 133350"/>
                <a:gd name="connsiteY85" fmla="*/ 16889 h 66675"/>
                <a:gd name="connsiteX86" fmla="*/ 53771 w 133350"/>
                <a:gd name="connsiteY86" fmla="*/ 16889 h 66675"/>
                <a:gd name="connsiteX87" fmla="*/ 57460 w 133350"/>
                <a:gd name="connsiteY87" fmla="*/ 13193 h 66675"/>
                <a:gd name="connsiteX88" fmla="*/ 61149 w 133350"/>
                <a:gd name="connsiteY88" fmla="*/ 13193 h 66675"/>
                <a:gd name="connsiteX89" fmla="*/ 68528 w 133350"/>
                <a:gd name="connsiteY89" fmla="*/ 9507 h 66675"/>
                <a:gd name="connsiteX90" fmla="*/ 68528 w 133350"/>
                <a:gd name="connsiteY90" fmla="*/ 9507 h 66675"/>
                <a:gd name="connsiteX91" fmla="*/ 75906 w 133350"/>
                <a:gd name="connsiteY91" fmla="*/ 13193 h 66675"/>
                <a:gd name="connsiteX92" fmla="*/ 79595 w 133350"/>
                <a:gd name="connsiteY92" fmla="*/ 9507 h 66675"/>
                <a:gd name="connsiteX93" fmla="*/ 79595 w 133350"/>
                <a:gd name="connsiteY93" fmla="*/ 9507 h 66675"/>
                <a:gd name="connsiteX94" fmla="*/ 86973 w 133350"/>
                <a:gd name="connsiteY94" fmla="*/ 5812 h 66675"/>
                <a:gd name="connsiteX95" fmla="*/ 86973 w 133350"/>
                <a:gd name="connsiteY95" fmla="*/ 5812 h 66675"/>
                <a:gd name="connsiteX96" fmla="*/ 94352 w 133350"/>
                <a:gd name="connsiteY96" fmla="*/ 5812 h 66675"/>
                <a:gd name="connsiteX97" fmla="*/ 98041 w 133350"/>
                <a:gd name="connsiteY97" fmla="*/ 9507 h 66675"/>
                <a:gd name="connsiteX98" fmla="*/ 105419 w 133350"/>
                <a:gd name="connsiteY98" fmla="*/ 5812 h 66675"/>
                <a:gd name="connsiteX99" fmla="*/ 109108 w 133350"/>
                <a:gd name="connsiteY99" fmla="*/ 5812 h 66675"/>
                <a:gd name="connsiteX100" fmla="*/ 109108 w 133350"/>
                <a:gd name="connsiteY100" fmla="*/ 5812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33350" h="66675">
                  <a:moveTo>
                    <a:pt x="109108" y="5812"/>
                  </a:moveTo>
                  <a:lnTo>
                    <a:pt x="109108" y="5812"/>
                  </a:lnTo>
                  <a:lnTo>
                    <a:pt x="112797" y="5812"/>
                  </a:lnTo>
                  <a:lnTo>
                    <a:pt x="112797" y="5812"/>
                  </a:lnTo>
                  <a:lnTo>
                    <a:pt x="112797" y="9507"/>
                  </a:lnTo>
                  <a:lnTo>
                    <a:pt x="116487" y="9507"/>
                  </a:lnTo>
                  <a:lnTo>
                    <a:pt x="120176" y="9507"/>
                  </a:lnTo>
                  <a:lnTo>
                    <a:pt x="123865" y="13193"/>
                  </a:lnTo>
                  <a:lnTo>
                    <a:pt x="123865" y="16889"/>
                  </a:lnTo>
                  <a:lnTo>
                    <a:pt x="127554" y="24271"/>
                  </a:lnTo>
                  <a:lnTo>
                    <a:pt x="131243" y="27957"/>
                  </a:lnTo>
                  <a:lnTo>
                    <a:pt x="131243" y="31653"/>
                  </a:lnTo>
                  <a:lnTo>
                    <a:pt x="131243" y="31653"/>
                  </a:lnTo>
                  <a:lnTo>
                    <a:pt x="134932" y="31653"/>
                  </a:lnTo>
                  <a:lnTo>
                    <a:pt x="134932" y="35339"/>
                  </a:lnTo>
                  <a:lnTo>
                    <a:pt x="134932" y="39035"/>
                  </a:lnTo>
                  <a:lnTo>
                    <a:pt x="134932" y="39035"/>
                  </a:lnTo>
                  <a:lnTo>
                    <a:pt x="134932" y="42721"/>
                  </a:lnTo>
                  <a:lnTo>
                    <a:pt x="134932" y="42721"/>
                  </a:lnTo>
                  <a:lnTo>
                    <a:pt x="131243" y="46417"/>
                  </a:lnTo>
                  <a:lnTo>
                    <a:pt x="123865" y="46417"/>
                  </a:lnTo>
                  <a:lnTo>
                    <a:pt x="123865" y="46417"/>
                  </a:lnTo>
                  <a:lnTo>
                    <a:pt x="123865" y="46417"/>
                  </a:lnTo>
                  <a:lnTo>
                    <a:pt x="120176" y="53789"/>
                  </a:lnTo>
                  <a:lnTo>
                    <a:pt x="120176" y="53789"/>
                  </a:lnTo>
                  <a:lnTo>
                    <a:pt x="112797" y="53789"/>
                  </a:lnTo>
                  <a:lnTo>
                    <a:pt x="109108" y="50103"/>
                  </a:lnTo>
                  <a:lnTo>
                    <a:pt x="105419" y="46417"/>
                  </a:lnTo>
                  <a:lnTo>
                    <a:pt x="105419" y="46417"/>
                  </a:lnTo>
                  <a:lnTo>
                    <a:pt x="98041" y="46417"/>
                  </a:lnTo>
                  <a:lnTo>
                    <a:pt x="94352" y="46417"/>
                  </a:lnTo>
                  <a:lnTo>
                    <a:pt x="94352" y="50103"/>
                  </a:lnTo>
                  <a:lnTo>
                    <a:pt x="90662" y="50103"/>
                  </a:lnTo>
                  <a:lnTo>
                    <a:pt x="90662" y="50103"/>
                  </a:lnTo>
                  <a:lnTo>
                    <a:pt x="86973" y="50103"/>
                  </a:lnTo>
                  <a:lnTo>
                    <a:pt x="79595" y="50103"/>
                  </a:lnTo>
                  <a:lnTo>
                    <a:pt x="75906" y="46417"/>
                  </a:lnTo>
                  <a:lnTo>
                    <a:pt x="68528" y="46417"/>
                  </a:lnTo>
                  <a:lnTo>
                    <a:pt x="53771" y="50103"/>
                  </a:lnTo>
                  <a:lnTo>
                    <a:pt x="50082" y="53789"/>
                  </a:lnTo>
                  <a:lnTo>
                    <a:pt x="46393" y="61171"/>
                  </a:lnTo>
                  <a:lnTo>
                    <a:pt x="42703" y="61171"/>
                  </a:lnTo>
                  <a:lnTo>
                    <a:pt x="39014" y="68553"/>
                  </a:lnTo>
                  <a:lnTo>
                    <a:pt x="39014" y="68553"/>
                  </a:lnTo>
                  <a:lnTo>
                    <a:pt x="39014" y="64867"/>
                  </a:lnTo>
                  <a:lnTo>
                    <a:pt x="35325" y="61171"/>
                  </a:lnTo>
                  <a:lnTo>
                    <a:pt x="39014" y="57485"/>
                  </a:lnTo>
                  <a:lnTo>
                    <a:pt x="39014" y="53789"/>
                  </a:lnTo>
                  <a:lnTo>
                    <a:pt x="39014" y="50103"/>
                  </a:lnTo>
                  <a:lnTo>
                    <a:pt x="31636" y="42721"/>
                  </a:lnTo>
                  <a:lnTo>
                    <a:pt x="35325" y="42721"/>
                  </a:lnTo>
                  <a:lnTo>
                    <a:pt x="35325" y="39035"/>
                  </a:lnTo>
                  <a:lnTo>
                    <a:pt x="39014" y="35339"/>
                  </a:lnTo>
                  <a:lnTo>
                    <a:pt x="39014" y="35339"/>
                  </a:lnTo>
                  <a:lnTo>
                    <a:pt x="35325" y="39035"/>
                  </a:lnTo>
                  <a:lnTo>
                    <a:pt x="35325" y="39035"/>
                  </a:lnTo>
                  <a:lnTo>
                    <a:pt x="31636" y="42721"/>
                  </a:lnTo>
                  <a:lnTo>
                    <a:pt x="31636" y="42721"/>
                  </a:lnTo>
                  <a:lnTo>
                    <a:pt x="27947" y="39035"/>
                  </a:lnTo>
                  <a:lnTo>
                    <a:pt x="24258" y="35339"/>
                  </a:lnTo>
                  <a:lnTo>
                    <a:pt x="20568" y="35339"/>
                  </a:lnTo>
                  <a:lnTo>
                    <a:pt x="16879" y="31653"/>
                  </a:lnTo>
                  <a:lnTo>
                    <a:pt x="13190" y="31653"/>
                  </a:lnTo>
                  <a:lnTo>
                    <a:pt x="13190" y="24271"/>
                  </a:lnTo>
                  <a:lnTo>
                    <a:pt x="9501" y="24271"/>
                  </a:lnTo>
                  <a:lnTo>
                    <a:pt x="9501" y="20575"/>
                  </a:lnTo>
                  <a:lnTo>
                    <a:pt x="9501" y="16889"/>
                  </a:lnTo>
                  <a:lnTo>
                    <a:pt x="13190" y="16889"/>
                  </a:lnTo>
                  <a:lnTo>
                    <a:pt x="13190" y="16889"/>
                  </a:lnTo>
                  <a:lnTo>
                    <a:pt x="9501" y="16889"/>
                  </a:lnTo>
                  <a:lnTo>
                    <a:pt x="5812" y="16889"/>
                  </a:lnTo>
                  <a:lnTo>
                    <a:pt x="5812" y="16889"/>
                  </a:lnTo>
                  <a:lnTo>
                    <a:pt x="5812" y="16889"/>
                  </a:lnTo>
                  <a:lnTo>
                    <a:pt x="16879" y="13193"/>
                  </a:lnTo>
                  <a:lnTo>
                    <a:pt x="27947" y="9507"/>
                  </a:lnTo>
                  <a:lnTo>
                    <a:pt x="27947" y="5812"/>
                  </a:lnTo>
                  <a:lnTo>
                    <a:pt x="27947" y="5812"/>
                  </a:lnTo>
                  <a:lnTo>
                    <a:pt x="31636" y="5812"/>
                  </a:lnTo>
                  <a:lnTo>
                    <a:pt x="31636" y="5812"/>
                  </a:lnTo>
                  <a:lnTo>
                    <a:pt x="31636" y="9507"/>
                  </a:lnTo>
                  <a:lnTo>
                    <a:pt x="35325" y="9507"/>
                  </a:lnTo>
                  <a:lnTo>
                    <a:pt x="39014" y="9507"/>
                  </a:lnTo>
                  <a:lnTo>
                    <a:pt x="42703" y="13193"/>
                  </a:lnTo>
                  <a:lnTo>
                    <a:pt x="46393" y="13193"/>
                  </a:lnTo>
                  <a:lnTo>
                    <a:pt x="50082" y="16889"/>
                  </a:lnTo>
                  <a:lnTo>
                    <a:pt x="50082" y="16889"/>
                  </a:lnTo>
                  <a:lnTo>
                    <a:pt x="53771" y="16889"/>
                  </a:lnTo>
                  <a:lnTo>
                    <a:pt x="57460" y="13193"/>
                  </a:lnTo>
                  <a:lnTo>
                    <a:pt x="61149" y="13193"/>
                  </a:lnTo>
                  <a:lnTo>
                    <a:pt x="68528" y="9507"/>
                  </a:lnTo>
                  <a:lnTo>
                    <a:pt x="68528" y="9507"/>
                  </a:lnTo>
                  <a:lnTo>
                    <a:pt x="75906" y="13193"/>
                  </a:lnTo>
                  <a:lnTo>
                    <a:pt x="79595" y="9507"/>
                  </a:lnTo>
                  <a:lnTo>
                    <a:pt x="79595" y="9507"/>
                  </a:lnTo>
                  <a:lnTo>
                    <a:pt x="86973" y="5812"/>
                  </a:lnTo>
                  <a:lnTo>
                    <a:pt x="86973" y="5812"/>
                  </a:lnTo>
                  <a:lnTo>
                    <a:pt x="94352" y="5812"/>
                  </a:lnTo>
                  <a:lnTo>
                    <a:pt x="98041" y="9507"/>
                  </a:lnTo>
                  <a:lnTo>
                    <a:pt x="105419" y="5812"/>
                  </a:lnTo>
                  <a:lnTo>
                    <a:pt x="109108" y="5812"/>
                  </a:lnTo>
                  <a:lnTo>
                    <a:pt x="109108" y="5812"/>
                  </a:lnTo>
                  <a:close/>
                </a:path>
              </a:pathLst>
            </a:custGeom>
            <a:solidFill>
              <a:srgbClr val="FFE8BA"/>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buNone/>
              </a:pPr>
              <a:endParaRPr lang="nl-NL" sz="800" b="1" dirty="0">
                <a:solidFill>
                  <a:schemeClr val="tx1"/>
                </a:solidFill>
                <a:latin typeface="+mj-lt"/>
                <a:cs typeface="Arial" panose="020B0604020202020204" pitchFamily="34" charset="0"/>
              </a:endParaRPr>
            </a:p>
          </p:txBody>
        </p:sp>
        <p:sp>
          <p:nvSpPr>
            <p:cNvPr id="319" name="Freeform: Shape 318">
              <a:extLst>
                <a:ext uri="{FF2B5EF4-FFF2-40B4-BE49-F238E27FC236}">
                  <a16:creationId xmlns:a16="http://schemas.microsoft.com/office/drawing/2014/main" id="{03806DDD-4A60-41C5-ABA6-06E8121065C0}"/>
                </a:ext>
              </a:extLst>
            </p:cNvPr>
            <p:cNvSpPr/>
            <p:nvPr/>
          </p:nvSpPr>
          <p:spPr>
            <a:xfrm>
              <a:off x="7773168" y="4849451"/>
              <a:ext cx="676397" cy="368945"/>
            </a:xfrm>
            <a:custGeom>
              <a:avLst/>
              <a:gdLst>
                <a:gd name="connsiteX0" fmla="*/ 345216 w 419100"/>
                <a:gd name="connsiteY0" fmla="*/ 5812 h 228600"/>
                <a:gd name="connsiteX1" fmla="*/ 345216 w 419100"/>
                <a:gd name="connsiteY1" fmla="*/ 9498 h 228600"/>
                <a:gd name="connsiteX2" fmla="*/ 337838 w 419100"/>
                <a:gd name="connsiteY2" fmla="*/ 16880 h 228600"/>
                <a:gd name="connsiteX3" fmla="*/ 334149 w 419100"/>
                <a:gd name="connsiteY3" fmla="*/ 16880 h 228600"/>
                <a:gd name="connsiteX4" fmla="*/ 337838 w 419100"/>
                <a:gd name="connsiteY4" fmla="*/ 24261 h 228600"/>
                <a:gd name="connsiteX5" fmla="*/ 341527 w 419100"/>
                <a:gd name="connsiteY5" fmla="*/ 24261 h 228600"/>
                <a:gd name="connsiteX6" fmla="*/ 345216 w 419100"/>
                <a:gd name="connsiteY6" fmla="*/ 31643 h 228600"/>
                <a:gd name="connsiteX7" fmla="*/ 348905 w 419100"/>
                <a:gd name="connsiteY7" fmla="*/ 39025 h 228600"/>
                <a:gd name="connsiteX8" fmla="*/ 356284 w 419100"/>
                <a:gd name="connsiteY8" fmla="*/ 39025 h 228600"/>
                <a:gd name="connsiteX9" fmla="*/ 363662 w 419100"/>
                <a:gd name="connsiteY9" fmla="*/ 39025 h 228600"/>
                <a:gd name="connsiteX10" fmla="*/ 367351 w 419100"/>
                <a:gd name="connsiteY10" fmla="*/ 39025 h 228600"/>
                <a:gd name="connsiteX11" fmla="*/ 371040 w 419100"/>
                <a:gd name="connsiteY11" fmla="*/ 39025 h 228600"/>
                <a:gd name="connsiteX12" fmla="*/ 371040 w 419100"/>
                <a:gd name="connsiteY12" fmla="*/ 35339 h 228600"/>
                <a:gd name="connsiteX13" fmla="*/ 374730 w 419100"/>
                <a:gd name="connsiteY13" fmla="*/ 35339 h 228600"/>
                <a:gd name="connsiteX14" fmla="*/ 374730 w 419100"/>
                <a:gd name="connsiteY14" fmla="*/ 39025 h 228600"/>
                <a:gd name="connsiteX15" fmla="*/ 374730 w 419100"/>
                <a:gd name="connsiteY15" fmla="*/ 42711 h 228600"/>
                <a:gd name="connsiteX16" fmla="*/ 371040 w 419100"/>
                <a:gd name="connsiteY16" fmla="*/ 46407 h 228600"/>
                <a:gd name="connsiteX17" fmla="*/ 367351 w 419100"/>
                <a:gd name="connsiteY17" fmla="*/ 46407 h 228600"/>
                <a:gd name="connsiteX18" fmla="*/ 363662 w 419100"/>
                <a:gd name="connsiteY18" fmla="*/ 46407 h 228600"/>
                <a:gd name="connsiteX19" fmla="*/ 359973 w 419100"/>
                <a:gd name="connsiteY19" fmla="*/ 46407 h 228600"/>
                <a:gd name="connsiteX20" fmla="*/ 356284 w 419100"/>
                <a:gd name="connsiteY20" fmla="*/ 46407 h 228600"/>
                <a:gd name="connsiteX21" fmla="*/ 352594 w 419100"/>
                <a:gd name="connsiteY21" fmla="*/ 46407 h 228600"/>
                <a:gd name="connsiteX22" fmla="*/ 348905 w 419100"/>
                <a:gd name="connsiteY22" fmla="*/ 50093 h 228600"/>
                <a:gd name="connsiteX23" fmla="*/ 345216 w 419100"/>
                <a:gd name="connsiteY23" fmla="*/ 50093 h 228600"/>
                <a:gd name="connsiteX24" fmla="*/ 337838 w 419100"/>
                <a:gd name="connsiteY24" fmla="*/ 42711 h 228600"/>
                <a:gd name="connsiteX25" fmla="*/ 323081 w 419100"/>
                <a:gd name="connsiteY25" fmla="*/ 39025 h 228600"/>
                <a:gd name="connsiteX26" fmla="*/ 319392 w 419100"/>
                <a:gd name="connsiteY26" fmla="*/ 39025 h 228600"/>
                <a:gd name="connsiteX27" fmla="*/ 312014 w 419100"/>
                <a:gd name="connsiteY27" fmla="*/ 42711 h 228600"/>
                <a:gd name="connsiteX28" fmla="*/ 308325 w 419100"/>
                <a:gd name="connsiteY28" fmla="*/ 46407 h 228600"/>
                <a:gd name="connsiteX29" fmla="*/ 304635 w 419100"/>
                <a:gd name="connsiteY29" fmla="*/ 46407 h 228600"/>
                <a:gd name="connsiteX30" fmla="*/ 297257 w 419100"/>
                <a:gd name="connsiteY30" fmla="*/ 50093 h 228600"/>
                <a:gd name="connsiteX31" fmla="*/ 293568 w 419100"/>
                <a:gd name="connsiteY31" fmla="*/ 53789 h 228600"/>
                <a:gd name="connsiteX32" fmla="*/ 289879 w 419100"/>
                <a:gd name="connsiteY32" fmla="*/ 50093 h 228600"/>
                <a:gd name="connsiteX33" fmla="*/ 282500 w 419100"/>
                <a:gd name="connsiteY33" fmla="*/ 53789 h 228600"/>
                <a:gd name="connsiteX34" fmla="*/ 278811 w 419100"/>
                <a:gd name="connsiteY34" fmla="*/ 57475 h 228600"/>
                <a:gd name="connsiteX35" fmla="*/ 278811 w 419100"/>
                <a:gd name="connsiteY35" fmla="*/ 64857 h 228600"/>
                <a:gd name="connsiteX36" fmla="*/ 282500 w 419100"/>
                <a:gd name="connsiteY36" fmla="*/ 64857 h 228600"/>
                <a:gd name="connsiteX37" fmla="*/ 282500 w 419100"/>
                <a:gd name="connsiteY37" fmla="*/ 68553 h 228600"/>
                <a:gd name="connsiteX38" fmla="*/ 286190 w 419100"/>
                <a:gd name="connsiteY38" fmla="*/ 68553 h 228600"/>
                <a:gd name="connsiteX39" fmla="*/ 289879 w 419100"/>
                <a:gd name="connsiteY39" fmla="*/ 68553 h 228600"/>
                <a:gd name="connsiteX40" fmla="*/ 293568 w 419100"/>
                <a:gd name="connsiteY40" fmla="*/ 72239 h 228600"/>
                <a:gd name="connsiteX41" fmla="*/ 297257 w 419100"/>
                <a:gd name="connsiteY41" fmla="*/ 75935 h 228600"/>
                <a:gd name="connsiteX42" fmla="*/ 300946 w 419100"/>
                <a:gd name="connsiteY42" fmla="*/ 75935 h 228600"/>
                <a:gd name="connsiteX43" fmla="*/ 300946 w 419100"/>
                <a:gd name="connsiteY43" fmla="*/ 79621 h 228600"/>
                <a:gd name="connsiteX44" fmla="*/ 300946 w 419100"/>
                <a:gd name="connsiteY44" fmla="*/ 83317 h 228600"/>
                <a:gd name="connsiteX45" fmla="*/ 304635 w 419100"/>
                <a:gd name="connsiteY45" fmla="*/ 87003 h 228600"/>
                <a:gd name="connsiteX46" fmla="*/ 308325 w 419100"/>
                <a:gd name="connsiteY46" fmla="*/ 87003 h 228600"/>
                <a:gd name="connsiteX47" fmla="*/ 312014 w 419100"/>
                <a:gd name="connsiteY47" fmla="*/ 90689 h 228600"/>
                <a:gd name="connsiteX48" fmla="*/ 315703 w 419100"/>
                <a:gd name="connsiteY48" fmla="*/ 94384 h 228600"/>
                <a:gd name="connsiteX49" fmla="*/ 315703 w 419100"/>
                <a:gd name="connsiteY49" fmla="*/ 101766 h 228600"/>
                <a:gd name="connsiteX50" fmla="*/ 319392 w 419100"/>
                <a:gd name="connsiteY50" fmla="*/ 105453 h 228600"/>
                <a:gd name="connsiteX51" fmla="*/ 323081 w 419100"/>
                <a:gd name="connsiteY51" fmla="*/ 105453 h 228600"/>
                <a:gd name="connsiteX52" fmla="*/ 323081 w 419100"/>
                <a:gd name="connsiteY52" fmla="*/ 109148 h 228600"/>
                <a:gd name="connsiteX53" fmla="*/ 326770 w 419100"/>
                <a:gd name="connsiteY53" fmla="*/ 109148 h 228600"/>
                <a:gd name="connsiteX54" fmla="*/ 330460 w 419100"/>
                <a:gd name="connsiteY54" fmla="*/ 109148 h 228600"/>
                <a:gd name="connsiteX55" fmla="*/ 345216 w 419100"/>
                <a:gd name="connsiteY55" fmla="*/ 109148 h 228600"/>
                <a:gd name="connsiteX56" fmla="*/ 348905 w 419100"/>
                <a:gd name="connsiteY56" fmla="*/ 109148 h 228600"/>
                <a:gd name="connsiteX57" fmla="*/ 352594 w 419100"/>
                <a:gd name="connsiteY57" fmla="*/ 109148 h 228600"/>
                <a:gd name="connsiteX58" fmla="*/ 356284 w 419100"/>
                <a:gd name="connsiteY58" fmla="*/ 112835 h 228600"/>
                <a:gd name="connsiteX59" fmla="*/ 359973 w 419100"/>
                <a:gd name="connsiteY59" fmla="*/ 112835 h 228600"/>
                <a:gd name="connsiteX60" fmla="*/ 359973 w 419100"/>
                <a:gd name="connsiteY60" fmla="*/ 109148 h 228600"/>
                <a:gd name="connsiteX61" fmla="*/ 367351 w 419100"/>
                <a:gd name="connsiteY61" fmla="*/ 112835 h 228600"/>
                <a:gd name="connsiteX62" fmla="*/ 374730 w 419100"/>
                <a:gd name="connsiteY62" fmla="*/ 116530 h 228600"/>
                <a:gd name="connsiteX63" fmla="*/ 371040 w 419100"/>
                <a:gd name="connsiteY63" fmla="*/ 120216 h 228600"/>
                <a:gd name="connsiteX64" fmla="*/ 371040 w 419100"/>
                <a:gd name="connsiteY64" fmla="*/ 123912 h 228600"/>
                <a:gd name="connsiteX65" fmla="*/ 371040 w 419100"/>
                <a:gd name="connsiteY65" fmla="*/ 127598 h 228600"/>
                <a:gd name="connsiteX66" fmla="*/ 374730 w 419100"/>
                <a:gd name="connsiteY66" fmla="*/ 127598 h 228600"/>
                <a:gd name="connsiteX67" fmla="*/ 389487 w 419100"/>
                <a:gd name="connsiteY67" fmla="*/ 134980 h 228600"/>
                <a:gd name="connsiteX68" fmla="*/ 393176 w 419100"/>
                <a:gd name="connsiteY68" fmla="*/ 138666 h 228600"/>
                <a:gd name="connsiteX69" fmla="*/ 393176 w 419100"/>
                <a:gd name="connsiteY69" fmla="*/ 160812 h 228600"/>
                <a:gd name="connsiteX70" fmla="*/ 393176 w 419100"/>
                <a:gd name="connsiteY70" fmla="*/ 164508 h 228600"/>
                <a:gd name="connsiteX71" fmla="*/ 396865 w 419100"/>
                <a:gd name="connsiteY71" fmla="*/ 179271 h 228600"/>
                <a:gd name="connsiteX72" fmla="*/ 393176 w 419100"/>
                <a:gd name="connsiteY72" fmla="*/ 179271 h 228600"/>
                <a:gd name="connsiteX73" fmla="*/ 389487 w 419100"/>
                <a:gd name="connsiteY73" fmla="*/ 179271 h 228600"/>
                <a:gd name="connsiteX74" fmla="*/ 385798 w 419100"/>
                <a:gd name="connsiteY74" fmla="*/ 179271 h 228600"/>
                <a:gd name="connsiteX75" fmla="*/ 382109 w 419100"/>
                <a:gd name="connsiteY75" fmla="*/ 175576 h 228600"/>
                <a:gd name="connsiteX76" fmla="*/ 378419 w 419100"/>
                <a:gd name="connsiteY76" fmla="*/ 175576 h 228600"/>
                <a:gd name="connsiteX77" fmla="*/ 374730 w 419100"/>
                <a:gd name="connsiteY77" fmla="*/ 175576 h 228600"/>
                <a:gd name="connsiteX78" fmla="*/ 371040 w 419100"/>
                <a:gd name="connsiteY78" fmla="*/ 175576 h 228600"/>
                <a:gd name="connsiteX79" fmla="*/ 367351 w 419100"/>
                <a:gd name="connsiteY79" fmla="*/ 179271 h 228600"/>
                <a:gd name="connsiteX80" fmla="*/ 363662 w 419100"/>
                <a:gd name="connsiteY80" fmla="*/ 179271 h 228600"/>
                <a:gd name="connsiteX81" fmla="*/ 359973 w 419100"/>
                <a:gd name="connsiteY81" fmla="*/ 182958 h 228600"/>
                <a:gd name="connsiteX82" fmla="*/ 356284 w 419100"/>
                <a:gd name="connsiteY82" fmla="*/ 182958 h 228600"/>
                <a:gd name="connsiteX83" fmla="*/ 352594 w 419100"/>
                <a:gd name="connsiteY83" fmla="*/ 182958 h 228600"/>
                <a:gd name="connsiteX84" fmla="*/ 348905 w 419100"/>
                <a:gd name="connsiteY84" fmla="*/ 182958 h 228600"/>
                <a:gd name="connsiteX85" fmla="*/ 348905 w 419100"/>
                <a:gd name="connsiteY85" fmla="*/ 179271 h 228600"/>
                <a:gd name="connsiteX86" fmla="*/ 345216 w 419100"/>
                <a:gd name="connsiteY86" fmla="*/ 179271 h 228600"/>
                <a:gd name="connsiteX87" fmla="*/ 334149 w 419100"/>
                <a:gd name="connsiteY87" fmla="*/ 171890 h 228600"/>
                <a:gd name="connsiteX88" fmla="*/ 330460 w 419100"/>
                <a:gd name="connsiteY88" fmla="*/ 171890 h 228600"/>
                <a:gd name="connsiteX89" fmla="*/ 326770 w 419100"/>
                <a:gd name="connsiteY89" fmla="*/ 160812 h 228600"/>
                <a:gd name="connsiteX90" fmla="*/ 323081 w 419100"/>
                <a:gd name="connsiteY90" fmla="*/ 160812 h 228600"/>
                <a:gd name="connsiteX91" fmla="*/ 315703 w 419100"/>
                <a:gd name="connsiteY91" fmla="*/ 149744 h 228600"/>
                <a:gd name="connsiteX92" fmla="*/ 315703 w 419100"/>
                <a:gd name="connsiteY92" fmla="*/ 146048 h 228600"/>
                <a:gd name="connsiteX93" fmla="*/ 312014 w 419100"/>
                <a:gd name="connsiteY93" fmla="*/ 142362 h 228600"/>
                <a:gd name="connsiteX94" fmla="*/ 315703 w 419100"/>
                <a:gd name="connsiteY94" fmla="*/ 138666 h 228600"/>
                <a:gd name="connsiteX95" fmla="*/ 312014 w 419100"/>
                <a:gd name="connsiteY95" fmla="*/ 134980 h 228600"/>
                <a:gd name="connsiteX96" fmla="*/ 312014 w 419100"/>
                <a:gd name="connsiteY96" fmla="*/ 131294 h 228600"/>
                <a:gd name="connsiteX97" fmla="*/ 312014 w 419100"/>
                <a:gd name="connsiteY97" fmla="*/ 127598 h 228600"/>
                <a:gd name="connsiteX98" fmla="*/ 308325 w 419100"/>
                <a:gd name="connsiteY98" fmla="*/ 127598 h 228600"/>
                <a:gd name="connsiteX99" fmla="*/ 304635 w 419100"/>
                <a:gd name="connsiteY99" fmla="*/ 123912 h 228600"/>
                <a:gd name="connsiteX100" fmla="*/ 297257 w 419100"/>
                <a:gd name="connsiteY100" fmla="*/ 116530 h 228600"/>
                <a:gd name="connsiteX101" fmla="*/ 293568 w 419100"/>
                <a:gd name="connsiteY101" fmla="*/ 112835 h 228600"/>
                <a:gd name="connsiteX102" fmla="*/ 289879 w 419100"/>
                <a:gd name="connsiteY102" fmla="*/ 112835 h 228600"/>
                <a:gd name="connsiteX103" fmla="*/ 286190 w 419100"/>
                <a:gd name="connsiteY103" fmla="*/ 112835 h 228600"/>
                <a:gd name="connsiteX104" fmla="*/ 282500 w 419100"/>
                <a:gd name="connsiteY104" fmla="*/ 109148 h 228600"/>
                <a:gd name="connsiteX105" fmla="*/ 278811 w 419100"/>
                <a:gd name="connsiteY105" fmla="*/ 109148 h 228600"/>
                <a:gd name="connsiteX106" fmla="*/ 271433 w 419100"/>
                <a:gd name="connsiteY106" fmla="*/ 105453 h 228600"/>
                <a:gd name="connsiteX107" fmla="*/ 267744 w 419100"/>
                <a:gd name="connsiteY107" fmla="*/ 105453 h 228600"/>
                <a:gd name="connsiteX108" fmla="*/ 264055 w 419100"/>
                <a:gd name="connsiteY108" fmla="*/ 101766 h 228600"/>
                <a:gd name="connsiteX109" fmla="*/ 260365 w 419100"/>
                <a:gd name="connsiteY109" fmla="*/ 105453 h 228600"/>
                <a:gd name="connsiteX110" fmla="*/ 256676 w 419100"/>
                <a:gd name="connsiteY110" fmla="*/ 105453 h 228600"/>
                <a:gd name="connsiteX111" fmla="*/ 256676 w 419100"/>
                <a:gd name="connsiteY111" fmla="*/ 109148 h 228600"/>
                <a:gd name="connsiteX112" fmla="*/ 249298 w 419100"/>
                <a:gd name="connsiteY112" fmla="*/ 98071 h 228600"/>
                <a:gd name="connsiteX113" fmla="*/ 252987 w 419100"/>
                <a:gd name="connsiteY113" fmla="*/ 98071 h 228600"/>
                <a:gd name="connsiteX114" fmla="*/ 249298 w 419100"/>
                <a:gd name="connsiteY114" fmla="*/ 94384 h 228600"/>
                <a:gd name="connsiteX115" fmla="*/ 249298 w 419100"/>
                <a:gd name="connsiteY115" fmla="*/ 90689 h 228600"/>
                <a:gd name="connsiteX116" fmla="*/ 245609 w 419100"/>
                <a:gd name="connsiteY116" fmla="*/ 90689 h 228600"/>
                <a:gd name="connsiteX117" fmla="*/ 241920 w 419100"/>
                <a:gd name="connsiteY117" fmla="*/ 90689 h 228600"/>
                <a:gd name="connsiteX118" fmla="*/ 238231 w 419100"/>
                <a:gd name="connsiteY118" fmla="*/ 90689 h 228600"/>
                <a:gd name="connsiteX119" fmla="*/ 234541 w 419100"/>
                <a:gd name="connsiteY119" fmla="*/ 94384 h 228600"/>
                <a:gd name="connsiteX120" fmla="*/ 230852 w 419100"/>
                <a:gd name="connsiteY120" fmla="*/ 94384 h 228600"/>
                <a:gd name="connsiteX121" fmla="*/ 227162 w 419100"/>
                <a:gd name="connsiteY121" fmla="*/ 94384 h 228600"/>
                <a:gd name="connsiteX122" fmla="*/ 219784 w 419100"/>
                <a:gd name="connsiteY122" fmla="*/ 94384 h 228600"/>
                <a:gd name="connsiteX123" fmla="*/ 216095 w 419100"/>
                <a:gd name="connsiteY123" fmla="*/ 94384 h 228600"/>
                <a:gd name="connsiteX124" fmla="*/ 212405 w 419100"/>
                <a:gd name="connsiteY124" fmla="*/ 94384 h 228600"/>
                <a:gd name="connsiteX125" fmla="*/ 208716 w 419100"/>
                <a:gd name="connsiteY125" fmla="*/ 94384 h 228600"/>
                <a:gd name="connsiteX126" fmla="*/ 208716 w 419100"/>
                <a:gd name="connsiteY126" fmla="*/ 90689 h 228600"/>
                <a:gd name="connsiteX127" fmla="*/ 205027 w 419100"/>
                <a:gd name="connsiteY127" fmla="*/ 87003 h 228600"/>
                <a:gd name="connsiteX128" fmla="*/ 197649 w 419100"/>
                <a:gd name="connsiteY128" fmla="*/ 87003 h 228600"/>
                <a:gd name="connsiteX129" fmla="*/ 190270 w 419100"/>
                <a:gd name="connsiteY129" fmla="*/ 90689 h 228600"/>
                <a:gd name="connsiteX130" fmla="*/ 186581 w 419100"/>
                <a:gd name="connsiteY130" fmla="*/ 90689 h 228600"/>
                <a:gd name="connsiteX131" fmla="*/ 182892 w 419100"/>
                <a:gd name="connsiteY131" fmla="*/ 94384 h 228600"/>
                <a:gd name="connsiteX132" fmla="*/ 171825 w 419100"/>
                <a:gd name="connsiteY132" fmla="*/ 90689 h 228600"/>
                <a:gd name="connsiteX133" fmla="*/ 168136 w 419100"/>
                <a:gd name="connsiteY133" fmla="*/ 90689 h 228600"/>
                <a:gd name="connsiteX134" fmla="*/ 164446 w 419100"/>
                <a:gd name="connsiteY134" fmla="*/ 87003 h 228600"/>
                <a:gd name="connsiteX135" fmla="*/ 160757 w 419100"/>
                <a:gd name="connsiteY135" fmla="*/ 90689 h 228600"/>
                <a:gd name="connsiteX136" fmla="*/ 153379 w 419100"/>
                <a:gd name="connsiteY136" fmla="*/ 94384 h 228600"/>
                <a:gd name="connsiteX137" fmla="*/ 153379 w 419100"/>
                <a:gd name="connsiteY137" fmla="*/ 98071 h 228600"/>
                <a:gd name="connsiteX138" fmla="*/ 149690 w 419100"/>
                <a:gd name="connsiteY138" fmla="*/ 101766 h 228600"/>
                <a:gd name="connsiteX139" fmla="*/ 149690 w 419100"/>
                <a:gd name="connsiteY139" fmla="*/ 105453 h 228600"/>
                <a:gd name="connsiteX140" fmla="*/ 146001 w 419100"/>
                <a:gd name="connsiteY140" fmla="*/ 109148 h 228600"/>
                <a:gd name="connsiteX141" fmla="*/ 142311 w 419100"/>
                <a:gd name="connsiteY141" fmla="*/ 109148 h 228600"/>
                <a:gd name="connsiteX142" fmla="*/ 138622 w 419100"/>
                <a:gd name="connsiteY142" fmla="*/ 112835 h 228600"/>
                <a:gd name="connsiteX143" fmla="*/ 142311 w 419100"/>
                <a:gd name="connsiteY143" fmla="*/ 112835 h 228600"/>
                <a:gd name="connsiteX144" fmla="*/ 146001 w 419100"/>
                <a:gd name="connsiteY144" fmla="*/ 112835 h 228600"/>
                <a:gd name="connsiteX145" fmla="*/ 138622 w 419100"/>
                <a:gd name="connsiteY145" fmla="*/ 116530 h 228600"/>
                <a:gd name="connsiteX146" fmla="*/ 138622 w 419100"/>
                <a:gd name="connsiteY146" fmla="*/ 112835 h 228600"/>
                <a:gd name="connsiteX147" fmla="*/ 131244 w 419100"/>
                <a:gd name="connsiteY147" fmla="*/ 105453 h 228600"/>
                <a:gd name="connsiteX148" fmla="*/ 127555 w 419100"/>
                <a:gd name="connsiteY148" fmla="*/ 101766 h 228600"/>
                <a:gd name="connsiteX149" fmla="*/ 127555 w 419100"/>
                <a:gd name="connsiteY149" fmla="*/ 98071 h 228600"/>
                <a:gd name="connsiteX150" fmla="*/ 123866 w 419100"/>
                <a:gd name="connsiteY150" fmla="*/ 87003 h 228600"/>
                <a:gd name="connsiteX151" fmla="*/ 123866 w 419100"/>
                <a:gd name="connsiteY151" fmla="*/ 83317 h 228600"/>
                <a:gd name="connsiteX152" fmla="*/ 120176 w 419100"/>
                <a:gd name="connsiteY152" fmla="*/ 83317 h 228600"/>
                <a:gd name="connsiteX153" fmla="*/ 116487 w 419100"/>
                <a:gd name="connsiteY153" fmla="*/ 79621 h 228600"/>
                <a:gd name="connsiteX154" fmla="*/ 109109 w 419100"/>
                <a:gd name="connsiteY154" fmla="*/ 75935 h 228600"/>
                <a:gd name="connsiteX155" fmla="*/ 105420 w 419100"/>
                <a:gd name="connsiteY155" fmla="*/ 72239 h 228600"/>
                <a:gd name="connsiteX156" fmla="*/ 101731 w 419100"/>
                <a:gd name="connsiteY156" fmla="*/ 68553 h 228600"/>
                <a:gd name="connsiteX157" fmla="*/ 101731 w 419100"/>
                <a:gd name="connsiteY157" fmla="*/ 64857 h 228600"/>
                <a:gd name="connsiteX158" fmla="*/ 101731 w 419100"/>
                <a:gd name="connsiteY158" fmla="*/ 57475 h 228600"/>
                <a:gd name="connsiteX159" fmla="*/ 105420 w 419100"/>
                <a:gd name="connsiteY159" fmla="*/ 53789 h 228600"/>
                <a:gd name="connsiteX160" fmla="*/ 101731 w 419100"/>
                <a:gd name="connsiteY160" fmla="*/ 53789 h 228600"/>
                <a:gd name="connsiteX161" fmla="*/ 98041 w 419100"/>
                <a:gd name="connsiteY161" fmla="*/ 53789 h 228600"/>
                <a:gd name="connsiteX162" fmla="*/ 94352 w 419100"/>
                <a:gd name="connsiteY162" fmla="*/ 50093 h 228600"/>
                <a:gd name="connsiteX163" fmla="*/ 83284 w 419100"/>
                <a:gd name="connsiteY163" fmla="*/ 50093 h 228600"/>
                <a:gd name="connsiteX164" fmla="*/ 79595 w 419100"/>
                <a:gd name="connsiteY164" fmla="*/ 50093 h 228600"/>
                <a:gd name="connsiteX165" fmla="*/ 75906 w 419100"/>
                <a:gd name="connsiteY165" fmla="*/ 50093 h 228600"/>
                <a:gd name="connsiteX166" fmla="*/ 68527 w 419100"/>
                <a:gd name="connsiteY166" fmla="*/ 50093 h 228600"/>
                <a:gd name="connsiteX167" fmla="*/ 68527 w 419100"/>
                <a:gd name="connsiteY167" fmla="*/ 53789 h 228600"/>
                <a:gd name="connsiteX168" fmla="*/ 64838 w 419100"/>
                <a:gd name="connsiteY168" fmla="*/ 53789 h 228600"/>
                <a:gd name="connsiteX169" fmla="*/ 61149 w 419100"/>
                <a:gd name="connsiteY169" fmla="*/ 53789 h 228600"/>
                <a:gd name="connsiteX170" fmla="*/ 57460 w 419100"/>
                <a:gd name="connsiteY170" fmla="*/ 57475 h 228600"/>
                <a:gd name="connsiteX171" fmla="*/ 50081 w 419100"/>
                <a:gd name="connsiteY171" fmla="*/ 61171 h 228600"/>
                <a:gd name="connsiteX172" fmla="*/ 46393 w 419100"/>
                <a:gd name="connsiteY172" fmla="*/ 64857 h 228600"/>
                <a:gd name="connsiteX173" fmla="*/ 39014 w 419100"/>
                <a:gd name="connsiteY173" fmla="*/ 68553 h 228600"/>
                <a:gd name="connsiteX174" fmla="*/ 35325 w 419100"/>
                <a:gd name="connsiteY174" fmla="*/ 68553 h 228600"/>
                <a:gd name="connsiteX175" fmla="*/ 31636 w 419100"/>
                <a:gd name="connsiteY175" fmla="*/ 72239 h 228600"/>
                <a:gd name="connsiteX176" fmla="*/ 27947 w 419100"/>
                <a:gd name="connsiteY176" fmla="*/ 75935 h 228600"/>
                <a:gd name="connsiteX177" fmla="*/ 20568 w 419100"/>
                <a:gd name="connsiteY177" fmla="*/ 79621 h 228600"/>
                <a:gd name="connsiteX178" fmla="*/ 16879 w 419100"/>
                <a:gd name="connsiteY178" fmla="*/ 83317 h 228600"/>
                <a:gd name="connsiteX179" fmla="*/ 13190 w 419100"/>
                <a:gd name="connsiteY179" fmla="*/ 83317 h 228600"/>
                <a:gd name="connsiteX180" fmla="*/ 9501 w 419100"/>
                <a:gd name="connsiteY180" fmla="*/ 87003 h 228600"/>
                <a:gd name="connsiteX181" fmla="*/ 5812 w 419100"/>
                <a:gd name="connsiteY181" fmla="*/ 90689 h 228600"/>
                <a:gd name="connsiteX182" fmla="*/ 5812 w 419100"/>
                <a:gd name="connsiteY182" fmla="*/ 94384 h 228600"/>
                <a:gd name="connsiteX183" fmla="*/ 5812 w 419100"/>
                <a:gd name="connsiteY183" fmla="*/ 98071 h 228600"/>
                <a:gd name="connsiteX184" fmla="*/ 5812 w 419100"/>
                <a:gd name="connsiteY184" fmla="*/ 101766 h 228600"/>
                <a:gd name="connsiteX185" fmla="*/ 9501 w 419100"/>
                <a:gd name="connsiteY185" fmla="*/ 109148 h 228600"/>
                <a:gd name="connsiteX186" fmla="*/ 13190 w 419100"/>
                <a:gd name="connsiteY186" fmla="*/ 109148 h 228600"/>
                <a:gd name="connsiteX187" fmla="*/ 16879 w 419100"/>
                <a:gd name="connsiteY187" fmla="*/ 112835 h 228600"/>
                <a:gd name="connsiteX188" fmla="*/ 20568 w 419100"/>
                <a:gd name="connsiteY188" fmla="*/ 116530 h 228600"/>
                <a:gd name="connsiteX189" fmla="*/ 27947 w 419100"/>
                <a:gd name="connsiteY189" fmla="*/ 120216 h 228600"/>
                <a:gd name="connsiteX190" fmla="*/ 27947 w 419100"/>
                <a:gd name="connsiteY190" fmla="*/ 123912 h 228600"/>
                <a:gd name="connsiteX191" fmla="*/ 31636 w 419100"/>
                <a:gd name="connsiteY191" fmla="*/ 123912 h 228600"/>
                <a:gd name="connsiteX192" fmla="*/ 35325 w 419100"/>
                <a:gd name="connsiteY192" fmla="*/ 127598 h 228600"/>
                <a:gd name="connsiteX193" fmla="*/ 39014 w 419100"/>
                <a:gd name="connsiteY193" fmla="*/ 131294 h 228600"/>
                <a:gd name="connsiteX194" fmla="*/ 39014 w 419100"/>
                <a:gd name="connsiteY194" fmla="*/ 134980 h 228600"/>
                <a:gd name="connsiteX195" fmla="*/ 42703 w 419100"/>
                <a:gd name="connsiteY195" fmla="*/ 138666 h 228600"/>
                <a:gd name="connsiteX196" fmla="*/ 42703 w 419100"/>
                <a:gd name="connsiteY196" fmla="*/ 142362 h 228600"/>
                <a:gd name="connsiteX197" fmla="*/ 46393 w 419100"/>
                <a:gd name="connsiteY197" fmla="*/ 146048 h 228600"/>
                <a:gd name="connsiteX198" fmla="*/ 46393 w 419100"/>
                <a:gd name="connsiteY198" fmla="*/ 149744 h 228600"/>
                <a:gd name="connsiteX199" fmla="*/ 50081 w 419100"/>
                <a:gd name="connsiteY199" fmla="*/ 153430 h 228600"/>
                <a:gd name="connsiteX200" fmla="*/ 53771 w 419100"/>
                <a:gd name="connsiteY200" fmla="*/ 157126 h 228600"/>
                <a:gd name="connsiteX201" fmla="*/ 61149 w 419100"/>
                <a:gd name="connsiteY201" fmla="*/ 160812 h 228600"/>
                <a:gd name="connsiteX202" fmla="*/ 61149 w 419100"/>
                <a:gd name="connsiteY202" fmla="*/ 164508 h 228600"/>
                <a:gd name="connsiteX203" fmla="*/ 64838 w 419100"/>
                <a:gd name="connsiteY203" fmla="*/ 164508 h 228600"/>
                <a:gd name="connsiteX204" fmla="*/ 68527 w 419100"/>
                <a:gd name="connsiteY204" fmla="*/ 168194 h 228600"/>
                <a:gd name="connsiteX205" fmla="*/ 68527 w 419100"/>
                <a:gd name="connsiteY205" fmla="*/ 171890 h 228600"/>
                <a:gd name="connsiteX206" fmla="*/ 72216 w 419100"/>
                <a:gd name="connsiteY206" fmla="*/ 171890 h 228600"/>
                <a:gd name="connsiteX207" fmla="*/ 79595 w 419100"/>
                <a:gd name="connsiteY207" fmla="*/ 171890 h 228600"/>
                <a:gd name="connsiteX208" fmla="*/ 83284 w 419100"/>
                <a:gd name="connsiteY208" fmla="*/ 171890 h 228600"/>
                <a:gd name="connsiteX209" fmla="*/ 83284 w 419100"/>
                <a:gd name="connsiteY209" fmla="*/ 168194 h 228600"/>
                <a:gd name="connsiteX210" fmla="*/ 83284 w 419100"/>
                <a:gd name="connsiteY210" fmla="*/ 160812 h 228600"/>
                <a:gd name="connsiteX211" fmla="*/ 86974 w 419100"/>
                <a:gd name="connsiteY211" fmla="*/ 160812 h 228600"/>
                <a:gd name="connsiteX212" fmla="*/ 86974 w 419100"/>
                <a:gd name="connsiteY212" fmla="*/ 168194 h 228600"/>
                <a:gd name="connsiteX213" fmla="*/ 90663 w 419100"/>
                <a:gd name="connsiteY213" fmla="*/ 171890 h 228600"/>
                <a:gd name="connsiteX214" fmla="*/ 94352 w 419100"/>
                <a:gd name="connsiteY214" fmla="*/ 171890 h 228600"/>
                <a:gd name="connsiteX215" fmla="*/ 101731 w 419100"/>
                <a:gd name="connsiteY215" fmla="*/ 171890 h 228600"/>
                <a:gd name="connsiteX216" fmla="*/ 105420 w 419100"/>
                <a:gd name="connsiteY216" fmla="*/ 168194 h 228600"/>
                <a:gd name="connsiteX217" fmla="*/ 105420 w 419100"/>
                <a:gd name="connsiteY217" fmla="*/ 164508 h 228600"/>
                <a:gd name="connsiteX218" fmla="*/ 109109 w 419100"/>
                <a:gd name="connsiteY218" fmla="*/ 164508 h 228600"/>
                <a:gd name="connsiteX219" fmla="*/ 116487 w 419100"/>
                <a:gd name="connsiteY219" fmla="*/ 164508 h 228600"/>
                <a:gd name="connsiteX220" fmla="*/ 120176 w 419100"/>
                <a:gd name="connsiteY220" fmla="*/ 164508 h 228600"/>
                <a:gd name="connsiteX221" fmla="*/ 112798 w 419100"/>
                <a:gd name="connsiteY221" fmla="*/ 160812 h 228600"/>
                <a:gd name="connsiteX222" fmla="*/ 116487 w 419100"/>
                <a:gd name="connsiteY222" fmla="*/ 157126 h 228600"/>
                <a:gd name="connsiteX223" fmla="*/ 123866 w 419100"/>
                <a:gd name="connsiteY223" fmla="*/ 153430 h 228600"/>
                <a:gd name="connsiteX224" fmla="*/ 127555 w 419100"/>
                <a:gd name="connsiteY224" fmla="*/ 153430 h 228600"/>
                <a:gd name="connsiteX225" fmla="*/ 127555 w 419100"/>
                <a:gd name="connsiteY225" fmla="*/ 157126 h 228600"/>
                <a:gd name="connsiteX226" fmla="*/ 138622 w 419100"/>
                <a:gd name="connsiteY226" fmla="*/ 149744 h 228600"/>
                <a:gd name="connsiteX227" fmla="*/ 138622 w 419100"/>
                <a:gd name="connsiteY227" fmla="*/ 146048 h 228600"/>
                <a:gd name="connsiteX228" fmla="*/ 138622 w 419100"/>
                <a:gd name="connsiteY228" fmla="*/ 142362 h 228600"/>
                <a:gd name="connsiteX229" fmla="*/ 142311 w 419100"/>
                <a:gd name="connsiteY229" fmla="*/ 146048 h 228600"/>
                <a:gd name="connsiteX230" fmla="*/ 142311 w 419100"/>
                <a:gd name="connsiteY230" fmla="*/ 149744 h 228600"/>
                <a:gd name="connsiteX231" fmla="*/ 146001 w 419100"/>
                <a:gd name="connsiteY231" fmla="*/ 149744 h 228600"/>
                <a:gd name="connsiteX232" fmla="*/ 142311 w 419100"/>
                <a:gd name="connsiteY232" fmla="*/ 153430 h 228600"/>
                <a:gd name="connsiteX233" fmla="*/ 142311 w 419100"/>
                <a:gd name="connsiteY233" fmla="*/ 160812 h 228600"/>
                <a:gd name="connsiteX234" fmla="*/ 146001 w 419100"/>
                <a:gd name="connsiteY234" fmla="*/ 160812 h 228600"/>
                <a:gd name="connsiteX235" fmla="*/ 142311 w 419100"/>
                <a:gd name="connsiteY235" fmla="*/ 164508 h 228600"/>
                <a:gd name="connsiteX236" fmla="*/ 146001 w 419100"/>
                <a:gd name="connsiteY236" fmla="*/ 168194 h 228600"/>
                <a:gd name="connsiteX237" fmla="*/ 146001 w 419100"/>
                <a:gd name="connsiteY237" fmla="*/ 171890 h 228600"/>
                <a:gd name="connsiteX238" fmla="*/ 142311 w 419100"/>
                <a:gd name="connsiteY238" fmla="*/ 168194 h 228600"/>
                <a:gd name="connsiteX239" fmla="*/ 138622 w 419100"/>
                <a:gd name="connsiteY239" fmla="*/ 171890 h 228600"/>
                <a:gd name="connsiteX240" fmla="*/ 134933 w 419100"/>
                <a:gd name="connsiteY240" fmla="*/ 171890 h 228600"/>
                <a:gd name="connsiteX241" fmla="*/ 138622 w 419100"/>
                <a:gd name="connsiteY241" fmla="*/ 175576 h 228600"/>
                <a:gd name="connsiteX242" fmla="*/ 142311 w 419100"/>
                <a:gd name="connsiteY242" fmla="*/ 179271 h 228600"/>
                <a:gd name="connsiteX243" fmla="*/ 142311 w 419100"/>
                <a:gd name="connsiteY243" fmla="*/ 182958 h 228600"/>
                <a:gd name="connsiteX244" fmla="*/ 146001 w 419100"/>
                <a:gd name="connsiteY244" fmla="*/ 182958 h 228600"/>
                <a:gd name="connsiteX245" fmla="*/ 146001 w 419100"/>
                <a:gd name="connsiteY245" fmla="*/ 190339 h 228600"/>
                <a:gd name="connsiteX246" fmla="*/ 146001 w 419100"/>
                <a:gd name="connsiteY246" fmla="*/ 194026 h 228600"/>
                <a:gd name="connsiteX247" fmla="*/ 149690 w 419100"/>
                <a:gd name="connsiteY247" fmla="*/ 194026 h 228600"/>
                <a:gd name="connsiteX248" fmla="*/ 153379 w 419100"/>
                <a:gd name="connsiteY248" fmla="*/ 197721 h 228600"/>
                <a:gd name="connsiteX249" fmla="*/ 157068 w 419100"/>
                <a:gd name="connsiteY249" fmla="*/ 197721 h 228600"/>
                <a:gd name="connsiteX250" fmla="*/ 157068 w 419100"/>
                <a:gd name="connsiteY250" fmla="*/ 194026 h 228600"/>
                <a:gd name="connsiteX251" fmla="*/ 160757 w 419100"/>
                <a:gd name="connsiteY251" fmla="*/ 194026 h 228600"/>
                <a:gd name="connsiteX252" fmla="*/ 168136 w 419100"/>
                <a:gd name="connsiteY252" fmla="*/ 197721 h 228600"/>
                <a:gd name="connsiteX253" fmla="*/ 171825 w 419100"/>
                <a:gd name="connsiteY253" fmla="*/ 197721 h 228600"/>
                <a:gd name="connsiteX254" fmla="*/ 171825 w 419100"/>
                <a:gd name="connsiteY254" fmla="*/ 201407 h 228600"/>
                <a:gd name="connsiteX255" fmla="*/ 179203 w 419100"/>
                <a:gd name="connsiteY255" fmla="*/ 205103 h 228600"/>
                <a:gd name="connsiteX256" fmla="*/ 179203 w 419100"/>
                <a:gd name="connsiteY256" fmla="*/ 208789 h 228600"/>
                <a:gd name="connsiteX257" fmla="*/ 182892 w 419100"/>
                <a:gd name="connsiteY257" fmla="*/ 208789 h 228600"/>
                <a:gd name="connsiteX258" fmla="*/ 190270 w 419100"/>
                <a:gd name="connsiteY258" fmla="*/ 216171 h 228600"/>
                <a:gd name="connsiteX259" fmla="*/ 193960 w 419100"/>
                <a:gd name="connsiteY259" fmla="*/ 216171 h 228600"/>
                <a:gd name="connsiteX260" fmla="*/ 201338 w 419100"/>
                <a:gd name="connsiteY260" fmla="*/ 216171 h 228600"/>
                <a:gd name="connsiteX261" fmla="*/ 208716 w 419100"/>
                <a:gd name="connsiteY261" fmla="*/ 212485 h 228600"/>
                <a:gd name="connsiteX262" fmla="*/ 212405 w 419100"/>
                <a:gd name="connsiteY262" fmla="*/ 212485 h 228600"/>
                <a:gd name="connsiteX263" fmla="*/ 216095 w 419100"/>
                <a:gd name="connsiteY263" fmla="*/ 208789 h 228600"/>
                <a:gd name="connsiteX264" fmla="*/ 223473 w 419100"/>
                <a:gd name="connsiteY264" fmla="*/ 208789 h 228600"/>
                <a:gd name="connsiteX265" fmla="*/ 227162 w 419100"/>
                <a:gd name="connsiteY265" fmla="*/ 208789 h 228600"/>
                <a:gd name="connsiteX266" fmla="*/ 230852 w 419100"/>
                <a:gd name="connsiteY266" fmla="*/ 212485 h 228600"/>
                <a:gd name="connsiteX267" fmla="*/ 234541 w 419100"/>
                <a:gd name="connsiteY267" fmla="*/ 208789 h 228600"/>
                <a:gd name="connsiteX268" fmla="*/ 238231 w 419100"/>
                <a:gd name="connsiteY268" fmla="*/ 194026 h 228600"/>
                <a:gd name="connsiteX269" fmla="*/ 241920 w 419100"/>
                <a:gd name="connsiteY269" fmla="*/ 194026 h 228600"/>
                <a:gd name="connsiteX270" fmla="*/ 241920 w 419100"/>
                <a:gd name="connsiteY270" fmla="*/ 190339 h 228600"/>
                <a:gd name="connsiteX271" fmla="*/ 241920 w 419100"/>
                <a:gd name="connsiteY271" fmla="*/ 186644 h 228600"/>
                <a:gd name="connsiteX272" fmla="*/ 245609 w 419100"/>
                <a:gd name="connsiteY272" fmla="*/ 186644 h 228600"/>
                <a:gd name="connsiteX273" fmla="*/ 245609 w 419100"/>
                <a:gd name="connsiteY273" fmla="*/ 179271 h 228600"/>
                <a:gd name="connsiteX274" fmla="*/ 245609 w 419100"/>
                <a:gd name="connsiteY274" fmla="*/ 175576 h 228600"/>
                <a:gd name="connsiteX275" fmla="*/ 245609 w 419100"/>
                <a:gd name="connsiteY275" fmla="*/ 171890 h 228600"/>
                <a:gd name="connsiteX276" fmla="*/ 245609 w 419100"/>
                <a:gd name="connsiteY276" fmla="*/ 168194 h 228600"/>
                <a:gd name="connsiteX277" fmla="*/ 245609 w 419100"/>
                <a:gd name="connsiteY277" fmla="*/ 164508 h 228600"/>
                <a:gd name="connsiteX278" fmla="*/ 252987 w 419100"/>
                <a:gd name="connsiteY278" fmla="*/ 168194 h 228600"/>
                <a:gd name="connsiteX279" fmla="*/ 260365 w 419100"/>
                <a:gd name="connsiteY279" fmla="*/ 164508 h 228600"/>
                <a:gd name="connsiteX280" fmla="*/ 264055 w 419100"/>
                <a:gd name="connsiteY280" fmla="*/ 164508 h 228600"/>
                <a:gd name="connsiteX281" fmla="*/ 271433 w 419100"/>
                <a:gd name="connsiteY281" fmla="*/ 157126 h 228600"/>
                <a:gd name="connsiteX282" fmla="*/ 275122 w 419100"/>
                <a:gd name="connsiteY282" fmla="*/ 160812 h 228600"/>
                <a:gd name="connsiteX283" fmla="*/ 278811 w 419100"/>
                <a:gd name="connsiteY283" fmla="*/ 164508 h 228600"/>
                <a:gd name="connsiteX284" fmla="*/ 282500 w 419100"/>
                <a:gd name="connsiteY284" fmla="*/ 168194 h 228600"/>
                <a:gd name="connsiteX285" fmla="*/ 282500 w 419100"/>
                <a:gd name="connsiteY285" fmla="*/ 171890 h 228600"/>
                <a:gd name="connsiteX286" fmla="*/ 286190 w 419100"/>
                <a:gd name="connsiteY286" fmla="*/ 171890 h 228600"/>
                <a:gd name="connsiteX287" fmla="*/ 286190 w 419100"/>
                <a:gd name="connsiteY287" fmla="*/ 175576 h 228600"/>
                <a:gd name="connsiteX288" fmla="*/ 289879 w 419100"/>
                <a:gd name="connsiteY288" fmla="*/ 175576 h 228600"/>
                <a:gd name="connsiteX289" fmla="*/ 293568 w 419100"/>
                <a:gd name="connsiteY289" fmla="*/ 175576 h 228600"/>
                <a:gd name="connsiteX290" fmla="*/ 297257 w 419100"/>
                <a:gd name="connsiteY290" fmla="*/ 179271 h 228600"/>
                <a:gd name="connsiteX291" fmla="*/ 300946 w 419100"/>
                <a:gd name="connsiteY291" fmla="*/ 182958 h 228600"/>
                <a:gd name="connsiteX292" fmla="*/ 308325 w 419100"/>
                <a:gd name="connsiteY292" fmla="*/ 182958 h 228600"/>
                <a:gd name="connsiteX293" fmla="*/ 308325 w 419100"/>
                <a:gd name="connsiteY293" fmla="*/ 186644 h 228600"/>
                <a:gd name="connsiteX294" fmla="*/ 308325 w 419100"/>
                <a:gd name="connsiteY294" fmla="*/ 194026 h 228600"/>
                <a:gd name="connsiteX295" fmla="*/ 315703 w 419100"/>
                <a:gd name="connsiteY295" fmla="*/ 197721 h 228600"/>
                <a:gd name="connsiteX296" fmla="*/ 319392 w 419100"/>
                <a:gd name="connsiteY296" fmla="*/ 197721 h 228600"/>
                <a:gd name="connsiteX297" fmla="*/ 323081 w 419100"/>
                <a:gd name="connsiteY297" fmla="*/ 201407 h 228600"/>
                <a:gd name="connsiteX298" fmla="*/ 326770 w 419100"/>
                <a:gd name="connsiteY298" fmla="*/ 201407 h 228600"/>
                <a:gd name="connsiteX299" fmla="*/ 334149 w 419100"/>
                <a:gd name="connsiteY299" fmla="*/ 205103 h 228600"/>
                <a:gd name="connsiteX300" fmla="*/ 341527 w 419100"/>
                <a:gd name="connsiteY300" fmla="*/ 208789 h 228600"/>
                <a:gd name="connsiteX301" fmla="*/ 348905 w 419100"/>
                <a:gd name="connsiteY301" fmla="*/ 208789 h 228600"/>
                <a:gd name="connsiteX302" fmla="*/ 352594 w 419100"/>
                <a:gd name="connsiteY302" fmla="*/ 212485 h 228600"/>
                <a:gd name="connsiteX303" fmla="*/ 359973 w 419100"/>
                <a:gd name="connsiteY303" fmla="*/ 212485 h 228600"/>
                <a:gd name="connsiteX304" fmla="*/ 371040 w 419100"/>
                <a:gd name="connsiteY304" fmla="*/ 208789 h 228600"/>
                <a:gd name="connsiteX305" fmla="*/ 378419 w 419100"/>
                <a:gd name="connsiteY305" fmla="*/ 205103 h 228600"/>
                <a:gd name="connsiteX306" fmla="*/ 382109 w 419100"/>
                <a:gd name="connsiteY306" fmla="*/ 205103 h 228600"/>
                <a:gd name="connsiteX307" fmla="*/ 385798 w 419100"/>
                <a:gd name="connsiteY307" fmla="*/ 205103 h 228600"/>
                <a:gd name="connsiteX308" fmla="*/ 385798 w 419100"/>
                <a:gd name="connsiteY308" fmla="*/ 208789 h 228600"/>
                <a:gd name="connsiteX309" fmla="*/ 389487 w 419100"/>
                <a:gd name="connsiteY309" fmla="*/ 208789 h 228600"/>
                <a:gd name="connsiteX310" fmla="*/ 393176 w 419100"/>
                <a:gd name="connsiteY310" fmla="*/ 208789 h 228600"/>
                <a:gd name="connsiteX311" fmla="*/ 400555 w 419100"/>
                <a:gd name="connsiteY311" fmla="*/ 212485 h 228600"/>
                <a:gd name="connsiteX312" fmla="*/ 404244 w 419100"/>
                <a:gd name="connsiteY312" fmla="*/ 223553 h 228600"/>
                <a:gd name="connsiteX313" fmla="*/ 404244 w 419100"/>
                <a:gd name="connsiteY313" fmla="*/ 230935 h 228600"/>
                <a:gd name="connsiteX314" fmla="*/ 415311 w 419100"/>
                <a:gd name="connsiteY314" fmla="*/ 230935 h 228600"/>
                <a:gd name="connsiteX315" fmla="*/ 422690 w 419100"/>
                <a:gd name="connsiteY315" fmla="*/ 227249 h 228600"/>
                <a:gd name="connsiteX316" fmla="*/ 419000 w 419100"/>
                <a:gd name="connsiteY316" fmla="*/ 223553 h 228600"/>
                <a:gd name="connsiteX317" fmla="*/ 415311 w 419100"/>
                <a:gd name="connsiteY317" fmla="*/ 223553 h 228600"/>
                <a:gd name="connsiteX318" fmla="*/ 415311 w 419100"/>
                <a:gd name="connsiteY318" fmla="*/ 219867 h 228600"/>
                <a:gd name="connsiteX319" fmla="*/ 419000 w 419100"/>
                <a:gd name="connsiteY319" fmla="*/ 208789 h 228600"/>
                <a:gd name="connsiteX320" fmla="*/ 415311 w 419100"/>
                <a:gd name="connsiteY320" fmla="*/ 197721 h 228600"/>
                <a:gd name="connsiteX321" fmla="*/ 415311 w 419100"/>
                <a:gd name="connsiteY321" fmla="*/ 194026 h 228600"/>
                <a:gd name="connsiteX322" fmla="*/ 422690 w 419100"/>
                <a:gd name="connsiteY322" fmla="*/ 190339 h 228600"/>
                <a:gd name="connsiteX323" fmla="*/ 415311 w 419100"/>
                <a:gd name="connsiteY323" fmla="*/ 179271 h 228600"/>
                <a:gd name="connsiteX324" fmla="*/ 400555 w 419100"/>
                <a:gd name="connsiteY324" fmla="*/ 138666 h 228600"/>
                <a:gd name="connsiteX325" fmla="*/ 393176 w 419100"/>
                <a:gd name="connsiteY325" fmla="*/ 123912 h 228600"/>
                <a:gd name="connsiteX326" fmla="*/ 393176 w 419100"/>
                <a:gd name="connsiteY326" fmla="*/ 120216 h 228600"/>
                <a:gd name="connsiteX327" fmla="*/ 396865 w 419100"/>
                <a:gd name="connsiteY327" fmla="*/ 112835 h 228600"/>
                <a:gd name="connsiteX328" fmla="*/ 400555 w 419100"/>
                <a:gd name="connsiteY328" fmla="*/ 101766 h 228600"/>
                <a:gd name="connsiteX329" fmla="*/ 404244 w 419100"/>
                <a:gd name="connsiteY329" fmla="*/ 94384 h 228600"/>
                <a:gd name="connsiteX330" fmla="*/ 404244 w 419100"/>
                <a:gd name="connsiteY330" fmla="*/ 90689 h 228600"/>
                <a:gd name="connsiteX331" fmla="*/ 400555 w 419100"/>
                <a:gd name="connsiteY331" fmla="*/ 87003 h 228600"/>
                <a:gd name="connsiteX332" fmla="*/ 400555 w 419100"/>
                <a:gd name="connsiteY332" fmla="*/ 79621 h 228600"/>
                <a:gd name="connsiteX333" fmla="*/ 385798 w 419100"/>
                <a:gd name="connsiteY333" fmla="*/ 61171 h 228600"/>
                <a:gd name="connsiteX334" fmla="*/ 382109 w 419100"/>
                <a:gd name="connsiteY334" fmla="*/ 57475 h 228600"/>
                <a:gd name="connsiteX335" fmla="*/ 382109 w 419100"/>
                <a:gd name="connsiteY335" fmla="*/ 53789 h 228600"/>
                <a:gd name="connsiteX336" fmla="*/ 382109 w 419100"/>
                <a:gd name="connsiteY336" fmla="*/ 46407 h 228600"/>
                <a:gd name="connsiteX337" fmla="*/ 382109 w 419100"/>
                <a:gd name="connsiteY337" fmla="*/ 42711 h 228600"/>
                <a:gd name="connsiteX338" fmla="*/ 385798 w 419100"/>
                <a:gd name="connsiteY338" fmla="*/ 35339 h 228600"/>
                <a:gd name="connsiteX339" fmla="*/ 389487 w 419100"/>
                <a:gd name="connsiteY339" fmla="*/ 31643 h 228600"/>
                <a:gd name="connsiteX340" fmla="*/ 393176 w 419100"/>
                <a:gd name="connsiteY340" fmla="*/ 27957 h 228600"/>
                <a:gd name="connsiteX341" fmla="*/ 404244 w 419100"/>
                <a:gd name="connsiteY341" fmla="*/ 24261 h 228600"/>
                <a:gd name="connsiteX342" fmla="*/ 400555 w 419100"/>
                <a:gd name="connsiteY342" fmla="*/ 24261 h 228600"/>
                <a:gd name="connsiteX343" fmla="*/ 393176 w 419100"/>
                <a:gd name="connsiteY343" fmla="*/ 20575 h 228600"/>
                <a:gd name="connsiteX344" fmla="*/ 385798 w 419100"/>
                <a:gd name="connsiteY344" fmla="*/ 20575 h 228600"/>
                <a:gd name="connsiteX345" fmla="*/ 382109 w 419100"/>
                <a:gd name="connsiteY345" fmla="*/ 20575 h 228600"/>
                <a:gd name="connsiteX346" fmla="*/ 378419 w 419100"/>
                <a:gd name="connsiteY346" fmla="*/ 20575 h 228600"/>
                <a:gd name="connsiteX347" fmla="*/ 371040 w 419100"/>
                <a:gd name="connsiteY347" fmla="*/ 16880 h 228600"/>
                <a:gd name="connsiteX348" fmla="*/ 359973 w 419100"/>
                <a:gd name="connsiteY348" fmla="*/ 9498 h 228600"/>
                <a:gd name="connsiteX349" fmla="*/ 356284 w 419100"/>
                <a:gd name="connsiteY349" fmla="*/ 9498 h 228600"/>
                <a:gd name="connsiteX350" fmla="*/ 345216 w 419100"/>
                <a:gd name="connsiteY350" fmla="*/ 5812 h 228600"/>
                <a:gd name="connsiteX351" fmla="*/ 134933 w 419100"/>
                <a:gd name="connsiteY351" fmla="*/ 171890 h 228600"/>
                <a:gd name="connsiteX352" fmla="*/ 138622 w 419100"/>
                <a:gd name="connsiteY352" fmla="*/ 164508 h 228600"/>
                <a:gd name="connsiteX353" fmla="*/ 134933 w 419100"/>
                <a:gd name="connsiteY353" fmla="*/ 168194 h 228600"/>
                <a:gd name="connsiteX354" fmla="*/ 134933 w 419100"/>
                <a:gd name="connsiteY354" fmla="*/ 17189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Lst>
              <a:rect l="l" t="t" r="r" b="b"/>
              <a:pathLst>
                <a:path w="419100" h="228600">
                  <a:moveTo>
                    <a:pt x="345216" y="5812"/>
                  </a:moveTo>
                  <a:lnTo>
                    <a:pt x="345216" y="9498"/>
                  </a:lnTo>
                  <a:lnTo>
                    <a:pt x="337838" y="16880"/>
                  </a:lnTo>
                  <a:lnTo>
                    <a:pt x="334149" y="16880"/>
                  </a:lnTo>
                  <a:lnTo>
                    <a:pt x="337838" y="24261"/>
                  </a:lnTo>
                  <a:lnTo>
                    <a:pt x="341527" y="24261"/>
                  </a:lnTo>
                  <a:lnTo>
                    <a:pt x="345216" y="31643"/>
                  </a:lnTo>
                  <a:lnTo>
                    <a:pt x="348905" y="39025"/>
                  </a:lnTo>
                  <a:lnTo>
                    <a:pt x="356284" y="39025"/>
                  </a:lnTo>
                  <a:lnTo>
                    <a:pt x="363662" y="39025"/>
                  </a:lnTo>
                  <a:lnTo>
                    <a:pt x="367351" y="39025"/>
                  </a:lnTo>
                  <a:lnTo>
                    <a:pt x="371040" y="39025"/>
                  </a:lnTo>
                  <a:lnTo>
                    <a:pt x="371040" y="35339"/>
                  </a:lnTo>
                  <a:lnTo>
                    <a:pt x="374730" y="35339"/>
                  </a:lnTo>
                  <a:lnTo>
                    <a:pt x="374730" y="39025"/>
                  </a:lnTo>
                  <a:lnTo>
                    <a:pt x="374730" y="42711"/>
                  </a:lnTo>
                  <a:lnTo>
                    <a:pt x="371040" y="46407"/>
                  </a:lnTo>
                  <a:lnTo>
                    <a:pt x="367351" y="46407"/>
                  </a:lnTo>
                  <a:lnTo>
                    <a:pt x="363662" y="46407"/>
                  </a:lnTo>
                  <a:lnTo>
                    <a:pt x="359973" y="46407"/>
                  </a:lnTo>
                  <a:lnTo>
                    <a:pt x="356284" y="46407"/>
                  </a:lnTo>
                  <a:lnTo>
                    <a:pt x="352594" y="46407"/>
                  </a:lnTo>
                  <a:lnTo>
                    <a:pt x="348905" y="50093"/>
                  </a:lnTo>
                  <a:lnTo>
                    <a:pt x="345216" y="50093"/>
                  </a:lnTo>
                  <a:lnTo>
                    <a:pt x="337838" y="42711"/>
                  </a:lnTo>
                  <a:lnTo>
                    <a:pt x="323081" y="39025"/>
                  </a:lnTo>
                  <a:lnTo>
                    <a:pt x="319392" y="39025"/>
                  </a:lnTo>
                  <a:lnTo>
                    <a:pt x="312014" y="42711"/>
                  </a:lnTo>
                  <a:lnTo>
                    <a:pt x="308325" y="46407"/>
                  </a:lnTo>
                  <a:lnTo>
                    <a:pt x="304635" y="46407"/>
                  </a:lnTo>
                  <a:lnTo>
                    <a:pt x="297257" y="50093"/>
                  </a:lnTo>
                  <a:lnTo>
                    <a:pt x="293568" y="53789"/>
                  </a:lnTo>
                  <a:lnTo>
                    <a:pt x="289879" y="50093"/>
                  </a:lnTo>
                  <a:lnTo>
                    <a:pt x="282500" y="53789"/>
                  </a:lnTo>
                  <a:lnTo>
                    <a:pt x="278811" y="57475"/>
                  </a:lnTo>
                  <a:lnTo>
                    <a:pt x="278811" y="64857"/>
                  </a:lnTo>
                  <a:lnTo>
                    <a:pt x="282500" y="64857"/>
                  </a:lnTo>
                  <a:lnTo>
                    <a:pt x="282500" y="68553"/>
                  </a:lnTo>
                  <a:lnTo>
                    <a:pt x="286190" y="68553"/>
                  </a:lnTo>
                  <a:lnTo>
                    <a:pt x="289879" y="68553"/>
                  </a:lnTo>
                  <a:lnTo>
                    <a:pt x="293568" y="72239"/>
                  </a:lnTo>
                  <a:lnTo>
                    <a:pt x="297257" y="75935"/>
                  </a:lnTo>
                  <a:lnTo>
                    <a:pt x="300946" y="75935"/>
                  </a:lnTo>
                  <a:lnTo>
                    <a:pt x="300946" y="79621"/>
                  </a:lnTo>
                  <a:lnTo>
                    <a:pt x="300946" y="83317"/>
                  </a:lnTo>
                  <a:lnTo>
                    <a:pt x="304635" y="87003"/>
                  </a:lnTo>
                  <a:lnTo>
                    <a:pt x="308325" y="87003"/>
                  </a:lnTo>
                  <a:lnTo>
                    <a:pt x="312014" y="90689"/>
                  </a:lnTo>
                  <a:lnTo>
                    <a:pt x="315703" y="94384"/>
                  </a:lnTo>
                  <a:lnTo>
                    <a:pt x="315703" y="101766"/>
                  </a:lnTo>
                  <a:lnTo>
                    <a:pt x="319392" y="105453"/>
                  </a:lnTo>
                  <a:lnTo>
                    <a:pt x="323081" y="105453"/>
                  </a:lnTo>
                  <a:lnTo>
                    <a:pt x="323081" y="109148"/>
                  </a:lnTo>
                  <a:lnTo>
                    <a:pt x="326770" y="109148"/>
                  </a:lnTo>
                  <a:lnTo>
                    <a:pt x="330460" y="109148"/>
                  </a:lnTo>
                  <a:lnTo>
                    <a:pt x="345216" y="109148"/>
                  </a:lnTo>
                  <a:lnTo>
                    <a:pt x="348905" y="109148"/>
                  </a:lnTo>
                  <a:lnTo>
                    <a:pt x="352594" y="109148"/>
                  </a:lnTo>
                  <a:lnTo>
                    <a:pt x="356284" y="112835"/>
                  </a:lnTo>
                  <a:lnTo>
                    <a:pt x="359973" y="112835"/>
                  </a:lnTo>
                  <a:lnTo>
                    <a:pt x="359973" y="109148"/>
                  </a:lnTo>
                  <a:lnTo>
                    <a:pt x="367351" y="112835"/>
                  </a:lnTo>
                  <a:lnTo>
                    <a:pt x="374730" y="116530"/>
                  </a:lnTo>
                  <a:lnTo>
                    <a:pt x="371040" y="120216"/>
                  </a:lnTo>
                  <a:lnTo>
                    <a:pt x="371040" y="123912"/>
                  </a:lnTo>
                  <a:lnTo>
                    <a:pt x="371040" y="127598"/>
                  </a:lnTo>
                  <a:lnTo>
                    <a:pt x="374730" y="127598"/>
                  </a:lnTo>
                  <a:lnTo>
                    <a:pt x="389487" y="134980"/>
                  </a:lnTo>
                  <a:lnTo>
                    <a:pt x="393176" y="138666"/>
                  </a:lnTo>
                  <a:lnTo>
                    <a:pt x="393176" y="160812"/>
                  </a:lnTo>
                  <a:lnTo>
                    <a:pt x="393176" y="164508"/>
                  </a:lnTo>
                  <a:lnTo>
                    <a:pt x="396865" y="179271"/>
                  </a:lnTo>
                  <a:lnTo>
                    <a:pt x="393176" y="179271"/>
                  </a:lnTo>
                  <a:lnTo>
                    <a:pt x="389487" y="179271"/>
                  </a:lnTo>
                  <a:lnTo>
                    <a:pt x="385798" y="179271"/>
                  </a:lnTo>
                  <a:lnTo>
                    <a:pt x="382109" y="175576"/>
                  </a:lnTo>
                  <a:lnTo>
                    <a:pt x="378419" y="175576"/>
                  </a:lnTo>
                  <a:lnTo>
                    <a:pt x="374730" y="175576"/>
                  </a:lnTo>
                  <a:lnTo>
                    <a:pt x="371040" y="175576"/>
                  </a:lnTo>
                  <a:lnTo>
                    <a:pt x="367351" y="179271"/>
                  </a:lnTo>
                  <a:lnTo>
                    <a:pt x="363662" y="179271"/>
                  </a:lnTo>
                  <a:lnTo>
                    <a:pt x="359973" y="182958"/>
                  </a:lnTo>
                  <a:lnTo>
                    <a:pt x="356284" y="182958"/>
                  </a:lnTo>
                  <a:lnTo>
                    <a:pt x="352594" y="182958"/>
                  </a:lnTo>
                  <a:lnTo>
                    <a:pt x="348905" y="182958"/>
                  </a:lnTo>
                  <a:lnTo>
                    <a:pt x="348905" y="179271"/>
                  </a:lnTo>
                  <a:lnTo>
                    <a:pt x="345216" y="179271"/>
                  </a:lnTo>
                  <a:lnTo>
                    <a:pt x="334149" y="171890"/>
                  </a:lnTo>
                  <a:lnTo>
                    <a:pt x="330460" y="171890"/>
                  </a:lnTo>
                  <a:lnTo>
                    <a:pt x="326770" y="160812"/>
                  </a:lnTo>
                  <a:lnTo>
                    <a:pt x="323081" y="160812"/>
                  </a:lnTo>
                  <a:lnTo>
                    <a:pt x="315703" y="149744"/>
                  </a:lnTo>
                  <a:lnTo>
                    <a:pt x="315703" y="146048"/>
                  </a:lnTo>
                  <a:lnTo>
                    <a:pt x="312014" y="142362"/>
                  </a:lnTo>
                  <a:lnTo>
                    <a:pt x="315703" y="138666"/>
                  </a:lnTo>
                  <a:lnTo>
                    <a:pt x="312014" y="134980"/>
                  </a:lnTo>
                  <a:lnTo>
                    <a:pt x="312014" y="131294"/>
                  </a:lnTo>
                  <a:lnTo>
                    <a:pt x="312014" y="127598"/>
                  </a:lnTo>
                  <a:lnTo>
                    <a:pt x="308325" y="127598"/>
                  </a:lnTo>
                  <a:lnTo>
                    <a:pt x="304635" y="123912"/>
                  </a:lnTo>
                  <a:lnTo>
                    <a:pt x="297257" y="116530"/>
                  </a:lnTo>
                  <a:lnTo>
                    <a:pt x="293568" y="112835"/>
                  </a:lnTo>
                  <a:lnTo>
                    <a:pt x="289879" y="112835"/>
                  </a:lnTo>
                  <a:lnTo>
                    <a:pt x="286190" y="112835"/>
                  </a:lnTo>
                  <a:lnTo>
                    <a:pt x="282500" y="109148"/>
                  </a:lnTo>
                  <a:lnTo>
                    <a:pt x="278811" y="109148"/>
                  </a:lnTo>
                  <a:lnTo>
                    <a:pt x="271433" y="105453"/>
                  </a:lnTo>
                  <a:lnTo>
                    <a:pt x="267744" y="105453"/>
                  </a:lnTo>
                  <a:lnTo>
                    <a:pt x="264055" y="101766"/>
                  </a:lnTo>
                  <a:lnTo>
                    <a:pt x="260365" y="105453"/>
                  </a:lnTo>
                  <a:lnTo>
                    <a:pt x="256676" y="105453"/>
                  </a:lnTo>
                  <a:lnTo>
                    <a:pt x="256676" y="109148"/>
                  </a:lnTo>
                  <a:lnTo>
                    <a:pt x="249298" y="98071"/>
                  </a:lnTo>
                  <a:lnTo>
                    <a:pt x="252987" y="98071"/>
                  </a:lnTo>
                  <a:lnTo>
                    <a:pt x="249298" y="94384"/>
                  </a:lnTo>
                  <a:lnTo>
                    <a:pt x="249298" y="90689"/>
                  </a:lnTo>
                  <a:lnTo>
                    <a:pt x="245609" y="90689"/>
                  </a:lnTo>
                  <a:lnTo>
                    <a:pt x="241920" y="90689"/>
                  </a:lnTo>
                  <a:lnTo>
                    <a:pt x="238231" y="90689"/>
                  </a:lnTo>
                  <a:lnTo>
                    <a:pt x="234541" y="94384"/>
                  </a:lnTo>
                  <a:lnTo>
                    <a:pt x="230852" y="94384"/>
                  </a:lnTo>
                  <a:lnTo>
                    <a:pt x="227162" y="94384"/>
                  </a:lnTo>
                  <a:lnTo>
                    <a:pt x="219784" y="94384"/>
                  </a:lnTo>
                  <a:lnTo>
                    <a:pt x="216095" y="94384"/>
                  </a:lnTo>
                  <a:lnTo>
                    <a:pt x="212405" y="94384"/>
                  </a:lnTo>
                  <a:lnTo>
                    <a:pt x="208716" y="94384"/>
                  </a:lnTo>
                  <a:lnTo>
                    <a:pt x="208716" y="90689"/>
                  </a:lnTo>
                  <a:lnTo>
                    <a:pt x="205027" y="87003"/>
                  </a:lnTo>
                  <a:lnTo>
                    <a:pt x="197649" y="87003"/>
                  </a:lnTo>
                  <a:lnTo>
                    <a:pt x="190270" y="90689"/>
                  </a:lnTo>
                  <a:lnTo>
                    <a:pt x="186581" y="90689"/>
                  </a:lnTo>
                  <a:lnTo>
                    <a:pt x="182892" y="94384"/>
                  </a:lnTo>
                  <a:lnTo>
                    <a:pt x="171825" y="90689"/>
                  </a:lnTo>
                  <a:lnTo>
                    <a:pt x="168136" y="90689"/>
                  </a:lnTo>
                  <a:lnTo>
                    <a:pt x="164446" y="87003"/>
                  </a:lnTo>
                  <a:lnTo>
                    <a:pt x="160757" y="90689"/>
                  </a:lnTo>
                  <a:lnTo>
                    <a:pt x="153379" y="94384"/>
                  </a:lnTo>
                  <a:lnTo>
                    <a:pt x="153379" y="98071"/>
                  </a:lnTo>
                  <a:lnTo>
                    <a:pt x="149690" y="101766"/>
                  </a:lnTo>
                  <a:lnTo>
                    <a:pt x="149690" y="105453"/>
                  </a:lnTo>
                  <a:lnTo>
                    <a:pt x="146001" y="109148"/>
                  </a:lnTo>
                  <a:lnTo>
                    <a:pt x="142311" y="109148"/>
                  </a:lnTo>
                  <a:lnTo>
                    <a:pt x="138622" y="112835"/>
                  </a:lnTo>
                  <a:lnTo>
                    <a:pt x="142311" y="112835"/>
                  </a:lnTo>
                  <a:lnTo>
                    <a:pt x="146001" y="112835"/>
                  </a:lnTo>
                  <a:lnTo>
                    <a:pt x="138622" y="116530"/>
                  </a:lnTo>
                  <a:lnTo>
                    <a:pt x="138622" y="112835"/>
                  </a:lnTo>
                  <a:lnTo>
                    <a:pt x="131244" y="105453"/>
                  </a:lnTo>
                  <a:lnTo>
                    <a:pt x="127555" y="101766"/>
                  </a:lnTo>
                  <a:lnTo>
                    <a:pt x="127555" y="98071"/>
                  </a:lnTo>
                  <a:lnTo>
                    <a:pt x="123866" y="87003"/>
                  </a:lnTo>
                  <a:lnTo>
                    <a:pt x="123866" y="83317"/>
                  </a:lnTo>
                  <a:lnTo>
                    <a:pt x="120176" y="83317"/>
                  </a:lnTo>
                  <a:lnTo>
                    <a:pt x="116487" y="79621"/>
                  </a:lnTo>
                  <a:lnTo>
                    <a:pt x="109109" y="75935"/>
                  </a:lnTo>
                  <a:lnTo>
                    <a:pt x="105420" y="72239"/>
                  </a:lnTo>
                  <a:lnTo>
                    <a:pt x="101731" y="68553"/>
                  </a:lnTo>
                  <a:lnTo>
                    <a:pt x="101731" y="64857"/>
                  </a:lnTo>
                  <a:lnTo>
                    <a:pt x="101731" y="57475"/>
                  </a:lnTo>
                  <a:lnTo>
                    <a:pt x="105420" y="53789"/>
                  </a:lnTo>
                  <a:lnTo>
                    <a:pt x="101731" y="53789"/>
                  </a:lnTo>
                  <a:lnTo>
                    <a:pt x="98041" y="53789"/>
                  </a:lnTo>
                  <a:lnTo>
                    <a:pt x="94352" y="50093"/>
                  </a:lnTo>
                  <a:lnTo>
                    <a:pt x="83284" y="50093"/>
                  </a:lnTo>
                  <a:lnTo>
                    <a:pt x="79595" y="50093"/>
                  </a:lnTo>
                  <a:lnTo>
                    <a:pt x="75906" y="50093"/>
                  </a:lnTo>
                  <a:lnTo>
                    <a:pt x="68527" y="50093"/>
                  </a:lnTo>
                  <a:lnTo>
                    <a:pt x="68527" y="53789"/>
                  </a:lnTo>
                  <a:lnTo>
                    <a:pt x="64838" y="53789"/>
                  </a:lnTo>
                  <a:lnTo>
                    <a:pt x="61149" y="53789"/>
                  </a:lnTo>
                  <a:lnTo>
                    <a:pt x="57460" y="57475"/>
                  </a:lnTo>
                  <a:lnTo>
                    <a:pt x="50081" y="61171"/>
                  </a:lnTo>
                  <a:lnTo>
                    <a:pt x="46393" y="64857"/>
                  </a:lnTo>
                  <a:lnTo>
                    <a:pt x="39014" y="68553"/>
                  </a:lnTo>
                  <a:lnTo>
                    <a:pt x="35325" y="68553"/>
                  </a:lnTo>
                  <a:lnTo>
                    <a:pt x="31636" y="72239"/>
                  </a:lnTo>
                  <a:lnTo>
                    <a:pt x="27947" y="75935"/>
                  </a:lnTo>
                  <a:lnTo>
                    <a:pt x="20568" y="79621"/>
                  </a:lnTo>
                  <a:lnTo>
                    <a:pt x="16879" y="83317"/>
                  </a:lnTo>
                  <a:lnTo>
                    <a:pt x="13190" y="83317"/>
                  </a:lnTo>
                  <a:lnTo>
                    <a:pt x="9501" y="87003"/>
                  </a:lnTo>
                  <a:lnTo>
                    <a:pt x="5812" y="90689"/>
                  </a:lnTo>
                  <a:lnTo>
                    <a:pt x="5812" y="94384"/>
                  </a:lnTo>
                  <a:lnTo>
                    <a:pt x="5812" y="98071"/>
                  </a:lnTo>
                  <a:lnTo>
                    <a:pt x="5812" y="101766"/>
                  </a:lnTo>
                  <a:lnTo>
                    <a:pt x="9501" y="109148"/>
                  </a:lnTo>
                  <a:lnTo>
                    <a:pt x="13190" y="109148"/>
                  </a:lnTo>
                  <a:lnTo>
                    <a:pt x="16879" y="112835"/>
                  </a:lnTo>
                  <a:lnTo>
                    <a:pt x="20568" y="116530"/>
                  </a:lnTo>
                  <a:lnTo>
                    <a:pt x="27947" y="120216"/>
                  </a:lnTo>
                  <a:lnTo>
                    <a:pt x="27947" y="123912"/>
                  </a:lnTo>
                  <a:lnTo>
                    <a:pt x="31636" y="123912"/>
                  </a:lnTo>
                  <a:lnTo>
                    <a:pt x="35325" y="127598"/>
                  </a:lnTo>
                  <a:lnTo>
                    <a:pt x="39014" y="131294"/>
                  </a:lnTo>
                  <a:lnTo>
                    <a:pt x="39014" y="134980"/>
                  </a:lnTo>
                  <a:lnTo>
                    <a:pt x="42703" y="138666"/>
                  </a:lnTo>
                  <a:lnTo>
                    <a:pt x="42703" y="142362"/>
                  </a:lnTo>
                  <a:lnTo>
                    <a:pt x="46393" y="146048"/>
                  </a:lnTo>
                  <a:lnTo>
                    <a:pt x="46393" y="149744"/>
                  </a:lnTo>
                  <a:lnTo>
                    <a:pt x="50081" y="153430"/>
                  </a:lnTo>
                  <a:lnTo>
                    <a:pt x="53771" y="157126"/>
                  </a:lnTo>
                  <a:lnTo>
                    <a:pt x="61149" y="160812"/>
                  </a:lnTo>
                  <a:lnTo>
                    <a:pt x="61149" y="164508"/>
                  </a:lnTo>
                  <a:lnTo>
                    <a:pt x="64838" y="164508"/>
                  </a:lnTo>
                  <a:lnTo>
                    <a:pt x="68527" y="168194"/>
                  </a:lnTo>
                  <a:lnTo>
                    <a:pt x="68527" y="171890"/>
                  </a:lnTo>
                  <a:lnTo>
                    <a:pt x="72216" y="171890"/>
                  </a:lnTo>
                  <a:lnTo>
                    <a:pt x="79595" y="171890"/>
                  </a:lnTo>
                  <a:lnTo>
                    <a:pt x="83284" y="171890"/>
                  </a:lnTo>
                  <a:lnTo>
                    <a:pt x="83284" y="168194"/>
                  </a:lnTo>
                  <a:lnTo>
                    <a:pt x="83284" y="160812"/>
                  </a:lnTo>
                  <a:lnTo>
                    <a:pt x="86974" y="160812"/>
                  </a:lnTo>
                  <a:lnTo>
                    <a:pt x="86974" y="168194"/>
                  </a:lnTo>
                  <a:lnTo>
                    <a:pt x="90663" y="171890"/>
                  </a:lnTo>
                  <a:lnTo>
                    <a:pt x="94352" y="171890"/>
                  </a:lnTo>
                  <a:lnTo>
                    <a:pt x="101731" y="171890"/>
                  </a:lnTo>
                  <a:lnTo>
                    <a:pt x="105420" y="168194"/>
                  </a:lnTo>
                  <a:lnTo>
                    <a:pt x="105420" y="164508"/>
                  </a:lnTo>
                  <a:lnTo>
                    <a:pt x="109109" y="164508"/>
                  </a:lnTo>
                  <a:lnTo>
                    <a:pt x="116487" y="164508"/>
                  </a:lnTo>
                  <a:lnTo>
                    <a:pt x="120176" y="164508"/>
                  </a:lnTo>
                  <a:lnTo>
                    <a:pt x="112798" y="160812"/>
                  </a:lnTo>
                  <a:lnTo>
                    <a:pt x="116487" y="157126"/>
                  </a:lnTo>
                  <a:lnTo>
                    <a:pt x="123866" y="153430"/>
                  </a:lnTo>
                  <a:lnTo>
                    <a:pt x="127555" y="153430"/>
                  </a:lnTo>
                  <a:lnTo>
                    <a:pt x="127555" y="157126"/>
                  </a:lnTo>
                  <a:lnTo>
                    <a:pt x="138622" y="149744"/>
                  </a:lnTo>
                  <a:lnTo>
                    <a:pt x="138622" y="146048"/>
                  </a:lnTo>
                  <a:lnTo>
                    <a:pt x="138622" y="142362"/>
                  </a:lnTo>
                  <a:lnTo>
                    <a:pt x="142311" y="146048"/>
                  </a:lnTo>
                  <a:lnTo>
                    <a:pt x="142311" y="149744"/>
                  </a:lnTo>
                  <a:lnTo>
                    <a:pt x="146001" y="149744"/>
                  </a:lnTo>
                  <a:lnTo>
                    <a:pt x="142311" y="153430"/>
                  </a:lnTo>
                  <a:lnTo>
                    <a:pt x="142311" y="160812"/>
                  </a:lnTo>
                  <a:lnTo>
                    <a:pt x="146001" y="160812"/>
                  </a:lnTo>
                  <a:lnTo>
                    <a:pt x="142311" y="164508"/>
                  </a:lnTo>
                  <a:lnTo>
                    <a:pt x="146001" y="168194"/>
                  </a:lnTo>
                  <a:lnTo>
                    <a:pt x="146001" y="171890"/>
                  </a:lnTo>
                  <a:lnTo>
                    <a:pt x="142311" y="168194"/>
                  </a:lnTo>
                  <a:lnTo>
                    <a:pt x="138622" y="171890"/>
                  </a:lnTo>
                  <a:lnTo>
                    <a:pt x="134933" y="171890"/>
                  </a:lnTo>
                  <a:lnTo>
                    <a:pt x="138622" y="175576"/>
                  </a:lnTo>
                  <a:lnTo>
                    <a:pt x="142311" y="179271"/>
                  </a:lnTo>
                  <a:lnTo>
                    <a:pt x="142311" y="182958"/>
                  </a:lnTo>
                  <a:lnTo>
                    <a:pt x="146001" y="182958"/>
                  </a:lnTo>
                  <a:lnTo>
                    <a:pt x="146001" y="190339"/>
                  </a:lnTo>
                  <a:lnTo>
                    <a:pt x="146001" y="194026"/>
                  </a:lnTo>
                  <a:lnTo>
                    <a:pt x="149690" y="194026"/>
                  </a:lnTo>
                  <a:lnTo>
                    <a:pt x="153379" y="197721"/>
                  </a:lnTo>
                  <a:lnTo>
                    <a:pt x="157068" y="197721"/>
                  </a:lnTo>
                  <a:lnTo>
                    <a:pt x="157068" y="194026"/>
                  </a:lnTo>
                  <a:lnTo>
                    <a:pt x="160757" y="194026"/>
                  </a:lnTo>
                  <a:lnTo>
                    <a:pt x="168136" y="197721"/>
                  </a:lnTo>
                  <a:lnTo>
                    <a:pt x="171825" y="197721"/>
                  </a:lnTo>
                  <a:lnTo>
                    <a:pt x="171825" y="201407"/>
                  </a:lnTo>
                  <a:lnTo>
                    <a:pt x="179203" y="205103"/>
                  </a:lnTo>
                  <a:lnTo>
                    <a:pt x="179203" y="208789"/>
                  </a:lnTo>
                  <a:lnTo>
                    <a:pt x="182892" y="208789"/>
                  </a:lnTo>
                  <a:lnTo>
                    <a:pt x="190270" y="216171"/>
                  </a:lnTo>
                  <a:lnTo>
                    <a:pt x="193960" y="216171"/>
                  </a:lnTo>
                  <a:lnTo>
                    <a:pt x="201338" y="216171"/>
                  </a:lnTo>
                  <a:lnTo>
                    <a:pt x="208716" y="212485"/>
                  </a:lnTo>
                  <a:lnTo>
                    <a:pt x="212405" y="212485"/>
                  </a:lnTo>
                  <a:lnTo>
                    <a:pt x="216095" y="208789"/>
                  </a:lnTo>
                  <a:lnTo>
                    <a:pt x="223473" y="208789"/>
                  </a:lnTo>
                  <a:lnTo>
                    <a:pt x="227162" y="208789"/>
                  </a:lnTo>
                  <a:lnTo>
                    <a:pt x="230852" y="212485"/>
                  </a:lnTo>
                  <a:lnTo>
                    <a:pt x="234541" y="208789"/>
                  </a:lnTo>
                  <a:lnTo>
                    <a:pt x="238231" y="194026"/>
                  </a:lnTo>
                  <a:lnTo>
                    <a:pt x="241920" y="194026"/>
                  </a:lnTo>
                  <a:lnTo>
                    <a:pt x="241920" y="190339"/>
                  </a:lnTo>
                  <a:lnTo>
                    <a:pt x="241920" y="186644"/>
                  </a:lnTo>
                  <a:lnTo>
                    <a:pt x="245609" y="186644"/>
                  </a:lnTo>
                  <a:lnTo>
                    <a:pt x="245609" y="179271"/>
                  </a:lnTo>
                  <a:lnTo>
                    <a:pt x="245609" y="175576"/>
                  </a:lnTo>
                  <a:lnTo>
                    <a:pt x="245609" y="171890"/>
                  </a:lnTo>
                  <a:lnTo>
                    <a:pt x="245609" y="168194"/>
                  </a:lnTo>
                  <a:lnTo>
                    <a:pt x="245609" y="164508"/>
                  </a:lnTo>
                  <a:lnTo>
                    <a:pt x="252987" y="168194"/>
                  </a:lnTo>
                  <a:lnTo>
                    <a:pt x="260365" y="164508"/>
                  </a:lnTo>
                  <a:lnTo>
                    <a:pt x="264055" y="164508"/>
                  </a:lnTo>
                  <a:lnTo>
                    <a:pt x="271433" y="157126"/>
                  </a:lnTo>
                  <a:lnTo>
                    <a:pt x="275122" y="160812"/>
                  </a:lnTo>
                  <a:lnTo>
                    <a:pt x="278811" y="164508"/>
                  </a:lnTo>
                  <a:lnTo>
                    <a:pt x="282500" y="168194"/>
                  </a:lnTo>
                  <a:lnTo>
                    <a:pt x="282500" y="171890"/>
                  </a:lnTo>
                  <a:lnTo>
                    <a:pt x="286190" y="171890"/>
                  </a:lnTo>
                  <a:lnTo>
                    <a:pt x="286190" y="175576"/>
                  </a:lnTo>
                  <a:lnTo>
                    <a:pt x="289879" y="175576"/>
                  </a:lnTo>
                  <a:lnTo>
                    <a:pt x="293568" y="175576"/>
                  </a:lnTo>
                  <a:lnTo>
                    <a:pt x="297257" y="179271"/>
                  </a:lnTo>
                  <a:lnTo>
                    <a:pt x="300946" y="182958"/>
                  </a:lnTo>
                  <a:lnTo>
                    <a:pt x="308325" y="182958"/>
                  </a:lnTo>
                  <a:lnTo>
                    <a:pt x="308325" y="186644"/>
                  </a:lnTo>
                  <a:lnTo>
                    <a:pt x="308325" y="194026"/>
                  </a:lnTo>
                  <a:lnTo>
                    <a:pt x="315703" y="197721"/>
                  </a:lnTo>
                  <a:lnTo>
                    <a:pt x="319392" y="197721"/>
                  </a:lnTo>
                  <a:lnTo>
                    <a:pt x="323081" y="201407"/>
                  </a:lnTo>
                  <a:lnTo>
                    <a:pt x="326770" y="201407"/>
                  </a:lnTo>
                  <a:lnTo>
                    <a:pt x="334149" y="205103"/>
                  </a:lnTo>
                  <a:lnTo>
                    <a:pt x="341527" y="208789"/>
                  </a:lnTo>
                  <a:lnTo>
                    <a:pt x="348905" y="208789"/>
                  </a:lnTo>
                  <a:lnTo>
                    <a:pt x="352594" y="212485"/>
                  </a:lnTo>
                  <a:lnTo>
                    <a:pt x="359973" y="212485"/>
                  </a:lnTo>
                  <a:lnTo>
                    <a:pt x="371040" y="208789"/>
                  </a:lnTo>
                  <a:lnTo>
                    <a:pt x="378419" y="205103"/>
                  </a:lnTo>
                  <a:lnTo>
                    <a:pt x="382109" y="205103"/>
                  </a:lnTo>
                  <a:lnTo>
                    <a:pt x="385798" y="205103"/>
                  </a:lnTo>
                  <a:lnTo>
                    <a:pt x="385798" y="208789"/>
                  </a:lnTo>
                  <a:lnTo>
                    <a:pt x="389487" y="208789"/>
                  </a:lnTo>
                  <a:lnTo>
                    <a:pt x="393176" y="208789"/>
                  </a:lnTo>
                  <a:lnTo>
                    <a:pt x="400555" y="212485"/>
                  </a:lnTo>
                  <a:lnTo>
                    <a:pt x="404244" y="223553"/>
                  </a:lnTo>
                  <a:lnTo>
                    <a:pt x="404244" y="230935"/>
                  </a:lnTo>
                  <a:lnTo>
                    <a:pt x="415311" y="230935"/>
                  </a:lnTo>
                  <a:lnTo>
                    <a:pt x="422690" y="227249"/>
                  </a:lnTo>
                  <a:lnTo>
                    <a:pt x="419000" y="223553"/>
                  </a:lnTo>
                  <a:lnTo>
                    <a:pt x="415311" y="223553"/>
                  </a:lnTo>
                  <a:lnTo>
                    <a:pt x="415311" y="219867"/>
                  </a:lnTo>
                  <a:lnTo>
                    <a:pt x="419000" y="208789"/>
                  </a:lnTo>
                  <a:lnTo>
                    <a:pt x="415311" y="197721"/>
                  </a:lnTo>
                  <a:lnTo>
                    <a:pt x="415311" y="194026"/>
                  </a:lnTo>
                  <a:lnTo>
                    <a:pt x="422690" y="190339"/>
                  </a:lnTo>
                  <a:lnTo>
                    <a:pt x="415311" y="179271"/>
                  </a:lnTo>
                  <a:lnTo>
                    <a:pt x="400555" y="138666"/>
                  </a:lnTo>
                  <a:lnTo>
                    <a:pt x="393176" y="123912"/>
                  </a:lnTo>
                  <a:lnTo>
                    <a:pt x="393176" y="120216"/>
                  </a:lnTo>
                  <a:lnTo>
                    <a:pt x="396865" y="112835"/>
                  </a:lnTo>
                  <a:lnTo>
                    <a:pt x="400555" y="101766"/>
                  </a:lnTo>
                  <a:lnTo>
                    <a:pt x="404244" y="94384"/>
                  </a:lnTo>
                  <a:lnTo>
                    <a:pt x="404244" y="90689"/>
                  </a:lnTo>
                  <a:lnTo>
                    <a:pt x="400555" y="87003"/>
                  </a:lnTo>
                  <a:lnTo>
                    <a:pt x="400555" y="79621"/>
                  </a:lnTo>
                  <a:lnTo>
                    <a:pt x="385798" y="61171"/>
                  </a:lnTo>
                  <a:lnTo>
                    <a:pt x="382109" y="57475"/>
                  </a:lnTo>
                  <a:lnTo>
                    <a:pt x="382109" y="53789"/>
                  </a:lnTo>
                  <a:lnTo>
                    <a:pt x="382109" y="46407"/>
                  </a:lnTo>
                  <a:lnTo>
                    <a:pt x="382109" y="42711"/>
                  </a:lnTo>
                  <a:lnTo>
                    <a:pt x="385798" y="35339"/>
                  </a:lnTo>
                  <a:lnTo>
                    <a:pt x="389487" y="31643"/>
                  </a:lnTo>
                  <a:lnTo>
                    <a:pt x="393176" y="27957"/>
                  </a:lnTo>
                  <a:lnTo>
                    <a:pt x="404244" y="24261"/>
                  </a:lnTo>
                  <a:lnTo>
                    <a:pt x="400555" y="24261"/>
                  </a:lnTo>
                  <a:lnTo>
                    <a:pt x="393176" y="20575"/>
                  </a:lnTo>
                  <a:lnTo>
                    <a:pt x="385798" y="20575"/>
                  </a:lnTo>
                  <a:lnTo>
                    <a:pt x="382109" y="20575"/>
                  </a:lnTo>
                  <a:lnTo>
                    <a:pt x="378419" y="20575"/>
                  </a:lnTo>
                  <a:lnTo>
                    <a:pt x="371040" y="16880"/>
                  </a:lnTo>
                  <a:lnTo>
                    <a:pt x="359973" y="9498"/>
                  </a:lnTo>
                  <a:lnTo>
                    <a:pt x="356284" y="9498"/>
                  </a:lnTo>
                  <a:lnTo>
                    <a:pt x="345216" y="5812"/>
                  </a:lnTo>
                  <a:close/>
                  <a:moveTo>
                    <a:pt x="134933" y="171890"/>
                  </a:moveTo>
                  <a:lnTo>
                    <a:pt x="138622" y="164508"/>
                  </a:lnTo>
                  <a:lnTo>
                    <a:pt x="134933" y="168194"/>
                  </a:lnTo>
                  <a:lnTo>
                    <a:pt x="134933" y="171890"/>
                  </a:lnTo>
                  <a:close/>
                </a:path>
              </a:pathLst>
            </a:custGeom>
            <a:solidFill>
              <a:srgbClr val="FFE8BA"/>
            </a:solidFill>
            <a:ln w="12821" cap="flat">
              <a:solidFill>
                <a:schemeClr val="bg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None/>
              </a:pPr>
              <a:r>
                <a:rPr lang="nl-NL" sz="800" b="1" dirty="0">
                  <a:solidFill>
                    <a:schemeClr val="tx1"/>
                  </a:solidFill>
                  <a:latin typeface="+mj-lt"/>
                  <a:cs typeface="Arial" panose="020B0604020202020204" pitchFamily="34" charset="0"/>
                </a:rPr>
                <a:t>164</a:t>
              </a:r>
            </a:p>
          </p:txBody>
        </p:sp>
      </p:grpSp>
    </p:spTree>
    <p:extLst>
      <p:ext uri="{BB962C8B-B14F-4D97-AF65-F5344CB8AC3E}">
        <p14:creationId xmlns:p14="http://schemas.microsoft.com/office/powerpoint/2010/main" val="507847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742FDC1-1A88-4457-BD0D-F00052C6C9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7" name="Object 6" hidden="1">
                        <a:extLst>
                          <a:ext uri="{FF2B5EF4-FFF2-40B4-BE49-F238E27FC236}">
                            <a16:creationId xmlns:a16="http://schemas.microsoft.com/office/drawing/2014/main" id="{B742FDC1-1A88-4457-BD0D-F00052C6C9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858F5394-3934-43A9-A271-C78D22F509A3}"/>
              </a:ext>
            </a:extLst>
          </p:cNvPr>
          <p:cNvSpPr>
            <a:spLocks noGrp="1"/>
          </p:cNvSpPr>
          <p:nvPr>
            <p:ph sz="quarter" idx="31"/>
          </p:nvPr>
        </p:nvSpPr>
        <p:spPr>
          <a:xfrm>
            <a:off x="662780" y="1699963"/>
            <a:ext cx="8214519" cy="4644000"/>
          </a:xfrm>
        </p:spPr>
        <p:txBody>
          <a:bodyPr/>
          <a:lstStyle/>
          <a:p>
            <a:pPr>
              <a:spcBef>
                <a:spcPts val="900"/>
              </a:spcBef>
            </a:pPr>
            <a:r>
              <a:rPr lang="nl-NL" sz="1200" dirty="0">
                <a:solidFill>
                  <a:srgbClr val="000000"/>
                </a:solidFill>
                <a:latin typeface="Corbel" panose="020B0503020204020204" pitchFamily="34" charset="0"/>
                <a:cs typeface="+mn-cs"/>
              </a:rPr>
              <a:t>Lettertype: </a:t>
            </a:r>
            <a:r>
              <a:rPr lang="nl-NL" sz="1200" dirty="0" err="1">
                <a:solidFill>
                  <a:srgbClr val="000000"/>
                </a:solidFill>
              </a:rPr>
              <a:t>Corbel</a:t>
            </a:r>
            <a:r>
              <a:rPr lang="nl-NL" sz="1200" dirty="0">
                <a:solidFill>
                  <a:srgbClr val="000000"/>
                </a:solidFill>
              </a:rPr>
              <a:t>.</a:t>
            </a:r>
          </a:p>
          <a:p>
            <a:pPr>
              <a:spcBef>
                <a:spcPts val="900"/>
              </a:spcBef>
            </a:pPr>
            <a:r>
              <a:rPr lang="nl-NL" sz="1200" dirty="0"/>
              <a:t>Kleur: tekst is altijd zwart (niet donkergrijs) of wit (op donkere vlakken, zie slide 10).</a:t>
            </a:r>
            <a:endParaRPr lang="nl-NL" sz="1200" dirty="0">
              <a:solidFill>
                <a:srgbClr val="000000"/>
              </a:solidFill>
            </a:endParaRPr>
          </a:p>
          <a:p>
            <a:pPr marL="0">
              <a:spcBef>
                <a:spcPts val="900"/>
              </a:spcBef>
            </a:pPr>
            <a:r>
              <a:rPr lang="nl-NL" sz="1200" dirty="0">
                <a:solidFill>
                  <a:srgbClr val="000000"/>
                </a:solidFill>
              </a:rPr>
              <a:t>Lettergrootte:</a:t>
            </a:r>
          </a:p>
          <a:p>
            <a:pPr lvl="1">
              <a:spcBef>
                <a:spcPts val="300"/>
              </a:spcBef>
            </a:pPr>
            <a:r>
              <a:rPr lang="nl-NL" sz="1200" dirty="0">
                <a:solidFill>
                  <a:srgbClr val="000000"/>
                </a:solidFill>
              </a:rPr>
              <a:t>In basis gebruik je één lettergrootte per slide (standaard objecten als voetnoot uitgezonderd).</a:t>
            </a:r>
          </a:p>
          <a:p>
            <a:pPr lvl="1">
              <a:spcBef>
                <a:spcPts val="300"/>
              </a:spcBef>
            </a:pPr>
            <a:r>
              <a:rPr lang="nl-NL" sz="1200" dirty="0">
                <a:solidFill>
                  <a:srgbClr val="000000"/>
                </a:solidFill>
              </a:rPr>
              <a:t>Wel gebruiken: ‘Even’ groottes (bijv. 16, 14, 12, 10 of 8 </a:t>
            </a:r>
            <a:r>
              <a:rPr lang="nl-NL" sz="1200" dirty="0" err="1">
                <a:solidFill>
                  <a:srgbClr val="000000"/>
                </a:solidFill>
              </a:rPr>
              <a:t>pts</a:t>
            </a:r>
            <a:r>
              <a:rPr lang="nl-NL" sz="1200" dirty="0">
                <a:solidFill>
                  <a:srgbClr val="000000"/>
                </a:solidFill>
              </a:rPr>
              <a:t>).</a:t>
            </a:r>
          </a:p>
          <a:p>
            <a:pPr lvl="1">
              <a:spcBef>
                <a:spcPts val="300"/>
              </a:spcBef>
            </a:pPr>
            <a:r>
              <a:rPr lang="nl-NL" sz="1200" dirty="0">
                <a:solidFill>
                  <a:srgbClr val="000000"/>
                </a:solidFill>
              </a:rPr>
              <a:t>Niet gebruiken: Afwijkende/oneven groottes (bijv. 10,5 </a:t>
            </a:r>
            <a:r>
              <a:rPr lang="nl-NL" sz="1200" dirty="0" err="1">
                <a:solidFill>
                  <a:srgbClr val="000000"/>
                </a:solidFill>
              </a:rPr>
              <a:t>pt</a:t>
            </a:r>
            <a:r>
              <a:rPr lang="nl-NL" sz="1200" dirty="0">
                <a:solidFill>
                  <a:srgbClr val="000000"/>
                </a:solidFill>
              </a:rPr>
              <a:t> of 11 </a:t>
            </a:r>
            <a:r>
              <a:rPr lang="nl-NL" sz="1200" dirty="0" err="1">
                <a:solidFill>
                  <a:srgbClr val="000000"/>
                </a:solidFill>
              </a:rPr>
              <a:t>pts</a:t>
            </a:r>
            <a:r>
              <a:rPr lang="nl-NL" sz="1200" dirty="0">
                <a:solidFill>
                  <a:srgbClr val="000000"/>
                </a:solidFill>
              </a:rPr>
              <a:t>).</a:t>
            </a:r>
          </a:p>
          <a:p>
            <a:pPr lvl="1">
              <a:spcBef>
                <a:spcPts val="300"/>
              </a:spcBef>
            </a:pPr>
            <a:r>
              <a:rPr lang="nl-NL" sz="1200" dirty="0">
                <a:solidFill>
                  <a:srgbClr val="000000"/>
                </a:solidFill>
              </a:rPr>
              <a:t>(bij voorkeur zo groot mogelijk, want dit dwingt om beknopter te schrijven).</a:t>
            </a:r>
          </a:p>
          <a:p>
            <a:pPr>
              <a:spcBef>
                <a:spcPts val="900"/>
              </a:spcBef>
            </a:pPr>
            <a:r>
              <a:rPr lang="nl-NL" sz="1200" dirty="0">
                <a:solidFill>
                  <a:srgbClr val="000000"/>
                </a:solidFill>
              </a:rPr>
              <a:t>Type tekst:</a:t>
            </a:r>
          </a:p>
          <a:p>
            <a:pPr lvl="1">
              <a:spcBef>
                <a:spcPts val="300"/>
              </a:spcBef>
            </a:pPr>
            <a:r>
              <a:rPr lang="nl-NL" sz="1200" dirty="0">
                <a:solidFill>
                  <a:srgbClr val="000000"/>
                </a:solidFill>
              </a:rPr>
              <a:t>Bij voorkeur gebruiken we </a:t>
            </a:r>
            <a:r>
              <a:rPr lang="nl-NL" sz="1200" b="1" dirty="0" err="1">
                <a:solidFill>
                  <a:srgbClr val="000000"/>
                </a:solidFill>
              </a:rPr>
              <a:t>bold</a:t>
            </a:r>
            <a:r>
              <a:rPr lang="nl-NL" sz="1200" b="1" dirty="0">
                <a:solidFill>
                  <a:srgbClr val="000000"/>
                </a:solidFill>
              </a:rPr>
              <a:t> voor titels </a:t>
            </a:r>
            <a:r>
              <a:rPr lang="nl-NL" sz="1200" dirty="0">
                <a:solidFill>
                  <a:srgbClr val="000000"/>
                </a:solidFill>
              </a:rPr>
              <a:t>en regulier voor normale tekst.</a:t>
            </a:r>
          </a:p>
          <a:p>
            <a:pPr lvl="1">
              <a:spcBef>
                <a:spcPts val="300"/>
              </a:spcBef>
            </a:pPr>
            <a:r>
              <a:rPr lang="nl-NL" sz="1200" dirty="0">
                <a:solidFill>
                  <a:srgbClr val="000000"/>
                </a:solidFill>
              </a:rPr>
              <a:t>Om iets te accentueren kan </a:t>
            </a:r>
            <a:r>
              <a:rPr lang="nl-NL" sz="1200" b="1" dirty="0" err="1">
                <a:solidFill>
                  <a:srgbClr val="000000"/>
                </a:solidFill>
              </a:rPr>
              <a:t>bold</a:t>
            </a:r>
            <a:r>
              <a:rPr lang="nl-NL" sz="1200" dirty="0">
                <a:solidFill>
                  <a:srgbClr val="000000"/>
                </a:solidFill>
              </a:rPr>
              <a:t>, </a:t>
            </a:r>
            <a:r>
              <a:rPr lang="nl-NL" sz="1200" u="sng" dirty="0" err="1">
                <a:solidFill>
                  <a:srgbClr val="000000"/>
                </a:solidFill>
              </a:rPr>
              <a:t>underlined</a:t>
            </a:r>
            <a:r>
              <a:rPr lang="nl-NL" sz="1200" dirty="0">
                <a:solidFill>
                  <a:srgbClr val="000000"/>
                </a:solidFill>
              </a:rPr>
              <a:t> of </a:t>
            </a:r>
            <a:r>
              <a:rPr lang="nl-NL" sz="1200" i="1" dirty="0">
                <a:solidFill>
                  <a:srgbClr val="000000"/>
                </a:solidFill>
              </a:rPr>
              <a:t>italic </a:t>
            </a:r>
            <a:r>
              <a:rPr lang="nl-NL" sz="1200" dirty="0">
                <a:solidFill>
                  <a:srgbClr val="000000"/>
                </a:solidFill>
              </a:rPr>
              <a:t>gebruikt worden, maar bij voorkeur beperken we dit, aangezien het een document drukker maakt.</a:t>
            </a:r>
            <a:endParaRPr lang="nl-NL" sz="1200" i="1" dirty="0">
              <a:solidFill>
                <a:srgbClr val="FF0000"/>
              </a:solidFill>
            </a:endParaRPr>
          </a:p>
          <a:p>
            <a:pPr>
              <a:spcBef>
                <a:spcPts val="900"/>
              </a:spcBef>
            </a:pPr>
            <a:r>
              <a:rPr lang="nl-NL" sz="1200" dirty="0">
                <a:solidFill>
                  <a:srgbClr val="000000"/>
                </a:solidFill>
              </a:rPr>
              <a:t>Uitlijning:</a:t>
            </a:r>
          </a:p>
          <a:p>
            <a:pPr lvl="1">
              <a:spcBef>
                <a:spcPts val="300"/>
              </a:spcBef>
            </a:pPr>
            <a:r>
              <a:rPr lang="nl-NL" sz="1200" dirty="0">
                <a:solidFill>
                  <a:srgbClr val="000000"/>
                </a:solidFill>
              </a:rPr>
              <a:t>Tekst wordt altijd links uitgelijnd (uitzondering: als titel of zin van max één regel dan mag tekst ook gecentreerd, maar voorkeur links uitlijnen).</a:t>
            </a:r>
          </a:p>
          <a:p>
            <a:pPr lvl="1">
              <a:spcBef>
                <a:spcPts val="300"/>
              </a:spcBef>
            </a:pPr>
            <a:r>
              <a:rPr lang="nl-NL" sz="1200" dirty="0"/>
              <a:t>Cijfers worden altijd rechts uitgelijnd.</a:t>
            </a:r>
            <a:endParaRPr lang="nl-NL" sz="1200" dirty="0">
              <a:solidFill>
                <a:srgbClr val="000000"/>
              </a:solidFill>
            </a:endParaRPr>
          </a:p>
          <a:p>
            <a:pPr>
              <a:spcBef>
                <a:spcPts val="900"/>
              </a:spcBef>
            </a:pPr>
            <a:r>
              <a:rPr lang="nl-NL" sz="1200" dirty="0">
                <a:solidFill>
                  <a:srgbClr val="000000"/>
                </a:solidFill>
              </a:rPr>
              <a:t>Paragraaf-eigenschappen</a:t>
            </a:r>
            <a:r>
              <a:rPr lang="nl-NL" sz="1200" baseline="30000" dirty="0">
                <a:solidFill>
                  <a:srgbClr val="000000"/>
                </a:solidFill>
              </a:rPr>
              <a:t>1</a:t>
            </a:r>
            <a:r>
              <a:rPr lang="nl-NL" sz="1200" dirty="0">
                <a:solidFill>
                  <a:srgbClr val="000000"/>
                </a:solidFill>
              </a:rPr>
              <a:t>:</a:t>
            </a:r>
          </a:p>
          <a:p>
            <a:pPr lvl="1">
              <a:spcBef>
                <a:spcPts val="300"/>
              </a:spcBef>
            </a:pPr>
            <a:r>
              <a:rPr lang="nl-NL" sz="1200" dirty="0">
                <a:solidFill>
                  <a:srgbClr val="000000"/>
                </a:solidFill>
              </a:rPr>
              <a:t>Line </a:t>
            </a:r>
            <a:r>
              <a:rPr lang="nl-NL" sz="1200" dirty="0" err="1">
                <a:solidFill>
                  <a:srgbClr val="000000"/>
                </a:solidFill>
              </a:rPr>
              <a:t>spacing</a:t>
            </a:r>
            <a:r>
              <a:rPr lang="nl-NL" sz="1200" dirty="0">
                <a:solidFill>
                  <a:srgbClr val="000000"/>
                </a:solidFill>
              </a:rPr>
              <a:t>: 0,9.</a:t>
            </a:r>
          </a:p>
          <a:p>
            <a:pPr lvl="1">
              <a:spcBef>
                <a:spcPts val="300"/>
              </a:spcBef>
            </a:pPr>
            <a:r>
              <a:rPr lang="nl-NL" sz="1200" dirty="0" err="1">
                <a:solidFill>
                  <a:srgbClr val="000000"/>
                </a:solidFill>
              </a:rPr>
              <a:t>Before</a:t>
            </a:r>
            <a:r>
              <a:rPr lang="nl-NL" sz="1200" dirty="0">
                <a:solidFill>
                  <a:srgbClr val="000000"/>
                </a:solidFill>
              </a:rPr>
              <a:t> / </a:t>
            </a:r>
            <a:r>
              <a:rPr lang="nl-NL" sz="1200" dirty="0" err="1">
                <a:solidFill>
                  <a:srgbClr val="000000"/>
                </a:solidFill>
              </a:rPr>
              <a:t>after</a:t>
            </a:r>
            <a:r>
              <a:rPr lang="nl-NL" sz="1200" dirty="0">
                <a:solidFill>
                  <a:srgbClr val="000000"/>
                </a:solidFill>
              </a:rPr>
              <a:t>:</a:t>
            </a:r>
          </a:p>
          <a:p>
            <a:pPr lvl="2">
              <a:spcBef>
                <a:spcPts val="300"/>
              </a:spcBef>
            </a:pPr>
            <a:r>
              <a:rPr lang="nl-NL" sz="1200" dirty="0">
                <a:solidFill>
                  <a:srgbClr val="000000"/>
                </a:solidFill>
              </a:rPr>
              <a:t>Platte tekst en </a:t>
            </a:r>
            <a:r>
              <a:rPr lang="nl-NL" sz="1200" dirty="0" err="1">
                <a:solidFill>
                  <a:srgbClr val="000000"/>
                </a:solidFill>
              </a:rPr>
              <a:t>hoofdbullet</a:t>
            </a:r>
            <a:r>
              <a:rPr lang="nl-NL" sz="1200" dirty="0">
                <a:solidFill>
                  <a:srgbClr val="000000"/>
                </a:solidFill>
              </a:rPr>
              <a:t>: </a:t>
            </a:r>
            <a:r>
              <a:rPr lang="nl-NL" sz="1200" dirty="0" err="1">
                <a:solidFill>
                  <a:srgbClr val="000000"/>
                </a:solidFill>
              </a:rPr>
              <a:t>before</a:t>
            </a:r>
            <a:r>
              <a:rPr lang="nl-NL" sz="1200" dirty="0">
                <a:solidFill>
                  <a:srgbClr val="000000"/>
                </a:solidFill>
              </a:rPr>
              <a:t> 9 </a:t>
            </a:r>
            <a:r>
              <a:rPr lang="nl-NL" sz="1200" dirty="0" err="1">
                <a:solidFill>
                  <a:srgbClr val="000000"/>
                </a:solidFill>
              </a:rPr>
              <a:t>pt</a:t>
            </a:r>
            <a:r>
              <a:rPr lang="nl-NL" sz="1200" dirty="0">
                <a:solidFill>
                  <a:srgbClr val="000000"/>
                </a:solidFill>
              </a:rPr>
              <a:t>; </a:t>
            </a:r>
            <a:r>
              <a:rPr lang="nl-NL" sz="1200" dirty="0" err="1">
                <a:solidFill>
                  <a:srgbClr val="000000"/>
                </a:solidFill>
              </a:rPr>
              <a:t>after</a:t>
            </a:r>
            <a:r>
              <a:rPr lang="nl-NL" sz="1200" dirty="0">
                <a:solidFill>
                  <a:srgbClr val="000000"/>
                </a:solidFill>
              </a:rPr>
              <a:t> 0 </a:t>
            </a:r>
            <a:r>
              <a:rPr lang="nl-NL" sz="1200" dirty="0" err="1">
                <a:solidFill>
                  <a:srgbClr val="000000"/>
                </a:solidFill>
              </a:rPr>
              <a:t>pt</a:t>
            </a:r>
            <a:r>
              <a:rPr lang="nl-NL" sz="1200" dirty="0">
                <a:solidFill>
                  <a:srgbClr val="000000"/>
                </a:solidFill>
              </a:rPr>
              <a:t>.</a:t>
            </a:r>
          </a:p>
          <a:p>
            <a:pPr lvl="2">
              <a:spcBef>
                <a:spcPts val="300"/>
              </a:spcBef>
            </a:pPr>
            <a:r>
              <a:rPr lang="nl-NL" sz="1200" dirty="0" err="1">
                <a:solidFill>
                  <a:srgbClr val="000000"/>
                </a:solidFill>
              </a:rPr>
              <a:t>Subbullets</a:t>
            </a:r>
            <a:r>
              <a:rPr lang="nl-NL" sz="1200" dirty="0">
                <a:solidFill>
                  <a:srgbClr val="000000"/>
                </a:solidFill>
              </a:rPr>
              <a:t>: </a:t>
            </a:r>
            <a:r>
              <a:rPr lang="nl-NL" sz="1200" dirty="0" err="1">
                <a:solidFill>
                  <a:srgbClr val="000000"/>
                </a:solidFill>
              </a:rPr>
              <a:t>before</a:t>
            </a:r>
            <a:r>
              <a:rPr lang="nl-NL" sz="1200" dirty="0">
                <a:solidFill>
                  <a:srgbClr val="000000"/>
                </a:solidFill>
              </a:rPr>
              <a:t> 3 </a:t>
            </a:r>
            <a:r>
              <a:rPr lang="nl-NL" sz="1200" dirty="0" err="1">
                <a:solidFill>
                  <a:srgbClr val="000000"/>
                </a:solidFill>
              </a:rPr>
              <a:t>pt</a:t>
            </a:r>
            <a:r>
              <a:rPr lang="nl-NL" sz="1200" dirty="0">
                <a:solidFill>
                  <a:srgbClr val="000000"/>
                </a:solidFill>
              </a:rPr>
              <a:t>; </a:t>
            </a:r>
            <a:r>
              <a:rPr lang="nl-NL" sz="1200" dirty="0" err="1">
                <a:solidFill>
                  <a:srgbClr val="000000"/>
                </a:solidFill>
              </a:rPr>
              <a:t>after</a:t>
            </a:r>
            <a:r>
              <a:rPr lang="nl-NL" sz="1200" dirty="0">
                <a:solidFill>
                  <a:srgbClr val="000000"/>
                </a:solidFill>
              </a:rPr>
              <a:t> 0 </a:t>
            </a:r>
            <a:r>
              <a:rPr lang="nl-NL" sz="1200" dirty="0" err="1">
                <a:solidFill>
                  <a:srgbClr val="000000"/>
                </a:solidFill>
              </a:rPr>
              <a:t>pt</a:t>
            </a:r>
            <a:r>
              <a:rPr lang="nl-NL" sz="1200" dirty="0">
                <a:solidFill>
                  <a:srgbClr val="000000"/>
                </a:solidFill>
              </a:rPr>
              <a:t>.</a:t>
            </a:r>
          </a:p>
          <a:p>
            <a:pPr marL="0" indent="0">
              <a:spcBef>
                <a:spcPts val="300"/>
              </a:spcBef>
              <a:buNone/>
            </a:pPr>
            <a:endParaRPr lang="nl-NL" sz="1200" dirty="0">
              <a:solidFill>
                <a:srgbClr val="000000"/>
              </a:solidFill>
            </a:endParaRPr>
          </a:p>
          <a:p>
            <a:pPr lvl="1">
              <a:spcBef>
                <a:spcPts val="900"/>
              </a:spcBef>
            </a:pPr>
            <a:endParaRPr lang="nl-NL" sz="1200" dirty="0">
              <a:solidFill>
                <a:schemeClr val="accent6"/>
              </a:solidFill>
            </a:endParaRPr>
          </a:p>
        </p:txBody>
      </p:sp>
      <p:sp>
        <p:nvSpPr>
          <p:cNvPr id="14" name="Text Placeholder 13">
            <a:extLst>
              <a:ext uri="{FF2B5EF4-FFF2-40B4-BE49-F238E27FC236}">
                <a16:creationId xmlns:a16="http://schemas.microsoft.com/office/drawing/2014/main" id="{728D6068-1F24-475D-9EB4-843F84866316}"/>
              </a:ext>
            </a:extLst>
          </p:cNvPr>
          <p:cNvSpPr>
            <a:spLocks noGrp="1"/>
          </p:cNvSpPr>
          <p:nvPr>
            <p:ph type="body" sz="quarter" idx="20"/>
          </p:nvPr>
        </p:nvSpPr>
        <p:spPr/>
        <p:txBody>
          <a:bodyPr/>
          <a:lstStyle/>
          <a:p>
            <a:r>
              <a:rPr lang="nl-NL" dirty="0"/>
              <a:t>Bij fontgrootte 12. Een irritante eigenschap van PowerPoint is dat </a:t>
            </a:r>
            <a:r>
              <a:rPr lang="nl-NL" dirty="0" err="1"/>
              <a:t>spacing</a:t>
            </a:r>
            <a:r>
              <a:rPr lang="nl-NL" dirty="0"/>
              <a:t> (</a:t>
            </a:r>
            <a:r>
              <a:rPr lang="nl-NL" dirty="0" err="1"/>
              <a:t>before</a:t>
            </a:r>
            <a:r>
              <a:rPr lang="nl-NL" dirty="0"/>
              <a:t> / </a:t>
            </a:r>
            <a:r>
              <a:rPr lang="nl-NL" dirty="0" err="1"/>
              <a:t>after</a:t>
            </a:r>
            <a:r>
              <a:rPr lang="nl-NL" dirty="0"/>
              <a:t>) van tekst absoluut is (dit wordt niet automatisch aangepast </a:t>
            </a:r>
            <a:r>
              <a:rPr lang="nl-NL" dirty="0" err="1"/>
              <a:t>obv</a:t>
            </a:r>
            <a:r>
              <a:rPr lang="nl-NL" dirty="0"/>
              <a:t> fontgrootte). Bij grotere letters (bijv. 14 of 16pts) mag je handmatig afstand </a:t>
            </a:r>
            <a:r>
              <a:rPr lang="nl-NL" dirty="0" err="1"/>
              <a:t>before</a:t>
            </a:r>
            <a:r>
              <a:rPr lang="nl-NL" dirty="0"/>
              <a:t> &amp; </a:t>
            </a:r>
            <a:r>
              <a:rPr lang="nl-NL" dirty="0" err="1"/>
              <a:t>after</a:t>
            </a:r>
            <a:r>
              <a:rPr lang="nl-NL" dirty="0"/>
              <a:t> vergroten</a:t>
            </a:r>
            <a:endParaRPr lang="en-GB" dirty="0">
              <a:solidFill>
                <a:srgbClr val="000000"/>
              </a:solidFill>
            </a:endParaRPr>
          </a:p>
        </p:txBody>
      </p:sp>
      <p:sp>
        <p:nvSpPr>
          <p:cNvPr id="5" name="Footer Placeholder 4">
            <a:extLst>
              <a:ext uri="{FF2B5EF4-FFF2-40B4-BE49-F238E27FC236}">
                <a16:creationId xmlns:a16="http://schemas.microsoft.com/office/drawing/2014/main" id="{535EBD28-82C5-4C09-9849-E7987E8B68BC}"/>
              </a:ext>
            </a:extLst>
          </p:cNvPr>
          <p:cNvSpPr>
            <a:spLocks noGrp="1"/>
          </p:cNvSpPr>
          <p:nvPr>
            <p:ph type="ftr" sz="quarter" idx="3"/>
          </p:nvPr>
        </p:nvSpPr>
        <p:spPr/>
        <p:txBody>
          <a:bodyPr/>
          <a:lstStyle/>
          <a:p>
            <a:r>
              <a:rPr lang="nl-NL" dirty="0"/>
              <a:t>Bron: </a:t>
            </a:r>
          </a:p>
        </p:txBody>
      </p:sp>
      <p:sp>
        <p:nvSpPr>
          <p:cNvPr id="4" name="Slide Number Placeholder 3">
            <a:extLst>
              <a:ext uri="{FF2B5EF4-FFF2-40B4-BE49-F238E27FC236}">
                <a16:creationId xmlns:a16="http://schemas.microsoft.com/office/drawing/2014/main" id="{A68F08A9-359D-4587-B9A6-591807C27810}"/>
              </a:ext>
            </a:extLst>
          </p:cNvPr>
          <p:cNvSpPr>
            <a:spLocks noGrp="1"/>
          </p:cNvSpPr>
          <p:nvPr>
            <p:ph type="sldNum" sz="quarter" idx="12"/>
          </p:nvPr>
        </p:nvSpPr>
        <p:spPr/>
        <p:txBody>
          <a:bodyPr/>
          <a:lstStyle/>
          <a:p>
            <a:fld id="{992CD0B2-8AB2-4C6C-8876-E15753662C9B}" type="slidenum">
              <a:rPr lang="nl-NL" noProof="0" smtClean="0"/>
              <a:pPr/>
              <a:t>13</a:t>
            </a:fld>
            <a:endParaRPr lang="nl-NL" noProof="0" dirty="0"/>
          </a:p>
        </p:txBody>
      </p:sp>
      <p:sp>
        <p:nvSpPr>
          <p:cNvPr id="6" name="Text Placeholder 5">
            <a:extLst>
              <a:ext uri="{FF2B5EF4-FFF2-40B4-BE49-F238E27FC236}">
                <a16:creationId xmlns:a16="http://schemas.microsoft.com/office/drawing/2014/main" id="{C624CCDB-6951-4264-8F51-4C843D043DDF}"/>
              </a:ext>
            </a:extLst>
          </p:cNvPr>
          <p:cNvSpPr>
            <a:spLocks noGrp="1"/>
          </p:cNvSpPr>
          <p:nvPr>
            <p:ph type="body" sz="quarter" idx="14"/>
          </p:nvPr>
        </p:nvSpPr>
        <p:spPr/>
        <p:txBody>
          <a:bodyPr/>
          <a:lstStyle/>
          <a:p>
            <a:r>
              <a:rPr lang="nl-NL" dirty="0" err="1"/>
              <a:t>Formatting</a:t>
            </a:r>
            <a:r>
              <a:rPr lang="nl-NL" dirty="0"/>
              <a:t> standaard afspraken</a:t>
            </a:r>
          </a:p>
        </p:txBody>
      </p:sp>
      <p:sp>
        <p:nvSpPr>
          <p:cNvPr id="3" name="Title 2">
            <a:extLst>
              <a:ext uri="{FF2B5EF4-FFF2-40B4-BE49-F238E27FC236}">
                <a16:creationId xmlns:a16="http://schemas.microsoft.com/office/drawing/2014/main" id="{1199C1F8-E20A-4EAF-9D59-7297221EA2A8}"/>
              </a:ext>
            </a:extLst>
          </p:cNvPr>
          <p:cNvSpPr>
            <a:spLocks noGrp="1"/>
          </p:cNvSpPr>
          <p:nvPr>
            <p:ph type="title"/>
          </p:nvPr>
        </p:nvSpPr>
        <p:spPr/>
        <p:txBody>
          <a:bodyPr vert="horz"/>
          <a:lstStyle/>
          <a:p>
            <a:r>
              <a:rPr lang="nl-NL" dirty="0"/>
              <a:t>Formatting</a:t>
            </a:r>
          </a:p>
        </p:txBody>
      </p:sp>
      <p:sp>
        <p:nvSpPr>
          <p:cNvPr id="10" name="Rectangle 9">
            <a:extLst>
              <a:ext uri="{FF2B5EF4-FFF2-40B4-BE49-F238E27FC236}">
                <a16:creationId xmlns:a16="http://schemas.microsoft.com/office/drawing/2014/main" id="{027598F4-223B-412B-ACD0-212DE242B4BC}"/>
              </a:ext>
            </a:extLst>
          </p:cNvPr>
          <p:cNvSpPr/>
          <p:nvPr/>
        </p:nvSpPr>
        <p:spPr>
          <a:xfrm>
            <a:off x="658814" y="0"/>
            <a:ext cx="277500" cy="257175"/>
          </a:xfrm>
          <a:prstGeom prst="rect">
            <a:avLst/>
          </a:prstGeom>
          <a:solidFill>
            <a:srgbClr val="808080"/>
          </a:solidFill>
        </p:spPr>
        <p:txBody>
          <a:bodyPr lIns="72000" rIns="72000" rtlCol="0" anchor="t">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1" name="Rectangle 10">
            <a:extLst>
              <a:ext uri="{FF2B5EF4-FFF2-40B4-BE49-F238E27FC236}">
                <a16:creationId xmlns:a16="http://schemas.microsoft.com/office/drawing/2014/main" id="{3F9FA02F-0BF5-4DD3-8C9C-519278A67EAF}"/>
              </a:ext>
            </a:extLst>
          </p:cNvPr>
          <p:cNvSpPr/>
          <p:nvPr/>
        </p:nvSpPr>
        <p:spPr>
          <a:xfrm>
            <a:off x="936314" y="0"/>
            <a:ext cx="3026086" cy="266699"/>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lIns="72000" rIns="72000" rtlCol="0" anchor="ctr">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Vormgeving van een slide - Formatting</a:t>
            </a:r>
          </a:p>
        </p:txBody>
      </p:sp>
      <p:sp>
        <p:nvSpPr>
          <p:cNvPr id="20" name="Rectangle 19">
            <a:extLst>
              <a:ext uri="{FF2B5EF4-FFF2-40B4-BE49-F238E27FC236}">
                <a16:creationId xmlns:a16="http://schemas.microsoft.com/office/drawing/2014/main" id="{5D87C218-0EF2-4B7C-97ED-5C5ACE32C3F0}"/>
              </a:ext>
            </a:extLst>
          </p:cNvPr>
          <p:cNvSpPr/>
          <p:nvPr/>
        </p:nvSpPr>
        <p:spPr>
          <a:xfrm>
            <a:off x="7323908" y="1794846"/>
            <a:ext cx="4115235" cy="1124037"/>
          </a:xfrm>
          <a:prstGeom prst="rect">
            <a:avLst/>
          </a:prstGeom>
          <a:solidFill>
            <a:schemeClr val="bg2"/>
          </a:solidFill>
          <a:ln>
            <a:solidFill>
              <a:schemeClr val="tx1"/>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685800" rtl="0" eaLnBrk="1" fontAlgn="auto" latinLnBrk="0" hangingPunct="1">
              <a:lnSpc>
                <a:spcPct val="90000"/>
              </a:lnSpc>
              <a:spcBef>
                <a:spcPts val="90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s er een lijn om een object zit, heeft deze typisch een dikte van 0,75 </a:t>
            </a:r>
            <a:r>
              <a:rPr kumimoji="0" lang="nl-NL" sz="12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pt</a:t>
            </a:r>
            <a:endPar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l" defTabSz="685800" rtl="0" eaLnBrk="1" fontAlgn="auto" latinLnBrk="0" hangingPunct="1">
              <a:lnSpc>
                <a:spcPct val="90000"/>
              </a:lnSpc>
              <a:spcBef>
                <a:spcPts val="90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Objecten hebben typisch marges van 0,2 cm (aan alle kanten)</a:t>
            </a:r>
          </a:p>
          <a:p>
            <a:pPr marL="0" marR="0" indent="0" algn="l" defTabSz="685800" rtl="0" eaLnBrk="1" fontAlgn="auto" latinLnBrk="0" hangingPunct="1">
              <a:lnSpc>
                <a:spcPct val="90000"/>
              </a:lnSpc>
              <a:spcBef>
                <a:spcPts val="900"/>
              </a:spcBef>
              <a:spcAft>
                <a:spcPts val="0"/>
              </a:spcAft>
              <a:buClr>
                <a:srgbClr val="FF0000"/>
              </a:buClr>
              <a:buSzTx/>
              <a:buFontTx/>
              <a:buNone/>
              <a:tabLst/>
            </a:pPr>
            <a:r>
              <a:rPr lang="nl-NL" sz="1200" dirty="0">
                <a:solidFill>
                  <a:srgbClr val="000000"/>
                </a:solidFill>
                <a:latin typeface="Corbel" panose="020B0503020204020204" pitchFamily="34" charset="0"/>
                <a:cs typeface="+mn-cs"/>
              </a:rPr>
              <a:t>‘Do </a:t>
            </a:r>
            <a:r>
              <a:rPr lang="nl-NL" sz="1200" dirty="0" err="1">
                <a:solidFill>
                  <a:srgbClr val="000000"/>
                </a:solidFill>
                <a:latin typeface="Corbel" panose="020B0503020204020204" pitchFamily="34" charset="0"/>
                <a:cs typeface="+mn-cs"/>
              </a:rPr>
              <a:t>not</a:t>
            </a:r>
            <a:r>
              <a:rPr lang="nl-NL" sz="1200" dirty="0">
                <a:solidFill>
                  <a:srgbClr val="000000"/>
                </a:solidFill>
                <a:latin typeface="Corbel" panose="020B0503020204020204" pitchFamily="34" charset="0"/>
                <a:cs typeface="+mn-cs"/>
              </a:rPr>
              <a:t> </a:t>
            </a:r>
            <a:r>
              <a:rPr lang="nl-NL" sz="1200" dirty="0" err="1">
                <a:solidFill>
                  <a:srgbClr val="000000"/>
                </a:solidFill>
                <a:latin typeface="Corbel" panose="020B0503020204020204" pitchFamily="34" charset="0"/>
                <a:cs typeface="+mn-cs"/>
              </a:rPr>
              <a:t>Autofit</a:t>
            </a:r>
            <a:r>
              <a:rPr lang="nl-NL" sz="1200" dirty="0">
                <a:solidFill>
                  <a:srgbClr val="000000"/>
                </a:solidFill>
                <a:latin typeface="Corbel" panose="020B0503020204020204" pitchFamily="34" charset="0"/>
                <a:cs typeface="+mn-cs"/>
              </a:rPr>
              <a:t>’ staat standaard aan, maar kan evt. veranderd worden</a:t>
            </a:r>
            <a:endParaRPr kumimoji="0" lang="en-GB"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cxnSp>
        <p:nvCxnSpPr>
          <p:cNvPr id="23" name="Straight Connector 22">
            <a:extLst>
              <a:ext uri="{FF2B5EF4-FFF2-40B4-BE49-F238E27FC236}">
                <a16:creationId xmlns:a16="http://schemas.microsoft.com/office/drawing/2014/main" id="{41B64598-8354-413E-A372-0D5C7900141B}"/>
              </a:ext>
            </a:extLst>
          </p:cNvPr>
          <p:cNvCxnSpPr>
            <a:cxnSpLocks/>
          </p:cNvCxnSpPr>
          <p:nvPr/>
        </p:nvCxnSpPr>
        <p:spPr>
          <a:xfrm>
            <a:off x="2394857" y="5360852"/>
            <a:ext cx="4512026" cy="0"/>
          </a:xfrm>
          <a:prstGeom prst="line">
            <a:avLst/>
          </a:prstGeom>
          <a:ln>
            <a:solidFill>
              <a:srgbClr val="6A6A6A"/>
            </a:solidFill>
            <a:headEnd type="ova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B6EF7AE4-8FF5-4E0E-9F46-261B22991232}"/>
              </a:ext>
            </a:extLst>
          </p:cNvPr>
          <p:cNvPicPr>
            <a:picLocks noChangeAspect="1"/>
          </p:cNvPicPr>
          <p:nvPr/>
        </p:nvPicPr>
        <p:blipFill>
          <a:blip r:embed="rId5"/>
          <a:stretch>
            <a:fillRect/>
          </a:stretch>
        </p:blipFill>
        <p:spPr>
          <a:xfrm>
            <a:off x="5143264" y="4495628"/>
            <a:ext cx="2377440" cy="1764849"/>
          </a:xfrm>
          <a:prstGeom prst="rect">
            <a:avLst/>
          </a:prstGeom>
          <a:ln w="9525">
            <a:solidFill>
              <a:schemeClr val="accent5"/>
            </a:solidFill>
          </a:ln>
        </p:spPr>
      </p:pic>
      <p:cxnSp>
        <p:nvCxnSpPr>
          <p:cNvPr id="25" name="Straight Connector 24">
            <a:extLst>
              <a:ext uri="{FF2B5EF4-FFF2-40B4-BE49-F238E27FC236}">
                <a16:creationId xmlns:a16="http://schemas.microsoft.com/office/drawing/2014/main" id="{6D555B2F-49CF-4E04-843A-82B2314956D5}"/>
              </a:ext>
            </a:extLst>
          </p:cNvPr>
          <p:cNvCxnSpPr>
            <a:cxnSpLocks/>
          </p:cNvCxnSpPr>
          <p:nvPr/>
        </p:nvCxnSpPr>
        <p:spPr>
          <a:xfrm>
            <a:off x="11050579" y="2466975"/>
            <a:ext cx="0" cy="895218"/>
          </a:xfrm>
          <a:prstGeom prst="line">
            <a:avLst/>
          </a:prstGeom>
          <a:ln>
            <a:solidFill>
              <a:srgbClr val="6A6A6A"/>
            </a:solidFill>
            <a:headEnd type="ova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7A857CFD-CAB0-40ED-A64C-88B8AB93124A}"/>
              </a:ext>
            </a:extLst>
          </p:cNvPr>
          <p:cNvPicPr>
            <a:picLocks noChangeAspect="1"/>
          </p:cNvPicPr>
          <p:nvPr/>
        </p:nvPicPr>
        <p:blipFill>
          <a:blip r:embed="rId6"/>
          <a:stretch>
            <a:fillRect/>
          </a:stretch>
        </p:blipFill>
        <p:spPr>
          <a:xfrm>
            <a:off x="9144159" y="3352191"/>
            <a:ext cx="2466975" cy="3019425"/>
          </a:xfrm>
          <a:prstGeom prst="rect">
            <a:avLst/>
          </a:prstGeom>
        </p:spPr>
      </p:pic>
    </p:spTree>
    <p:extLst>
      <p:ext uri="{BB962C8B-B14F-4D97-AF65-F5344CB8AC3E}">
        <p14:creationId xmlns:p14="http://schemas.microsoft.com/office/powerpoint/2010/main" val="34680512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29A47927-5C96-4CEF-8708-42D54C1410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18" name="Object 17" hidden="1">
                        <a:extLst>
                          <a:ext uri="{FF2B5EF4-FFF2-40B4-BE49-F238E27FC236}">
                            <a16:creationId xmlns:a16="http://schemas.microsoft.com/office/drawing/2014/main" id="{29A47927-5C96-4CEF-8708-42D54C1410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22" name="Table 22">
            <a:extLst>
              <a:ext uri="{FF2B5EF4-FFF2-40B4-BE49-F238E27FC236}">
                <a16:creationId xmlns:a16="http://schemas.microsoft.com/office/drawing/2014/main" id="{C30595BC-7259-4148-90CB-1385E6B39167}"/>
              </a:ext>
            </a:extLst>
          </p:cNvPr>
          <p:cNvGraphicFramePr>
            <a:graphicFrameLocks noGrp="1"/>
          </p:cNvGraphicFramePr>
          <p:nvPr>
            <p:ph sz="quarter" idx="35"/>
          </p:nvPr>
        </p:nvGraphicFramePr>
        <p:xfrm>
          <a:off x="6237288" y="2060575"/>
          <a:ext cx="5292724" cy="4389120"/>
        </p:xfrm>
        <a:graphic>
          <a:graphicData uri="http://schemas.openxmlformats.org/drawingml/2006/table">
            <a:tbl>
              <a:tblPr firstRow="1" bandRow="1">
                <a:tableStyleId>{46F890A9-2807-4EBB-B81D-B2AA78EC7F39}</a:tableStyleId>
              </a:tblPr>
              <a:tblGrid>
                <a:gridCol w="2646362">
                  <a:extLst>
                    <a:ext uri="{9D8B030D-6E8A-4147-A177-3AD203B41FA5}">
                      <a16:colId xmlns:a16="http://schemas.microsoft.com/office/drawing/2014/main" val="4279591134"/>
                    </a:ext>
                  </a:extLst>
                </a:gridCol>
                <a:gridCol w="2646362">
                  <a:extLst>
                    <a:ext uri="{9D8B030D-6E8A-4147-A177-3AD203B41FA5}">
                      <a16:colId xmlns:a16="http://schemas.microsoft.com/office/drawing/2014/main" val="890486833"/>
                    </a:ext>
                  </a:extLst>
                </a:gridCol>
              </a:tblGrid>
              <a:tr h="216000">
                <a:tc>
                  <a:txBody>
                    <a:bodyPr/>
                    <a:lstStyle/>
                    <a:p>
                      <a:r>
                        <a:rPr lang="nl-NL" sz="1000" dirty="0"/>
                        <a:t>Uitgeschreven</a:t>
                      </a:r>
                    </a:p>
                  </a:txBody>
                  <a:tcPr>
                    <a:lnB w="12700" cap="flat" cmpd="sng" algn="ctr">
                      <a:solidFill>
                        <a:schemeClr val="bg1">
                          <a:lumMod val="95000"/>
                        </a:schemeClr>
                      </a:solidFill>
                      <a:prstDash val="solid"/>
                      <a:round/>
                      <a:headEnd type="none" w="med" len="med"/>
                      <a:tailEnd type="none" w="med" len="med"/>
                    </a:lnB>
                    <a:solidFill>
                      <a:srgbClr val="408E94"/>
                    </a:solidFill>
                  </a:tcPr>
                </a:tc>
                <a:tc>
                  <a:txBody>
                    <a:bodyPr/>
                    <a:lstStyle/>
                    <a:p>
                      <a:r>
                        <a:rPr lang="nl-NL" sz="1000" dirty="0"/>
                        <a:t>Afkorting / voorbeeld</a:t>
                      </a:r>
                    </a:p>
                  </a:txBody>
                  <a:tcPr>
                    <a:lnB w="12700" cap="flat" cmpd="sng" algn="ctr">
                      <a:solidFill>
                        <a:schemeClr val="bg1">
                          <a:lumMod val="95000"/>
                        </a:schemeClr>
                      </a:solidFill>
                      <a:prstDash val="solid"/>
                      <a:round/>
                      <a:headEnd type="none" w="med" len="med"/>
                      <a:tailEnd type="none" w="med" len="med"/>
                    </a:lnB>
                    <a:solidFill>
                      <a:srgbClr val="408E94"/>
                    </a:solidFill>
                  </a:tcPr>
                </a:tc>
                <a:extLst>
                  <a:ext uri="{0D108BD9-81ED-4DB2-BD59-A6C34878D82A}">
                    <a16:rowId xmlns:a16="http://schemas.microsoft.com/office/drawing/2014/main" val="1483789760"/>
                  </a:ext>
                </a:extLst>
              </a:tr>
              <a:tr h="216000">
                <a:tc>
                  <a:txBody>
                    <a:bodyPr/>
                    <a:lstStyle/>
                    <a:p>
                      <a:r>
                        <a:rPr lang="nl-NL" sz="1000" dirty="0"/>
                        <a:t>Duizend (in subtitel)</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000" dirty="0"/>
                        <a:t>€ ‘000</a:t>
                      </a:r>
                      <a:endParaRPr lang="nl-NL" sz="1000" dirty="0">
                        <a:solidFill>
                          <a:srgbClr val="FF0000"/>
                        </a:solidFill>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0602543"/>
                  </a:ext>
                </a:extLst>
              </a:tr>
              <a:tr h="216000">
                <a:tc>
                  <a:txBody>
                    <a:bodyPr/>
                    <a:lstStyle/>
                    <a:p>
                      <a:r>
                        <a:rPr lang="nl-NL" sz="1000" dirty="0"/>
                        <a:t>Miljoen</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000" dirty="0"/>
                        <a:t>€ </a:t>
                      </a:r>
                      <a:r>
                        <a:rPr lang="nl-NL" sz="1000" dirty="0" err="1"/>
                        <a:t>mln</a:t>
                      </a:r>
                      <a:endParaRPr lang="nl-NL" sz="1000"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5751327"/>
                  </a:ext>
                </a:extLst>
              </a:tr>
              <a:tr h="216000">
                <a:tc>
                  <a:txBody>
                    <a:bodyPr/>
                    <a:lstStyle/>
                    <a:p>
                      <a:r>
                        <a:rPr lang="nl-NL" sz="1000" dirty="0"/>
                        <a:t>Miljard</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000" dirty="0"/>
                        <a:t>€ </a:t>
                      </a:r>
                      <a:r>
                        <a:rPr lang="nl-NL" sz="1000" dirty="0" err="1"/>
                        <a:t>mld</a:t>
                      </a:r>
                      <a:endParaRPr lang="nl-NL" sz="1000"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9759490"/>
                  </a:ext>
                </a:extLst>
              </a:tr>
              <a:tr h="216000">
                <a:tc>
                  <a:txBody>
                    <a:bodyPr/>
                    <a:lstStyle/>
                    <a:p>
                      <a:r>
                        <a:rPr lang="nl-NL" sz="1000" dirty="0"/>
                        <a:t>Primair onderwijs, voortgezet onderwijs, </a:t>
                      </a:r>
                      <a:r>
                        <a:rPr lang="nl-NL" sz="1000" dirty="0" err="1"/>
                        <a:t>etc</a:t>
                      </a:r>
                      <a:endParaRPr lang="nl-NL" sz="1000"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000" dirty="0"/>
                        <a:t>po, vo, mbo, wo</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5685192"/>
                  </a:ext>
                </a:extLst>
              </a:tr>
              <a:tr h="216000">
                <a:tc>
                  <a:txBody>
                    <a:bodyPr/>
                    <a:lstStyle/>
                    <a:p>
                      <a:r>
                        <a:rPr lang="nl-NL" sz="1000" dirty="0"/>
                        <a:t>Wet maatschappelijke ondersteuning</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nl-NL" sz="1000" dirty="0" err="1"/>
                        <a:t>Wmo</a:t>
                      </a:r>
                      <a:r>
                        <a:rPr lang="nl-NL" sz="1000" dirty="0"/>
                        <a:t> (let op hoofdlettergebruik!)</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0854845"/>
                  </a:ext>
                </a:extLst>
              </a:tr>
              <a:tr h="216000">
                <a:tc>
                  <a:txBody>
                    <a:bodyPr/>
                    <a:lstStyle/>
                    <a:p>
                      <a:endParaRPr lang="nl-NL" sz="1000"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nl-NL" sz="1000"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8219196"/>
                  </a:ext>
                </a:extLst>
              </a:tr>
              <a:tr h="216000">
                <a:tc>
                  <a:txBody>
                    <a:bodyPr/>
                    <a:lstStyle/>
                    <a:p>
                      <a:endParaRPr lang="nl-NL" sz="1000"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nl-NL" sz="1000"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1091518"/>
                  </a:ext>
                </a:extLst>
              </a:tr>
              <a:tr h="216000">
                <a:tc>
                  <a:txBody>
                    <a:bodyPr/>
                    <a:lstStyle/>
                    <a:p>
                      <a:endParaRPr lang="nl-NL" sz="1000" b="1"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nl-NL" sz="1000" b="1"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449789"/>
                  </a:ext>
                </a:extLst>
              </a:tr>
              <a:tr h="216000">
                <a:tc>
                  <a:txBody>
                    <a:bodyPr/>
                    <a:lstStyle/>
                    <a:p>
                      <a:endParaRPr lang="nl-NL" sz="1000" b="1"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nl-NL" sz="1000" b="1"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2634474"/>
                  </a:ext>
                </a:extLst>
              </a:tr>
              <a:tr h="216000">
                <a:tc>
                  <a:txBody>
                    <a:bodyPr/>
                    <a:lstStyle/>
                    <a:p>
                      <a:endParaRPr lang="nl-NL" sz="1000" b="1"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nl-NL" sz="1000" b="1"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5315018"/>
                  </a:ext>
                </a:extLst>
              </a:tr>
              <a:tr h="216000">
                <a:tc>
                  <a:txBody>
                    <a:bodyPr/>
                    <a:lstStyle/>
                    <a:p>
                      <a:endParaRPr lang="nl-NL" sz="1000" b="1"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nl-NL" sz="1000" b="1"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845036"/>
                  </a:ext>
                </a:extLst>
              </a:tr>
              <a:tr h="216000">
                <a:tc>
                  <a:txBody>
                    <a:bodyPr/>
                    <a:lstStyle/>
                    <a:p>
                      <a:endParaRPr lang="nl-NL" sz="1000" b="1"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nl-NL" sz="1000" b="1"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12076900"/>
                  </a:ext>
                </a:extLst>
              </a:tr>
              <a:tr h="216000">
                <a:tc>
                  <a:txBody>
                    <a:bodyPr/>
                    <a:lstStyle/>
                    <a:p>
                      <a:endParaRPr lang="nl-NL" sz="1000" b="1"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nl-NL" sz="1000" b="1"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0093908"/>
                  </a:ext>
                </a:extLst>
              </a:tr>
              <a:tr h="216000">
                <a:tc>
                  <a:txBody>
                    <a:bodyPr/>
                    <a:lstStyle/>
                    <a:p>
                      <a:endParaRPr lang="nl-NL" sz="1000" b="1"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nl-NL" sz="1000" b="1"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6751845"/>
                  </a:ext>
                </a:extLst>
              </a:tr>
              <a:tr h="216000">
                <a:tc>
                  <a:txBody>
                    <a:bodyPr/>
                    <a:lstStyle/>
                    <a:p>
                      <a:endParaRPr lang="nl-NL" sz="1000" b="1"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nl-NL" sz="1000" b="1"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431980"/>
                  </a:ext>
                </a:extLst>
              </a:tr>
              <a:tr h="216000">
                <a:tc>
                  <a:txBody>
                    <a:bodyPr/>
                    <a:lstStyle/>
                    <a:p>
                      <a:endParaRPr lang="nl-NL" sz="1000" b="1"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nl-NL" sz="1000" b="1"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553570"/>
                  </a:ext>
                </a:extLst>
              </a:tr>
              <a:tr h="216000">
                <a:tc>
                  <a:txBody>
                    <a:bodyPr/>
                    <a:lstStyle/>
                    <a:p>
                      <a:endParaRPr lang="nl-NL" sz="1000" b="1"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nl-NL" sz="1000" b="1"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5349957"/>
                  </a:ext>
                </a:extLst>
              </a:tr>
            </a:tbl>
          </a:graphicData>
        </a:graphic>
      </p:graphicFrame>
      <p:sp>
        <p:nvSpPr>
          <p:cNvPr id="24" name="Content Placeholder 23">
            <a:extLst>
              <a:ext uri="{FF2B5EF4-FFF2-40B4-BE49-F238E27FC236}">
                <a16:creationId xmlns:a16="http://schemas.microsoft.com/office/drawing/2014/main" id="{BA40253B-56A8-4D7C-9AB3-F08D9E91472F}"/>
              </a:ext>
            </a:extLst>
          </p:cNvPr>
          <p:cNvSpPr>
            <a:spLocks noGrp="1"/>
          </p:cNvSpPr>
          <p:nvPr>
            <p:ph sz="quarter" idx="31"/>
          </p:nvPr>
        </p:nvSpPr>
        <p:spPr>
          <a:xfrm>
            <a:off x="662780" y="1711003"/>
            <a:ext cx="5292000" cy="4632960"/>
          </a:xfrm>
        </p:spPr>
        <p:txBody>
          <a:bodyPr>
            <a:noAutofit/>
          </a:bodyPr>
          <a:lstStyle/>
          <a:p>
            <a:r>
              <a:rPr lang="nl-NL" sz="1200" dirty="0"/>
              <a:t>Algemeen</a:t>
            </a:r>
          </a:p>
          <a:p>
            <a:pPr lvl="1"/>
            <a:r>
              <a:rPr lang="nl-NL" sz="1200" dirty="0"/>
              <a:t>Lees altijd even na wat je geschreven hebt! Bij belangrijke documenten is </a:t>
            </a:r>
            <a:r>
              <a:rPr lang="nl-NL" sz="1200" dirty="0" err="1"/>
              <a:t>spell</a:t>
            </a:r>
            <a:r>
              <a:rPr lang="nl-NL" sz="1200" dirty="0"/>
              <a:t>-check door niet betrokken adviseur aan te raden.</a:t>
            </a:r>
          </a:p>
          <a:p>
            <a:pPr>
              <a:spcBef>
                <a:spcPts val="900"/>
              </a:spcBef>
            </a:pPr>
            <a:r>
              <a:rPr lang="nl-NL" sz="1200" dirty="0"/>
              <a:t>Cijfers</a:t>
            </a:r>
          </a:p>
          <a:p>
            <a:pPr lvl="1"/>
            <a:r>
              <a:rPr lang="nl-NL" sz="1200" dirty="0"/>
              <a:t>Schrijf cijfers één t/m twintig altijd uit, voor hogere cijfers gebruik je getallen.</a:t>
            </a:r>
          </a:p>
          <a:p>
            <a:pPr lvl="1"/>
            <a:r>
              <a:rPr lang="nl-NL" sz="1200" dirty="0"/>
              <a:t>Gebruik een komma voor de decimalen en een punt om duizendtallen te scheiden (bv. 130.000 en 0,52).</a:t>
            </a:r>
          </a:p>
          <a:p>
            <a:pPr lvl="1"/>
            <a:r>
              <a:rPr lang="nl-NL" sz="1200" dirty="0"/>
              <a:t>Probeer geen schijnnauwkeurigheid te geven (voorspelling van ca. €165k i.p.v. € 165.238,52).</a:t>
            </a:r>
          </a:p>
          <a:p>
            <a:pPr>
              <a:spcBef>
                <a:spcPts val="900"/>
              </a:spcBef>
            </a:pPr>
            <a:r>
              <a:rPr lang="nl-NL" sz="1200" dirty="0"/>
              <a:t>Teksten</a:t>
            </a:r>
          </a:p>
          <a:p>
            <a:pPr lvl="1"/>
            <a:r>
              <a:rPr lang="nl-NL" sz="1200" dirty="0"/>
              <a:t>Zorg dat elke titel of zin een lopende zin is met een werkwoord en een onderwerp, tenzij het een </a:t>
            </a:r>
            <a:r>
              <a:rPr lang="nl-NL" sz="1200" dirty="0" err="1"/>
              <a:t>bullet</a:t>
            </a:r>
            <a:r>
              <a:rPr lang="nl-NL" sz="1200" dirty="0"/>
              <a:t> is.</a:t>
            </a:r>
          </a:p>
          <a:p>
            <a:pPr>
              <a:spcBef>
                <a:spcPts val="900"/>
              </a:spcBef>
            </a:pPr>
            <a:r>
              <a:rPr lang="nl-NL" sz="1200" dirty="0" err="1"/>
              <a:t>Bullets</a:t>
            </a:r>
            <a:endParaRPr lang="nl-NL" sz="1200" dirty="0"/>
          </a:p>
          <a:p>
            <a:pPr lvl="1"/>
            <a:r>
              <a:rPr lang="nl-NL" sz="1200" dirty="0"/>
              <a:t>Eén </a:t>
            </a:r>
            <a:r>
              <a:rPr lang="nl-NL" sz="1200" dirty="0" err="1"/>
              <a:t>bullet</a:t>
            </a:r>
            <a:r>
              <a:rPr lang="nl-NL" sz="1200" dirty="0"/>
              <a:t> is geen </a:t>
            </a:r>
            <a:r>
              <a:rPr lang="nl-NL" sz="1200" dirty="0" err="1"/>
              <a:t>bullet</a:t>
            </a:r>
            <a:r>
              <a:rPr lang="nl-NL" sz="1200" dirty="0"/>
              <a:t> (als opsomming één </a:t>
            </a:r>
            <a:r>
              <a:rPr lang="nl-NL" sz="1200" dirty="0" err="1"/>
              <a:t>bullet</a:t>
            </a:r>
            <a:r>
              <a:rPr lang="nl-NL" sz="1200" dirty="0"/>
              <a:t> </a:t>
            </a:r>
            <a:r>
              <a:rPr lang="nl-NL" sz="1200" dirty="0">
                <a:sym typeface="Wingdings" panose="05000000000000000000" pitchFamily="2" charset="2"/>
              </a:rPr>
              <a:t> tekst).</a:t>
            </a:r>
            <a:endParaRPr lang="nl-NL" sz="1200" dirty="0"/>
          </a:p>
          <a:p>
            <a:pPr lvl="1"/>
            <a:r>
              <a:rPr lang="nl-NL" sz="1200" dirty="0"/>
              <a:t>Probeer binnen een opsomming zo veel mogelijk consequent te zijn met de woorden waarmee je de </a:t>
            </a:r>
            <a:r>
              <a:rPr lang="nl-NL" sz="1200" dirty="0" err="1"/>
              <a:t>bullets</a:t>
            </a:r>
            <a:r>
              <a:rPr lang="nl-NL" sz="1200" dirty="0"/>
              <a:t> begint (bijv. altijd met een werkwoord).</a:t>
            </a:r>
          </a:p>
          <a:p>
            <a:pPr lvl="1"/>
            <a:r>
              <a:rPr lang="nl-NL" sz="1200" dirty="0"/>
              <a:t>Zet achter een </a:t>
            </a:r>
            <a:r>
              <a:rPr lang="nl-NL" sz="1200" dirty="0" err="1"/>
              <a:t>bullet</a:t>
            </a:r>
            <a:r>
              <a:rPr lang="nl-NL" sz="1200" dirty="0"/>
              <a:t> </a:t>
            </a:r>
            <a:r>
              <a:rPr lang="nl-NL" sz="1200" dirty="0" err="1"/>
              <a:t>wèl</a:t>
            </a:r>
            <a:r>
              <a:rPr lang="nl-NL" sz="1200" dirty="0"/>
              <a:t> een punt.</a:t>
            </a:r>
            <a:br>
              <a:rPr lang="nl-NL" sz="1200" dirty="0"/>
            </a:br>
            <a:endParaRPr lang="nl-NL" sz="1200" dirty="0"/>
          </a:p>
          <a:p>
            <a:endParaRPr lang="nl-NL" sz="1200" dirty="0"/>
          </a:p>
        </p:txBody>
      </p:sp>
      <p:sp>
        <p:nvSpPr>
          <p:cNvPr id="15" name="Text Placeholder 14">
            <a:extLst>
              <a:ext uri="{FF2B5EF4-FFF2-40B4-BE49-F238E27FC236}">
                <a16:creationId xmlns:a16="http://schemas.microsoft.com/office/drawing/2014/main" id="{A939DE5E-B1C3-49BC-8B33-553737ECA1EC}"/>
              </a:ext>
            </a:extLst>
          </p:cNvPr>
          <p:cNvSpPr>
            <a:spLocks noGrp="1"/>
          </p:cNvSpPr>
          <p:nvPr>
            <p:ph type="body" sz="quarter" idx="34"/>
          </p:nvPr>
        </p:nvSpPr>
        <p:spPr/>
        <p:txBody>
          <a:bodyPr/>
          <a:lstStyle/>
          <a:p>
            <a:r>
              <a:rPr lang="nl-NL" dirty="0"/>
              <a:t>Afkortingen</a:t>
            </a:r>
          </a:p>
        </p:txBody>
      </p:sp>
      <p:sp>
        <p:nvSpPr>
          <p:cNvPr id="7" name="Text Placeholder 6">
            <a:extLst>
              <a:ext uri="{FF2B5EF4-FFF2-40B4-BE49-F238E27FC236}">
                <a16:creationId xmlns:a16="http://schemas.microsoft.com/office/drawing/2014/main" id="{C4750AF1-6CB2-4556-B572-3DA675E75F05}"/>
              </a:ext>
            </a:extLst>
          </p:cNvPr>
          <p:cNvSpPr>
            <a:spLocks noGrp="1"/>
          </p:cNvSpPr>
          <p:nvPr>
            <p:ph type="body" sz="quarter" idx="20"/>
          </p:nvPr>
        </p:nvSpPr>
        <p:spPr/>
        <p:txBody>
          <a:bodyPr/>
          <a:lstStyle/>
          <a:p>
            <a:r>
              <a:rPr lang="nl-NL" dirty="0"/>
              <a:t>Afkortingen</a:t>
            </a:r>
          </a:p>
        </p:txBody>
      </p:sp>
      <p:sp>
        <p:nvSpPr>
          <p:cNvPr id="5" name="Footer Placeholder 4">
            <a:extLst>
              <a:ext uri="{FF2B5EF4-FFF2-40B4-BE49-F238E27FC236}">
                <a16:creationId xmlns:a16="http://schemas.microsoft.com/office/drawing/2014/main" id="{58314385-587C-4373-9D54-22E756B9167F}"/>
              </a:ext>
            </a:extLst>
          </p:cNvPr>
          <p:cNvSpPr>
            <a:spLocks noGrp="1"/>
          </p:cNvSpPr>
          <p:nvPr>
            <p:ph type="ftr" sz="quarter" idx="3"/>
          </p:nvPr>
        </p:nvSpPr>
        <p:spPr/>
        <p:txBody>
          <a:bodyPr/>
          <a:lstStyle/>
          <a:p>
            <a:r>
              <a:rPr lang="nl-NL"/>
              <a:t>Bron: </a:t>
            </a:r>
            <a:endParaRPr lang="nl-NL" dirty="0"/>
          </a:p>
        </p:txBody>
      </p:sp>
      <p:sp>
        <p:nvSpPr>
          <p:cNvPr id="4" name="Slide Number Placeholder 3">
            <a:extLst>
              <a:ext uri="{FF2B5EF4-FFF2-40B4-BE49-F238E27FC236}">
                <a16:creationId xmlns:a16="http://schemas.microsoft.com/office/drawing/2014/main" id="{E5B7567D-8DCC-4CF1-AB99-CC0173E40118}"/>
              </a:ext>
            </a:extLst>
          </p:cNvPr>
          <p:cNvSpPr>
            <a:spLocks noGrp="1"/>
          </p:cNvSpPr>
          <p:nvPr>
            <p:ph type="sldNum" sz="quarter" idx="12"/>
          </p:nvPr>
        </p:nvSpPr>
        <p:spPr/>
        <p:txBody>
          <a:bodyPr/>
          <a:lstStyle/>
          <a:p>
            <a:fld id="{992CD0B2-8AB2-4C6C-8876-E15753662C9B}" type="slidenum">
              <a:rPr lang="nl-NL" noProof="0" smtClean="0"/>
              <a:pPr/>
              <a:t>14</a:t>
            </a:fld>
            <a:endParaRPr lang="nl-NL" noProof="0" dirty="0"/>
          </a:p>
        </p:txBody>
      </p:sp>
      <p:sp>
        <p:nvSpPr>
          <p:cNvPr id="21" name="Text Placeholder 20">
            <a:extLst>
              <a:ext uri="{FF2B5EF4-FFF2-40B4-BE49-F238E27FC236}">
                <a16:creationId xmlns:a16="http://schemas.microsoft.com/office/drawing/2014/main" id="{148EB6D7-CBA9-437A-BDAB-9BABBF584A36}"/>
              </a:ext>
            </a:extLst>
          </p:cNvPr>
          <p:cNvSpPr>
            <a:spLocks noGrp="1"/>
          </p:cNvSpPr>
          <p:nvPr>
            <p:ph type="body" sz="quarter" idx="14"/>
          </p:nvPr>
        </p:nvSpPr>
        <p:spPr/>
        <p:txBody>
          <a:bodyPr/>
          <a:lstStyle/>
          <a:p>
            <a:endParaRPr lang="nl-NL"/>
          </a:p>
        </p:txBody>
      </p:sp>
      <p:sp>
        <p:nvSpPr>
          <p:cNvPr id="3" name="Title 2">
            <a:extLst>
              <a:ext uri="{FF2B5EF4-FFF2-40B4-BE49-F238E27FC236}">
                <a16:creationId xmlns:a16="http://schemas.microsoft.com/office/drawing/2014/main" id="{E4AD90D4-9B34-48C7-9103-05473FC92A1F}"/>
              </a:ext>
            </a:extLst>
          </p:cNvPr>
          <p:cNvSpPr>
            <a:spLocks noGrp="1"/>
          </p:cNvSpPr>
          <p:nvPr>
            <p:ph type="title"/>
          </p:nvPr>
        </p:nvSpPr>
        <p:spPr/>
        <p:txBody>
          <a:bodyPr vert="horz" lIns="0" tIns="0" rIns="0" bIns="0" rtlCol="0" anchor="b">
            <a:noAutofit/>
          </a:bodyPr>
          <a:lstStyle/>
          <a:p>
            <a:r>
              <a:rPr lang="nl-NL" dirty="0"/>
              <a:t>Schrijfstijl</a:t>
            </a:r>
          </a:p>
        </p:txBody>
      </p:sp>
      <p:sp>
        <p:nvSpPr>
          <p:cNvPr id="11" name="Rectangle 10">
            <a:extLst>
              <a:ext uri="{FF2B5EF4-FFF2-40B4-BE49-F238E27FC236}">
                <a16:creationId xmlns:a16="http://schemas.microsoft.com/office/drawing/2014/main" id="{F7EA06BB-72E3-45BE-ABAA-65312F262828}"/>
              </a:ext>
            </a:extLst>
          </p:cNvPr>
          <p:cNvSpPr/>
          <p:nvPr/>
        </p:nvSpPr>
        <p:spPr>
          <a:xfrm>
            <a:off x="658814" y="0"/>
            <a:ext cx="277500" cy="257175"/>
          </a:xfrm>
          <a:prstGeom prst="rect">
            <a:avLst/>
          </a:prstGeom>
          <a:solidFill>
            <a:srgbClr val="808080"/>
          </a:solidFill>
        </p:spPr>
        <p:txBody>
          <a:bodyPr lIns="72000" rIns="72000" rtlCol="0" anchor="t">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207C4A90-3AA6-472F-BE6E-098B4C8F2FF1}"/>
              </a:ext>
            </a:extLst>
          </p:cNvPr>
          <p:cNvSpPr/>
          <p:nvPr/>
        </p:nvSpPr>
        <p:spPr>
          <a:xfrm>
            <a:off x="936314" y="0"/>
            <a:ext cx="3026086" cy="266699"/>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lIns="72000" rIns="72000" rtlCol="0" anchor="ctr">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Inhoud van een slide - Teksten</a:t>
            </a:r>
          </a:p>
        </p:txBody>
      </p:sp>
      <p:sp>
        <p:nvSpPr>
          <p:cNvPr id="17" name="Content Placeholder 14">
            <a:extLst>
              <a:ext uri="{FF2B5EF4-FFF2-40B4-BE49-F238E27FC236}">
                <a16:creationId xmlns:a16="http://schemas.microsoft.com/office/drawing/2014/main" id="{702B63D1-FB9D-4E35-91F2-F23E30DE96F8}"/>
              </a:ext>
            </a:extLst>
          </p:cNvPr>
          <p:cNvSpPr txBox="1">
            <a:spLocks/>
          </p:cNvSpPr>
          <p:nvPr/>
        </p:nvSpPr>
        <p:spPr>
          <a:xfrm>
            <a:off x="8933547" y="1947863"/>
            <a:ext cx="2520000" cy="43608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chemeClr val="tx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chemeClr val="tx1"/>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chemeClr val="tx1"/>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chemeClr val="tx1"/>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chemeClr val="tx1"/>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a:p>
        </p:txBody>
      </p:sp>
      <p:sp>
        <p:nvSpPr>
          <p:cNvPr id="23" name="Speech Bubble: Rectangle 22">
            <a:extLst>
              <a:ext uri="{FF2B5EF4-FFF2-40B4-BE49-F238E27FC236}">
                <a16:creationId xmlns:a16="http://schemas.microsoft.com/office/drawing/2014/main" id="{C3F1CB87-D0D6-4BDB-98EE-34B9A1D677D9}"/>
              </a:ext>
            </a:extLst>
          </p:cNvPr>
          <p:cNvSpPr/>
          <p:nvPr/>
        </p:nvSpPr>
        <p:spPr>
          <a:xfrm>
            <a:off x="9555731" y="2451985"/>
            <a:ext cx="2363034" cy="422405"/>
          </a:xfrm>
          <a:prstGeom prst="wedgeRectCallout">
            <a:avLst>
              <a:gd name="adj1" fmla="val -57400"/>
              <a:gd name="adj2" fmla="val -15212"/>
            </a:avLst>
          </a:prstGeom>
          <a:solidFill>
            <a:schemeClr val="bg1">
              <a:lumMod val="95000"/>
            </a:schemeClr>
          </a:solidFill>
          <a:ln w="9525">
            <a:solidFill>
              <a:schemeClr val="bg1">
                <a:lumMod val="85000"/>
              </a:schemeClr>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marL="0" indent="0">
              <a:spcBef>
                <a:spcPts val="750"/>
              </a:spcBef>
              <a:buClr>
                <a:schemeClr val="tx2"/>
              </a:buClr>
              <a:buNone/>
            </a:pPr>
            <a:r>
              <a:rPr lang="nl-NL" sz="1000" dirty="0"/>
              <a:t>Er zit altijd een spatie tussen euroteken, cijfer en eenheid: bijv. € 500 </a:t>
            </a:r>
            <a:r>
              <a:rPr lang="nl-NL" sz="1000" dirty="0" err="1"/>
              <a:t>mln</a:t>
            </a:r>
            <a:endParaRPr lang="nl-NL" sz="1000" dirty="0"/>
          </a:p>
        </p:txBody>
      </p:sp>
    </p:spTree>
    <p:extLst>
      <p:ext uri="{BB962C8B-B14F-4D97-AF65-F5344CB8AC3E}">
        <p14:creationId xmlns:p14="http://schemas.microsoft.com/office/powerpoint/2010/main" val="13622553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A2EE6D5-395F-4CC2-87F1-15796C2BBA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11" name="Object 10" hidden="1">
                        <a:extLst>
                          <a:ext uri="{FF2B5EF4-FFF2-40B4-BE49-F238E27FC236}">
                            <a16:creationId xmlns:a16="http://schemas.microsoft.com/office/drawing/2014/main" id="{2A2EE6D5-395F-4CC2-87F1-15796C2BBA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431243CD-ACAA-4ED2-B465-517229F83D1B}"/>
              </a:ext>
            </a:extLst>
          </p:cNvPr>
          <p:cNvSpPr>
            <a:spLocks noGrp="1"/>
          </p:cNvSpPr>
          <p:nvPr>
            <p:ph type="body" sz="quarter" idx="20"/>
          </p:nvPr>
        </p:nvSpPr>
        <p:spPr/>
        <p:txBody>
          <a:bodyPr/>
          <a:lstStyle/>
          <a:p>
            <a:endParaRPr lang="nl-NL"/>
          </a:p>
        </p:txBody>
      </p:sp>
      <p:sp>
        <p:nvSpPr>
          <p:cNvPr id="7" name="Footer Placeholder 6">
            <a:extLst>
              <a:ext uri="{FF2B5EF4-FFF2-40B4-BE49-F238E27FC236}">
                <a16:creationId xmlns:a16="http://schemas.microsoft.com/office/drawing/2014/main" id="{27BBF056-9D1F-47E2-90EE-CE2458939617}"/>
              </a:ext>
            </a:extLst>
          </p:cNvPr>
          <p:cNvSpPr>
            <a:spLocks noGrp="1"/>
          </p:cNvSpPr>
          <p:nvPr>
            <p:ph type="ftr" sz="quarter" idx="3"/>
          </p:nvPr>
        </p:nvSpPr>
        <p:spPr/>
        <p:txBody>
          <a:bodyPr/>
          <a:lstStyle/>
          <a:p>
            <a:r>
              <a:rPr lang="en-GB"/>
              <a:t>Bron: </a:t>
            </a:r>
            <a:endParaRPr lang="en-GB" dirty="0"/>
          </a:p>
        </p:txBody>
      </p:sp>
      <p:sp>
        <p:nvSpPr>
          <p:cNvPr id="6" name="Slide Number Placeholder 5">
            <a:extLst>
              <a:ext uri="{FF2B5EF4-FFF2-40B4-BE49-F238E27FC236}">
                <a16:creationId xmlns:a16="http://schemas.microsoft.com/office/drawing/2014/main" id="{A12E6F59-D957-4948-A58A-87B4FE08FBF1}"/>
              </a:ext>
            </a:extLst>
          </p:cNvPr>
          <p:cNvSpPr>
            <a:spLocks noGrp="1"/>
          </p:cNvSpPr>
          <p:nvPr>
            <p:ph type="sldNum" sz="quarter" idx="12"/>
          </p:nvPr>
        </p:nvSpPr>
        <p:spPr/>
        <p:txBody>
          <a:bodyPr/>
          <a:lstStyle/>
          <a:p>
            <a:fld id="{992CD0B2-8AB2-4C6C-8876-E15753662C9B}" type="slidenum">
              <a:rPr lang="nl-NL" noProof="0" smtClean="0"/>
              <a:pPr/>
              <a:t>15</a:t>
            </a:fld>
            <a:endParaRPr lang="nl-NL" noProof="0" dirty="0"/>
          </a:p>
        </p:txBody>
      </p:sp>
      <p:sp>
        <p:nvSpPr>
          <p:cNvPr id="18" name="Text Placeholder 17">
            <a:extLst>
              <a:ext uri="{FF2B5EF4-FFF2-40B4-BE49-F238E27FC236}">
                <a16:creationId xmlns:a16="http://schemas.microsoft.com/office/drawing/2014/main" id="{B077CC67-B1F7-49AC-A9ED-44BD4E310F98}"/>
              </a:ext>
            </a:extLst>
          </p:cNvPr>
          <p:cNvSpPr>
            <a:spLocks noGrp="1"/>
          </p:cNvSpPr>
          <p:nvPr>
            <p:ph type="body" sz="quarter" idx="14"/>
          </p:nvPr>
        </p:nvSpPr>
        <p:spPr/>
        <p:txBody>
          <a:bodyPr/>
          <a:lstStyle/>
          <a:p>
            <a:r>
              <a:rPr lang="nl-NL" dirty="0"/>
              <a:t>Voorbeelden van correcte subtitels</a:t>
            </a:r>
          </a:p>
        </p:txBody>
      </p:sp>
      <p:sp>
        <p:nvSpPr>
          <p:cNvPr id="5" name="Title 4">
            <a:extLst>
              <a:ext uri="{FF2B5EF4-FFF2-40B4-BE49-F238E27FC236}">
                <a16:creationId xmlns:a16="http://schemas.microsoft.com/office/drawing/2014/main" id="{7693FD8D-99E6-4781-9937-70EB41316F41}"/>
              </a:ext>
            </a:extLst>
          </p:cNvPr>
          <p:cNvSpPr>
            <a:spLocks noGrp="1"/>
          </p:cNvSpPr>
          <p:nvPr>
            <p:ph type="title"/>
          </p:nvPr>
        </p:nvSpPr>
        <p:spPr/>
        <p:txBody>
          <a:bodyPr vert="horz"/>
          <a:lstStyle/>
          <a:p>
            <a:r>
              <a:rPr lang="nl-NL" dirty="0"/>
              <a:t>Er zijn een aantal specifieke afspraken over subtitels en eenheden</a:t>
            </a:r>
          </a:p>
        </p:txBody>
      </p:sp>
      <p:sp>
        <p:nvSpPr>
          <p:cNvPr id="24" name="Rectangle 23">
            <a:extLst>
              <a:ext uri="{FF2B5EF4-FFF2-40B4-BE49-F238E27FC236}">
                <a16:creationId xmlns:a16="http://schemas.microsoft.com/office/drawing/2014/main" id="{824F5CD9-8EEE-4A86-B027-8DFFAC1CBE31}"/>
              </a:ext>
            </a:extLst>
          </p:cNvPr>
          <p:cNvSpPr/>
          <p:nvPr/>
        </p:nvSpPr>
        <p:spPr>
          <a:xfrm>
            <a:off x="658814" y="0"/>
            <a:ext cx="277500" cy="257175"/>
          </a:xfrm>
          <a:prstGeom prst="rect">
            <a:avLst/>
          </a:prstGeom>
          <a:solidFill>
            <a:srgbClr val="808080"/>
          </a:solidFill>
        </p:spPr>
        <p:txBody>
          <a:bodyPr lIns="72000" rIns="72000" rtlCol="0" anchor="t">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8A8D1A13-8BFB-4733-A860-26D9F8967CC9}"/>
              </a:ext>
            </a:extLst>
          </p:cNvPr>
          <p:cNvSpPr/>
          <p:nvPr/>
        </p:nvSpPr>
        <p:spPr>
          <a:xfrm>
            <a:off x="936314" y="0"/>
            <a:ext cx="3401346" cy="266699"/>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lIns="72000" rIns="72000" rtlCol="0" anchor="ctr">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Inhoud van een slide - Subtitels</a:t>
            </a:r>
          </a:p>
        </p:txBody>
      </p:sp>
      <p:sp>
        <p:nvSpPr>
          <p:cNvPr id="30" name="Content Placeholder 20">
            <a:extLst>
              <a:ext uri="{FF2B5EF4-FFF2-40B4-BE49-F238E27FC236}">
                <a16:creationId xmlns:a16="http://schemas.microsoft.com/office/drawing/2014/main" id="{734FA17B-1750-4EC5-A78D-A3BDE451F5D8}"/>
              </a:ext>
            </a:extLst>
          </p:cNvPr>
          <p:cNvSpPr txBox="1">
            <a:spLocks/>
          </p:cNvSpPr>
          <p:nvPr/>
        </p:nvSpPr>
        <p:spPr>
          <a:xfrm>
            <a:off x="5875759" y="2156110"/>
            <a:ext cx="5292000" cy="498891"/>
          </a:xfrm>
          <a:prstGeom prst="rect">
            <a:avLst/>
          </a:prstGeom>
          <a:ln w="19050">
            <a:noFill/>
          </a:ln>
          <a:extLst>
            <a:ext uri="{91240B29-F687-4F45-9708-019B960494DF}">
              <a14:hiddenLine xmlns:a14="http://schemas.microsoft.com/office/drawing/2010/main" w="19050">
                <a:solidFill>
                  <a:schemeClr val="accent1"/>
                </a:solidFill>
              </a14:hiddenLine>
            </a:ext>
          </a:extLst>
        </p:spPr>
        <p:txBody>
          <a:bodyPr vert="horz" lIns="72000" tIns="72000" rIns="72000" bIns="72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smtClean="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lang="nl-NL" sz="1400" kern="1200" dirty="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lvl="1" indent="0" fontAlgn="auto">
              <a:spcAft>
                <a:spcPts val="0"/>
              </a:spcAft>
              <a:buNone/>
            </a:pPr>
            <a:r>
              <a:rPr lang="nl-NL" sz="1200" b="1" dirty="0"/>
              <a:t>Vergelijking uitgaven leerlingenvervoer, alle Nederlandse gemeenten, 2019</a:t>
            </a:r>
            <a:br>
              <a:rPr lang="nl-NL" sz="1200" dirty="0"/>
            </a:br>
            <a:r>
              <a:rPr lang="nl-NL" sz="1200" dirty="0"/>
              <a:t>€ ‘000 / jeugdige</a:t>
            </a:r>
          </a:p>
        </p:txBody>
      </p:sp>
      <p:sp>
        <p:nvSpPr>
          <p:cNvPr id="31" name="Content Placeholder 20">
            <a:extLst>
              <a:ext uri="{FF2B5EF4-FFF2-40B4-BE49-F238E27FC236}">
                <a16:creationId xmlns:a16="http://schemas.microsoft.com/office/drawing/2014/main" id="{9DE0285F-1CCF-442A-8F0E-685F417AA3CC}"/>
              </a:ext>
            </a:extLst>
          </p:cNvPr>
          <p:cNvSpPr txBox="1">
            <a:spLocks/>
          </p:cNvSpPr>
          <p:nvPr/>
        </p:nvSpPr>
        <p:spPr>
          <a:xfrm>
            <a:off x="5875759" y="2692570"/>
            <a:ext cx="5292000" cy="498891"/>
          </a:xfrm>
          <a:prstGeom prst="rect">
            <a:avLst/>
          </a:prstGeom>
          <a:ln w="19050">
            <a:noFill/>
          </a:ln>
          <a:extLst>
            <a:ext uri="{91240B29-F687-4F45-9708-019B960494DF}">
              <a14:hiddenLine xmlns:a14="http://schemas.microsoft.com/office/drawing/2010/main" w="19050">
                <a:solidFill>
                  <a:schemeClr val="accent1"/>
                </a:solidFill>
              </a14:hiddenLine>
            </a:ext>
          </a:extLst>
        </p:spPr>
        <p:txBody>
          <a:bodyPr vert="horz" lIns="72000" tIns="72000" rIns="72000" bIns="72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smtClean="0">
                <a:solidFill>
                  <a:srgbClr val="000000"/>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lang="nl-NL" sz="1400" kern="1200" dirty="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lvl="1" indent="0" fontAlgn="auto">
              <a:spcAft>
                <a:spcPts val="0"/>
              </a:spcAft>
              <a:buNone/>
            </a:pPr>
            <a:r>
              <a:rPr lang="nl-NL" sz="1200" b="1" dirty="0"/>
              <a:t>Kostenontwikkeling onderhoud wegen, G4 gemeenten, 2018-2020</a:t>
            </a:r>
            <a:br>
              <a:rPr lang="nl-NL" sz="1200" dirty="0"/>
            </a:br>
            <a:r>
              <a:rPr lang="nl-NL" sz="1200" dirty="0"/>
              <a:t>€ </a:t>
            </a:r>
            <a:r>
              <a:rPr lang="nl-NL" sz="1200" dirty="0" err="1"/>
              <a:t>mln</a:t>
            </a:r>
            <a:r>
              <a:rPr lang="nl-NL" sz="1200" dirty="0"/>
              <a:t>, % groei 2018-2020</a:t>
            </a:r>
          </a:p>
        </p:txBody>
      </p:sp>
      <p:graphicFrame>
        <p:nvGraphicFramePr>
          <p:cNvPr id="34" name="Table 10">
            <a:extLst>
              <a:ext uri="{FF2B5EF4-FFF2-40B4-BE49-F238E27FC236}">
                <a16:creationId xmlns:a16="http://schemas.microsoft.com/office/drawing/2014/main" id="{BB507ED0-9767-4B89-B0A6-1EEECCE288D8}"/>
              </a:ext>
            </a:extLst>
          </p:cNvPr>
          <p:cNvGraphicFramePr>
            <a:graphicFrameLocks/>
          </p:cNvGraphicFramePr>
          <p:nvPr/>
        </p:nvGraphicFramePr>
        <p:xfrm>
          <a:off x="5891959" y="4401751"/>
          <a:ext cx="4256559" cy="1652412"/>
        </p:xfrm>
        <a:graphic>
          <a:graphicData uri="http://schemas.openxmlformats.org/drawingml/2006/table">
            <a:tbl>
              <a:tblPr firstRow="1" bandRow="1">
                <a:tableStyleId>{5C22544A-7EE6-4342-B048-85BDC9FD1C3A}</a:tableStyleId>
              </a:tblPr>
              <a:tblGrid>
                <a:gridCol w="939342">
                  <a:extLst>
                    <a:ext uri="{9D8B030D-6E8A-4147-A177-3AD203B41FA5}">
                      <a16:colId xmlns:a16="http://schemas.microsoft.com/office/drawing/2014/main" val="1808381628"/>
                    </a:ext>
                  </a:extLst>
                </a:gridCol>
                <a:gridCol w="558307">
                  <a:extLst>
                    <a:ext uri="{9D8B030D-6E8A-4147-A177-3AD203B41FA5}">
                      <a16:colId xmlns:a16="http://schemas.microsoft.com/office/drawing/2014/main" val="3938218533"/>
                    </a:ext>
                  </a:extLst>
                </a:gridCol>
                <a:gridCol w="551782">
                  <a:extLst>
                    <a:ext uri="{9D8B030D-6E8A-4147-A177-3AD203B41FA5}">
                      <a16:colId xmlns:a16="http://schemas.microsoft.com/office/drawing/2014/main" val="177527200"/>
                    </a:ext>
                  </a:extLst>
                </a:gridCol>
                <a:gridCol w="551782">
                  <a:extLst>
                    <a:ext uri="{9D8B030D-6E8A-4147-A177-3AD203B41FA5}">
                      <a16:colId xmlns:a16="http://schemas.microsoft.com/office/drawing/2014/main" val="2860982447"/>
                    </a:ext>
                  </a:extLst>
                </a:gridCol>
                <a:gridCol w="551782">
                  <a:extLst>
                    <a:ext uri="{9D8B030D-6E8A-4147-A177-3AD203B41FA5}">
                      <a16:colId xmlns:a16="http://schemas.microsoft.com/office/drawing/2014/main" val="12283374"/>
                    </a:ext>
                  </a:extLst>
                </a:gridCol>
                <a:gridCol w="551782">
                  <a:extLst>
                    <a:ext uri="{9D8B030D-6E8A-4147-A177-3AD203B41FA5}">
                      <a16:colId xmlns:a16="http://schemas.microsoft.com/office/drawing/2014/main" val="500008405"/>
                    </a:ext>
                  </a:extLst>
                </a:gridCol>
                <a:gridCol w="551782">
                  <a:extLst>
                    <a:ext uri="{9D8B030D-6E8A-4147-A177-3AD203B41FA5}">
                      <a16:colId xmlns:a16="http://schemas.microsoft.com/office/drawing/2014/main" val="2136772964"/>
                    </a:ext>
                  </a:extLst>
                </a:gridCol>
              </a:tblGrid>
              <a:tr h="240463">
                <a:tc>
                  <a:txBody>
                    <a:bodyPr/>
                    <a:lstStyle/>
                    <a:p>
                      <a:endParaRPr lang="nl-NL" sz="1000" dirty="0">
                        <a:solidFill>
                          <a:srgbClr val="000000"/>
                        </a:solidFill>
                      </a:endParaRPr>
                    </a:p>
                  </a:txBody>
                  <a:tcPr marL="123002" marR="123002" marT="61501" marB="61501">
                    <a:lnR w="12700" cap="flat" cmpd="sng" algn="ctr">
                      <a:noFill/>
                      <a:prstDash val="solid"/>
                      <a:round/>
                      <a:headEnd type="none" w="med" len="med"/>
                      <a:tailEnd type="none" w="med" len="med"/>
                    </a:lnR>
                    <a:noFill/>
                  </a:tcPr>
                </a:tc>
                <a:tc gridSpan="3">
                  <a:txBody>
                    <a:bodyPr/>
                    <a:lstStyle/>
                    <a:p>
                      <a:pPr algn="l"/>
                      <a:r>
                        <a:rPr lang="nl-NL" sz="1000" dirty="0">
                          <a:solidFill>
                            <a:srgbClr val="000000"/>
                          </a:solidFill>
                        </a:rPr>
                        <a:t>Totaal inkomsten </a:t>
                      </a:r>
                      <a:r>
                        <a:rPr lang="nl-NL" sz="1000" b="0" dirty="0">
                          <a:solidFill>
                            <a:srgbClr val="000000"/>
                          </a:solidFill>
                        </a:rPr>
                        <a:t>(€ </a:t>
                      </a:r>
                      <a:r>
                        <a:rPr lang="nl-NL" sz="1000" b="0" dirty="0" err="1">
                          <a:solidFill>
                            <a:srgbClr val="000000"/>
                          </a:solidFill>
                        </a:rPr>
                        <a:t>mln</a:t>
                      </a:r>
                      <a:r>
                        <a:rPr lang="nl-NL" sz="1000" b="0" dirty="0">
                          <a:solidFill>
                            <a:srgbClr val="000000"/>
                          </a:solidFill>
                        </a:rPr>
                        <a:t>)</a:t>
                      </a:r>
                    </a:p>
                  </a:txBody>
                  <a:tcPr marL="123002" marR="123002" marT="61501" marB="61501">
                    <a:lnL w="1270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B w="12700" cap="flat" cmpd="sng" algn="ctr">
                      <a:noFill/>
                      <a:prstDash val="solid"/>
                      <a:round/>
                      <a:headEnd type="none" w="med" len="med"/>
                      <a:tailEnd type="none" w="med" len="med"/>
                    </a:lnB>
                    <a:noFill/>
                  </a:tcPr>
                </a:tc>
                <a:tc hMerge="1">
                  <a:txBody>
                    <a:bodyPr/>
                    <a:lstStyle/>
                    <a:p>
                      <a:pPr algn="ctr"/>
                      <a:endParaRPr lang="nl-NL" sz="1000" dirty="0">
                        <a:solidFill>
                          <a:srgbClr val="000000"/>
                        </a:solidFill>
                      </a:endParaRPr>
                    </a:p>
                  </a:txBody>
                  <a:tcPr>
                    <a:lnB w="6350" cap="flat" cmpd="sng" algn="ctr">
                      <a:solidFill>
                        <a:schemeClr val="bg1">
                          <a:lumMod val="85000"/>
                        </a:schemeClr>
                      </a:solidFill>
                      <a:prstDash val="solid"/>
                      <a:round/>
                      <a:headEnd type="none" w="med" len="med"/>
                      <a:tailEnd type="none" w="med" len="med"/>
                    </a:lnB>
                    <a:noFill/>
                  </a:tcPr>
                </a:tc>
                <a:tc hMerge="1">
                  <a:txBody>
                    <a:bodyPr/>
                    <a:lstStyle/>
                    <a:p>
                      <a:pPr algn="ctr"/>
                      <a:endParaRPr lang="nl-NL" sz="1000" dirty="0">
                        <a:solidFill>
                          <a:srgbClr val="000000"/>
                        </a:solidFill>
                      </a:endParaRPr>
                    </a:p>
                  </a:txBody>
                  <a:tcPr>
                    <a:lnB w="6350" cap="flat" cmpd="sng" algn="ctr">
                      <a:solidFill>
                        <a:schemeClr val="bg1">
                          <a:lumMod val="85000"/>
                        </a:schemeClr>
                      </a:solidFill>
                      <a:prstDash val="solid"/>
                      <a:round/>
                      <a:headEnd type="none" w="med" len="med"/>
                      <a:tailEnd type="none" w="med" len="med"/>
                    </a:lnB>
                    <a:noFill/>
                  </a:tcPr>
                </a:tc>
                <a:tc gridSpan="3">
                  <a:txBody>
                    <a:bodyPr/>
                    <a:lstStyle/>
                    <a:p>
                      <a:pPr algn="l"/>
                      <a:r>
                        <a:rPr lang="nl-NL" sz="1000" dirty="0">
                          <a:solidFill>
                            <a:srgbClr val="000000"/>
                          </a:solidFill>
                        </a:rPr>
                        <a:t>Per leerling </a:t>
                      </a:r>
                      <a:r>
                        <a:rPr lang="nl-NL" sz="1000" b="0" dirty="0">
                          <a:solidFill>
                            <a:srgbClr val="000000"/>
                          </a:solidFill>
                        </a:rPr>
                        <a:t>(€ / leerling)</a:t>
                      </a:r>
                    </a:p>
                  </a:txBody>
                  <a:tcPr marL="123002" marR="123002" marT="61501" marB="61501">
                    <a:lnL w="12700" cap="flat" cmpd="sng" algn="ctr">
                      <a:solidFill>
                        <a:schemeClr val="bg1">
                          <a:lumMod val="95000"/>
                        </a:schemeClr>
                      </a:solidFill>
                      <a:prstDash val="solid"/>
                      <a:round/>
                      <a:headEnd type="none" w="med" len="med"/>
                      <a:tailEnd type="none" w="med" len="med"/>
                    </a:lnL>
                    <a:lnB w="12700" cap="flat" cmpd="sng" algn="ctr">
                      <a:noFill/>
                      <a:prstDash val="solid"/>
                      <a:round/>
                      <a:headEnd type="none" w="med" len="med"/>
                      <a:tailEnd type="none" w="med" len="med"/>
                    </a:lnB>
                    <a:noFill/>
                  </a:tcPr>
                </a:tc>
                <a:tc hMerge="1">
                  <a:txBody>
                    <a:bodyPr/>
                    <a:lstStyle/>
                    <a:p>
                      <a:pPr algn="ctr"/>
                      <a:endParaRPr lang="nl-NL" sz="1000" dirty="0">
                        <a:solidFill>
                          <a:srgbClr val="000000"/>
                        </a:solidFill>
                      </a:endParaRPr>
                    </a:p>
                  </a:txBody>
                  <a:tcPr>
                    <a:lnB w="6350" cap="flat" cmpd="sng" algn="ctr">
                      <a:solidFill>
                        <a:schemeClr val="bg1">
                          <a:lumMod val="85000"/>
                        </a:schemeClr>
                      </a:solidFill>
                      <a:prstDash val="solid"/>
                      <a:round/>
                      <a:headEnd type="none" w="med" len="med"/>
                      <a:tailEnd type="none" w="med" len="med"/>
                    </a:lnB>
                    <a:noFill/>
                  </a:tcPr>
                </a:tc>
                <a:tc hMerge="1">
                  <a:txBody>
                    <a:bodyPr/>
                    <a:lstStyle/>
                    <a:p>
                      <a:pPr algn="ctr"/>
                      <a:endParaRPr lang="nl-NL" sz="1000" dirty="0">
                        <a:solidFill>
                          <a:srgbClr val="000000"/>
                        </a:solidFill>
                      </a:endParaRPr>
                    </a:p>
                  </a:txBody>
                  <a:tcPr>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26486522"/>
                  </a:ext>
                </a:extLst>
              </a:tr>
              <a:tr h="240463">
                <a:tc>
                  <a:txBody>
                    <a:bodyPr/>
                    <a:lstStyle/>
                    <a:p>
                      <a:endParaRPr lang="nl-NL" sz="1000" dirty="0">
                        <a:solidFill>
                          <a:srgbClr val="000000"/>
                        </a:solidFill>
                      </a:endParaRPr>
                    </a:p>
                  </a:txBody>
                  <a:tcPr marL="123002" marR="123002" marT="61501" marB="61501">
                    <a:lnB w="12700" cap="flat" cmpd="sng" algn="ctr">
                      <a:solidFill>
                        <a:schemeClr val="tx2"/>
                      </a:solidFill>
                      <a:prstDash val="solid"/>
                      <a:round/>
                      <a:headEnd type="none" w="med" len="med"/>
                      <a:tailEnd type="none" w="med" len="med"/>
                    </a:lnB>
                    <a:noFill/>
                  </a:tcPr>
                </a:tc>
                <a:tc>
                  <a:txBody>
                    <a:bodyPr/>
                    <a:lstStyle/>
                    <a:p>
                      <a:pPr algn="ctr"/>
                      <a:r>
                        <a:rPr lang="nl-NL" sz="1000" dirty="0">
                          <a:solidFill>
                            <a:srgbClr val="000000"/>
                          </a:solidFill>
                        </a:rPr>
                        <a:t>2017</a:t>
                      </a:r>
                    </a:p>
                  </a:txBody>
                  <a:tcPr marL="123002" marR="123002" marT="61501" marB="61501">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nl-NL" sz="1000" dirty="0">
                          <a:solidFill>
                            <a:srgbClr val="000000"/>
                          </a:solidFill>
                        </a:rPr>
                        <a:t>2018</a:t>
                      </a:r>
                    </a:p>
                  </a:txBody>
                  <a:tcPr marL="123002" marR="123002" marT="61501" marB="61501">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nl-NL" sz="1000" dirty="0">
                          <a:solidFill>
                            <a:srgbClr val="000000"/>
                          </a:solidFill>
                        </a:rPr>
                        <a:t>2019</a:t>
                      </a:r>
                    </a:p>
                  </a:txBody>
                  <a:tcPr marL="123002" marR="123002" marT="61501" marB="61501">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nl-NL" sz="1000" dirty="0">
                          <a:solidFill>
                            <a:srgbClr val="000000"/>
                          </a:solidFill>
                        </a:rPr>
                        <a:t>2017</a:t>
                      </a:r>
                    </a:p>
                  </a:txBody>
                  <a:tcPr marL="123002" marR="123002" marT="61501" marB="61501">
                    <a:lnL w="6350" cap="flat" cmpd="sng" algn="ctr">
                      <a:solidFill>
                        <a:schemeClr val="bg1">
                          <a:lumMod val="85000"/>
                        </a:schemeClr>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nl-NL" sz="1000" dirty="0">
                          <a:solidFill>
                            <a:srgbClr val="000000"/>
                          </a:solidFill>
                        </a:rPr>
                        <a:t>2018</a:t>
                      </a:r>
                    </a:p>
                  </a:txBody>
                  <a:tcPr marL="123002" marR="123002" marT="61501" marB="61501">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nl-NL" sz="1000" dirty="0">
                          <a:solidFill>
                            <a:srgbClr val="000000"/>
                          </a:solidFill>
                        </a:rPr>
                        <a:t>2019</a:t>
                      </a:r>
                    </a:p>
                  </a:txBody>
                  <a:tcPr marL="123002" marR="123002" marT="61501" marB="61501">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626108289"/>
                  </a:ext>
                </a:extLst>
              </a:tr>
              <a:tr h="240463">
                <a:tc>
                  <a:txBody>
                    <a:bodyPr/>
                    <a:lstStyle/>
                    <a:p>
                      <a:r>
                        <a:rPr lang="nl-NL" sz="1000" dirty="0">
                          <a:solidFill>
                            <a:srgbClr val="000000"/>
                          </a:solidFill>
                        </a:rPr>
                        <a:t>Rijk</a:t>
                      </a:r>
                    </a:p>
                  </a:txBody>
                  <a:tcPr marL="123002" marR="123002" marT="61501" marB="61501" anchor="ctr">
                    <a:lnT w="12700" cap="flat" cmpd="sng" algn="ctr">
                      <a:solidFill>
                        <a:schemeClr val="tx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nl-NL" sz="1000" b="0" i="0" u="none" strike="noStrike" dirty="0">
                          <a:solidFill>
                            <a:srgbClr val="000000"/>
                          </a:solidFill>
                          <a:effectLst/>
                          <a:latin typeface="Corbel" panose="020B0503020204020204" pitchFamily="34" charset="0"/>
                        </a:rPr>
                        <a:t>1,36</a:t>
                      </a:r>
                    </a:p>
                  </a:txBody>
                  <a:tcPr marL="10250" marR="10250" marT="10250" marB="0" anchor="ctr">
                    <a:lnT w="12700" cap="flat" cmpd="sng" algn="ctr">
                      <a:solidFill>
                        <a:schemeClr val="tx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nl-NL" sz="1000" b="0" i="0" u="none" strike="noStrike" dirty="0">
                          <a:solidFill>
                            <a:srgbClr val="000000"/>
                          </a:solidFill>
                          <a:effectLst/>
                          <a:latin typeface="Corbel" panose="020B0503020204020204" pitchFamily="34" charset="0"/>
                        </a:rPr>
                        <a:t>1,36</a:t>
                      </a:r>
                    </a:p>
                  </a:txBody>
                  <a:tcPr marL="10250" marR="10250" marT="10250" marB="0" anchor="ctr">
                    <a:lnT w="12700" cap="flat" cmpd="sng" algn="ctr">
                      <a:solidFill>
                        <a:schemeClr val="tx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nl-NL" sz="1000" b="0" i="0" u="none" strike="noStrike" dirty="0">
                          <a:solidFill>
                            <a:srgbClr val="000000"/>
                          </a:solidFill>
                          <a:effectLst/>
                          <a:latin typeface="Corbel" panose="020B0503020204020204" pitchFamily="34" charset="0"/>
                        </a:rPr>
                        <a:t>1,37</a:t>
                      </a:r>
                    </a:p>
                  </a:txBody>
                  <a:tcPr marL="10250" marR="10250" marT="10250" marB="0" anchor="ctr">
                    <a:lnR w="6350" cap="flat" cmpd="sng" algn="ctr">
                      <a:solidFill>
                        <a:schemeClr val="bg1">
                          <a:lumMod val="85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nl-NL" sz="1000" b="0" i="0" u="none" strike="noStrike" dirty="0">
                          <a:solidFill>
                            <a:srgbClr val="000000"/>
                          </a:solidFill>
                          <a:effectLst/>
                          <a:latin typeface="Corbel" panose="020B0503020204020204" pitchFamily="34" charset="0"/>
                        </a:rPr>
                        <a:t>5.996</a:t>
                      </a:r>
                    </a:p>
                  </a:txBody>
                  <a:tcPr marL="10250" marR="10250" marT="10250" marB="0" anchor="ctr">
                    <a:lnL w="6350" cap="flat" cmpd="sng" algn="ctr">
                      <a:solidFill>
                        <a:schemeClr val="bg1">
                          <a:lumMod val="85000"/>
                        </a:schemeClr>
                      </a:solidFill>
                      <a:prstDash val="solid"/>
                      <a:round/>
                      <a:headEnd type="none" w="med" len="med"/>
                      <a:tailEnd type="none" w="med" len="med"/>
                    </a:lnL>
                    <a:lnT w="12700" cap="flat" cmpd="sng" algn="ctr">
                      <a:solidFill>
                        <a:schemeClr val="tx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nl-NL" sz="1000" b="0" i="0" u="none" strike="noStrike" dirty="0">
                          <a:solidFill>
                            <a:srgbClr val="000000"/>
                          </a:solidFill>
                          <a:effectLst/>
                          <a:latin typeface="Corbel" panose="020B0503020204020204" pitchFamily="34" charset="0"/>
                        </a:rPr>
                        <a:t>6.018</a:t>
                      </a:r>
                    </a:p>
                  </a:txBody>
                  <a:tcPr marL="10250" marR="10250" marT="10250" marB="0" anchor="ctr">
                    <a:lnT w="12700" cap="flat" cmpd="sng" algn="ctr">
                      <a:solidFill>
                        <a:schemeClr val="tx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nl-NL" sz="1000" b="0" i="0" u="none" strike="noStrike" dirty="0">
                          <a:solidFill>
                            <a:srgbClr val="000000"/>
                          </a:solidFill>
                          <a:effectLst/>
                          <a:latin typeface="Corbel" panose="020B0503020204020204" pitchFamily="34" charset="0"/>
                        </a:rPr>
                        <a:t>6.040</a:t>
                      </a:r>
                    </a:p>
                  </a:txBody>
                  <a:tcPr marL="10250" marR="10250" marT="10250" marB="0" anchor="ctr">
                    <a:lnT w="12700" cap="flat" cmpd="sng" algn="ctr">
                      <a:solidFill>
                        <a:schemeClr val="tx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03322144"/>
                  </a:ext>
                </a:extLst>
              </a:tr>
              <a:tr h="240463">
                <a:tc>
                  <a:txBody>
                    <a:bodyPr/>
                    <a:lstStyle/>
                    <a:p>
                      <a:r>
                        <a:rPr lang="nl-NL" sz="1000" dirty="0">
                          <a:solidFill>
                            <a:srgbClr val="000000"/>
                          </a:solidFill>
                        </a:rPr>
                        <a:t>Gemeente</a:t>
                      </a:r>
                    </a:p>
                  </a:txBody>
                  <a:tcPr marL="123002" marR="123002" marT="61501" marB="61501" anchor="ctr">
                    <a:lnL w="6350" cap="flat" cmpd="sng" algn="ctr">
                      <a:no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nl-NL" sz="1000" b="0" i="0" u="none" strike="noStrike" dirty="0">
                          <a:solidFill>
                            <a:srgbClr val="000000"/>
                          </a:solidFill>
                          <a:effectLst/>
                          <a:latin typeface="Corbel" panose="020B0503020204020204" pitchFamily="34" charset="0"/>
                        </a:rPr>
                        <a:t>0,02</a:t>
                      </a:r>
                    </a:p>
                  </a:txBody>
                  <a:tcPr marL="10250" marR="10250" marT="10250" marB="0" anchor="ctr">
                    <a:lnL w="12700" cmpd="sng">
                      <a:noFill/>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nl-NL" sz="1000" b="0" i="0" u="none" strike="noStrike" dirty="0">
                          <a:solidFill>
                            <a:srgbClr val="000000"/>
                          </a:solidFill>
                          <a:effectLst/>
                          <a:latin typeface="Corbel" panose="020B0503020204020204" pitchFamily="34" charset="0"/>
                        </a:rPr>
                        <a:t>0,03</a:t>
                      </a:r>
                    </a:p>
                  </a:txBody>
                  <a:tcPr marL="10250" marR="10250" marT="1025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nl-NL" sz="1000" b="0" i="0" u="none" strike="noStrike" dirty="0">
                          <a:solidFill>
                            <a:srgbClr val="000000"/>
                          </a:solidFill>
                          <a:effectLst/>
                          <a:latin typeface="Corbel" panose="020B0503020204020204" pitchFamily="34" charset="0"/>
                        </a:rPr>
                        <a:t>0,03</a:t>
                      </a:r>
                    </a:p>
                  </a:txBody>
                  <a:tcPr marL="10250" marR="10250" marT="10250" marB="0" anchor="ctr">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nl-NL" sz="1000" b="0" i="0" u="none" strike="noStrike" dirty="0">
                          <a:solidFill>
                            <a:srgbClr val="000000"/>
                          </a:solidFill>
                          <a:effectLst/>
                          <a:latin typeface="Corbel" panose="020B0503020204020204" pitchFamily="34" charset="0"/>
                        </a:rPr>
                        <a:t>97</a:t>
                      </a:r>
                    </a:p>
                  </a:txBody>
                  <a:tcPr marL="10250" marR="10250" marT="10250" marB="0" anchor="ctr">
                    <a:lnL w="6350" cap="flat" cmpd="sng" algn="ctr">
                      <a:solidFill>
                        <a:schemeClr val="bg1">
                          <a:lumMod val="85000"/>
                        </a:schemeClr>
                      </a:solidFill>
                      <a:prstDash val="solid"/>
                      <a:round/>
                      <a:headEnd type="none" w="med" len="med"/>
                      <a:tailEnd type="none" w="med" len="med"/>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nl-NL" sz="1000" b="0" i="0" u="none" strike="noStrike" dirty="0">
                          <a:solidFill>
                            <a:srgbClr val="000000"/>
                          </a:solidFill>
                          <a:effectLst/>
                          <a:latin typeface="Corbel" panose="020B0503020204020204" pitchFamily="34" charset="0"/>
                        </a:rPr>
                        <a:t>119</a:t>
                      </a:r>
                    </a:p>
                  </a:txBody>
                  <a:tcPr marL="10250" marR="10250" marT="1025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nl-NL" sz="1000" b="0" i="0" u="none" strike="noStrike" dirty="0">
                          <a:solidFill>
                            <a:srgbClr val="000000"/>
                          </a:solidFill>
                          <a:effectLst/>
                          <a:latin typeface="Corbel" panose="020B0503020204020204" pitchFamily="34" charset="0"/>
                        </a:rPr>
                        <a:t>142</a:t>
                      </a:r>
                    </a:p>
                  </a:txBody>
                  <a:tcPr marL="10250" marR="10250" marT="1025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48976038"/>
                  </a:ext>
                </a:extLst>
              </a:tr>
              <a:tr h="240463">
                <a:tc>
                  <a:txBody>
                    <a:bodyPr/>
                    <a:lstStyle/>
                    <a:p>
                      <a:r>
                        <a:rPr lang="nl-NL" sz="1000" dirty="0">
                          <a:solidFill>
                            <a:srgbClr val="000000"/>
                          </a:solidFill>
                        </a:rPr>
                        <a:t>Derden</a:t>
                      </a:r>
                    </a:p>
                  </a:txBody>
                  <a:tcPr marL="123002" marR="123002" marT="61501" marB="61501"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nl-NL" sz="1000" b="0" i="0" u="none" strike="noStrike" dirty="0">
                          <a:solidFill>
                            <a:srgbClr val="000000"/>
                          </a:solidFill>
                          <a:effectLst/>
                          <a:latin typeface="Corbel" panose="020B0503020204020204" pitchFamily="34" charset="0"/>
                        </a:rPr>
                        <a:t>0,04</a:t>
                      </a:r>
                    </a:p>
                  </a:txBody>
                  <a:tcPr marL="10250" marR="10250" marT="1025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nl-NL" sz="1000" b="0" i="0" u="none" strike="noStrike" dirty="0">
                          <a:solidFill>
                            <a:srgbClr val="000000"/>
                          </a:solidFill>
                          <a:effectLst/>
                          <a:latin typeface="Corbel" panose="020B0503020204020204" pitchFamily="34" charset="0"/>
                        </a:rPr>
                        <a:t>0,05</a:t>
                      </a:r>
                    </a:p>
                  </a:txBody>
                  <a:tcPr marL="10250" marR="10250" marT="1025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nl-NL" sz="1000" b="0" i="0" u="none" strike="noStrike" dirty="0">
                          <a:solidFill>
                            <a:srgbClr val="000000"/>
                          </a:solidFill>
                          <a:effectLst/>
                          <a:latin typeface="Corbel" panose="020B0503020204020204" pitchFamily="34" charset="0"/>
                        </a:rPr>
                        <a:t>0,05</a:t>
                      </a:r>
                    </a:p>
                  </a:txBody>
                  <a:tcPr marL="10250" marR="10250" marT="10250" marB="0" anchor="ctr">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nl-NL" sz="1000" b="0" i="0" u="none" strike="noStrike" dirty="0">
                          <a:solidFill>
                            <a:srgbClr val="000000"/>
                          </a:solidFill>
                          <a:effectLst/>
                          <a:latin typeface="Corbel" panose="020B0503020204020204" pitchFamily="34" charset="0"/>
                        </a:rPr>
                        <a:t>177</a:t>
                      </a:r>
                    </a:p>
                  </a:txBody>
                  <a:tcPr marL="10250" marR="10250" marT="10250" marB="0" anchor="ctr">
                    <a:lnL w="6350" cap="flat" cmpd="sng" algn="ctr">
                      <a:solidFill>
                        <a:schemeClr val="bg1">
                          <a:lumMod val="85000"/>
                        </a:schemeClr>
                      </a:solidFill>
                      <a:prstDash val="solid"/>
                      <a:round/>
                      <a:headEnd type="none" w="med" len="med"/>
                      <a:tailEnd type="none" w="med" len="med"/>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nl-NL" sz="1000" b="0" i="0" u="none" strike="noStrike" dirty="0">
                          <a:solidFill>
                            <a:srgbClr val="000000"/>
                          </a:solidFill>
                          <a:effectLst/>
                          <a:latin typeface="Corbel" panose="020B0503020204020204" pitchFamily="34" charset="0"/>
                        </a:rPr>
                        <a:t>199</a:t>
                      </a:r>
                    </a:p>
                  </a:txBody>
                  <a:tcPr marL="10250" marR="10250" marT="1025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nl-NL" sz="1000" b="0" i="0" u="none" strike="noStrike" dirty="0">
                          <a:solidFill>
                            <a:srgbClr val="000000"/>
                          </a:solidFill>
                          <a:effectLst/>
                          <a:latin typeface="Corbel" panose="020B0503020204020204" pitchFamily="34" charset="0"/>
                        </a:rPr>
                        <a:t>221</a:t>
                      </a:r>
                    </a:p>
                  </a:txBody>
                  <a:tcPr marL="10250" marR="10250" marT="1025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34186457"/>
                  </a:ext>
                </a:extLst>
              </a:tr>
              <a:tr h="240463">
                <a:tc>
                  <a:txBody>
                    <a:bodyPr/>
                    <a:lstStyle/>
                    <a:p>
                      <a:r>
                        <a:rPr lang="nl-NL" sz="1000" b="1" dirty="0">
                          <a:solidFill>
                            <a:srgbClr val="000000"/>
                          </a:solidFill>
                        </a:rPr>
                        <a:t>Totaal</a:t>
                      </a:r>
                    </a:p>
                  </a:txBody>
                  <a:tcPr marL="123002" marR="123002" marT="61501" marB="61501"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nl-NL" sz="1000" b="1" i="0" u="none" strike="noStrike" dirty="0">
                          <a:solidFill>
                            <a:srgbClr val="000000"/>
                          </a:solidFill>
                          <a:effectLst/>
                          <a:latin typeface="Corbel" panose="020B0503020204020204" pitchFamily="34" charset="0"/>
                        </a:rPr>
                        <a:t>1,42</a:t>
                      </a:r>
                    </a:p>
                  </a:txBody>
                  <a:tcPr marL="10250" marR="10250" marT="1025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nl-NL" sz="1000" b="1" i="0" u="none" strike="noStrike" dirty="0">
                          <a:solidFill>
                            <a:srgbClr val="000000"/>
                          </a:solidFill>
                          <a:effectLst/>
                          <a:latin typeface="Corbel" panose="020B0503020204020204" pitchFamily="34" charset="0"/>
                        </a:rPr>
                        <a:t>1,43</a:t>
                      </a:r>
                    </a:p>
                  </a:txBody>
                  <a:tcPr marL="10250" marR="10250" marT="1025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nl-NL" sz="1000" b="1" i="0" u="none" strike="noStrike" dirty="0">
                          <a:solidFill>
                            <a:srgbClr val="000000"/>
                          </a:solidFill>
                          <a:effectLst/>
                          <a:latin typeface="Corbel" panose="020B0503020204020204" pitchFamily="34" charset="0"/>
                        </a:rPr>
                        <a:t>1,45</a:t>
                      </a:r>
                    </a:p>
                  </a:txBody>
                  <a:tcPr marL="10250" marR="10250" marT="10250" marB="0" anchor="ctr">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nl-NL" sz="1000" b="1" i="0" u="none" strike="noStrike" dirty="0">
                          <a:solidFill>
                            <a:srgbClr val="000000"/>
                          </a:solidFill>
                          <a:effectLst/>
                          <a:latin typeface="Corbel" panose="020B0503020204020204" pitchFamily="34" charset="0"/>
                        </a:rPr>
                        <a:t>6.270</a:t>
                      </a:r>
                    </a:p>
                  </a:txBody>
                  <a:tcPr marL="10250" marR="10250" marT="10250" marB="0" anchor="ctr">
                    <a:lnL w="6350" cap="flat" cmpd="sng" algn="ctr">
                      <a:solidFill>
                        <a:schemeClr val="bg1">
                          <a:lumMod val="85000"/>
                        </a:schemeClr>
                      </a:solidFill>
                      <a:prstDash val="solid"/>
                      <a:round/>
                      <a:headEnd type="none" w="med" len="med"/>
                      <a:tailEnd type="none" w="med" len="med"/>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nl-NL" sz="1000" b="1" i="0" u="none" strike="noStrike" dirty="0">
                          <a:solidFill>
                            <a:srgbClr val="000000"/>
                          </a:solidFill>
                          <a:effectLst/>
                          <a:latin typeface="Corbel" panose="020B0503020204020204" pitchFamily="34" charset="0"/>
                        </a:rPr>
                        <a:t>6.336</a:t>
                      </a:r>
                    </a:p>
                  </a:txBody>
                  <a:tcPr marL="10250" marR="10250" marT="1025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rtl="0" fontAlgn="ctr"/>
                      <a:r>
                        <a:rPr lang="nl-NL" sz="1000" b="1" i="0" u="none" strike="noStrike" dirty="0">
                          <a:solidFill>
                            <a:srgbClr val="000000"/>
                          </a:solidFill>
                          <a:effectLst/>
                          <a:latin typeface="Corbel" panose="020B0503020204020204" pitchFamily="34" charset="0"/>
                        </a:rPr>
                        <a:t>6.403</a:t>
                      </a:r>
                    </a:p>
                  </a:txBody>
                  <a:tcPr marL="10250" marR="10250" marT="10250" marB="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629333867"/>
                  </a:ext>
                </a:extLst>
              </a:tr>
            </a:tbl>
          </a:graphicData>
        </a:graphic>
      </p:graphicFrame>
      <p:sp>
        <p:nvSpPr>
          <p:cNvPr id="37" name="Speech Bubble: Rectangle 36">
            <a:extLst>
              <a:ext uri="{FF2B5EF4-FFF2-40B4-BE49-F238E27FC236}">
                <a16:creationId xmlns:a16="http://schemas.microsoft.com/office/drawing/2014/main" id="{F7E204DF-F918-4A4E-B669-932E9A54769C}"/>
              </a:ext>
            </a:extLst>
          </p:cNvPr>
          <p:cNvSpPr/>
          <p:nvPr/>
        </p:nvSpPr>
        <p:spPr>
          <a:xfrm>
            <a:off x="1024242" y="1986116"/>
            <a:ext cx="4568940" cy="699404"/>
          </a:xfrm>
          <a:prstGeom prst="wedgeRectCallout">
            <a:avLst>
              <a:gd name="adj1" fmla="val 55632"/>
              <a:gd name="adj2" fmla="val 10519"/>
            </a:avLst>
          </a:prstGeom>
          <a:solidFill>
            <a:schemeClr val="bg1">
              <a:lumMod val="95000"/>
            </a:schemeClr>
          </a:solidFill>
          <a:ln w="9525">
            <a:solidFill>
              <a:schemeClr val="bg1">
                <a:lumMod val="85000"/>
              </a:schemeClr>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marL="0" indent="0">
              <a:spcBef>
                <a:spcPts val="750"/>
              </a:spcBef>
              <a:buClr>
                <a:schemeClr val="tx2"/>
              </a:buClr>
              <a:buNone/>
            </a:pPr>
            <a:r>
              <a:rPr lang="nl-NL" sz="1000" dirty="0"/>
              <a:t>Een subtitel schrijven we in principe altijd in de volgende volgorde:</a:t>
            </a:r>
            <a:br>
              <a:rPr lang="nl-NL" sz="1000" dirty="0"/>
            </a:br>
            <a:r>
              <a:rPr lang="nl-NL" sz="1000" b="1" dirty="0"/>
              <a:t>[Beschrijving van wat op slide staat], [regio waar betrekking op heeft], [begin-eind periode] (eerste regel = dikgedrukt)</a:t>
            </a:r>
            <a:br>
              <a:rPr lang="nl-NL" sz="1000" dirty="0"/>
            </a:br>
            <a:r>
              <a:rPr lang="nl-NL" sz="1000" dirty="0"/>
              <a:t>[Eenheid] (niet dikgedrukt)</a:t>
            </a:r>
          </a:p>
        </p:txBody>
      </p:sp>
      <p:sp>
        <p:nvSpPr>
          <p:cNvPr id="39" name="Speech Bubble: Rectangle 38">
            <a:extLst>
              <a:ext uri="{FF2B5EF4-FFF2-40B4-BE49-F238E27FC236}">
                <a16:creationId xmlns:a16="http://schemas.microsoft.com/office/drawing/2014/main" id="{7EA380E7-2C18-4CD3-90C1-CE517DEE64A8}"/>
              </a:ext>
            </a:extLst>
          </p:cNvPr>
          <p:cNvSpPr/>
          <p:nvPr/>
        </p:nvSpPr>
        <p:spPr>
          <a:xfrm>
            <a:off x="1024242" y="4301400"/>
            <a:ext cx="4568940" cy="422405"/>
          </a:xfrm>
          <a:prstGeom prst="wedgeRectCallout">
            <a:avLst>
              <a:gd name="adj1" fmla="val 75395"/>
              <a:gd name="adj2" fmla="val 9803"/>
            </a:avLst>
          </a:prstGeom>
          <a:solidFill>
            <a:schemeClr val="bg1">
              <a:lumMod val="95000"/>
            </a:schemeClr>
          </a:solidFill>
          <a:ln w="9525">
            <a:solidFill>
              <a:schemeClr val="bg1">
                <a:lumMod val="85000"/>
              </a:schemeClr>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marL="0" indent="0">
              <a:spcBef>
                <a:spcPts val="750"/>
              </a:spcBef>
              <a:buClr>
                <a:schemeClr val="tx2"/>
              </a:buClr>
              <a:buNone/>
            </a:pPr>
            <a:r>
              <a:rPr lang="nl-NL" sz="1000" dirty="0"/>
              <a:t>In een tabel is niet altijd ruimte om eenheid onder de beschrijving weer te geven. Daar kan gekozen worden om eenheid tussen haakjes achter beschrijving te zetten</a:t>
            </a:r>
          </a:p>
        </p:txBody>
      </p:sp>
      <p:sp>
        <p:nvSpPr>
          <p:cNvPr id="41" name="Speech Bubble: Rectangle 40">
            <a:extLst>
              <a:ext uri="{FF2B5EF4-FFF2-40B4-BE49-F238E27FC236}">
                <a16:creationId xmlns:a16="http://schemas.microsoft.com/office/drawing/2014/main" id="{70E196D3-22B7-492A-8CDE-E5E92384292F}"/>
              </a:ext>
            </a:extLst>
          </p:cNvPr>
          <p:cNvSpPr/>
          <p:nvPr/>
        </p:nvSpPr>
        <p:spPr>
          <a:xfrm>
            <a:off x="1024242" y="2835808"/>
            <a:ext cx="4568940" cy="283906"/>
          </a:xfrm>
          <a:prstGeom prst="wedgeRectCallout">
            <a:avLst>
              <a:gd name="adj1" fmla="val 55012"/>
              <a:gd name="adj2" fmla="val 17588"/>
            </a:avLst>
          </a:prstGeom>
          <a:solidFill>
            <a:schemeClr val="bg1">
              <a:lumMod val="95000"/>
            </a:schemeClr>
          </a:solidFill>
          <a:ln w="9525">
            <a:solidFill>
              <a:schemeClr val="bg1">
                <a:lumMod val="85000"/>
              </a:schemeClr>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marL="0" indent="0">
              <a:spcBef>
                <a:spcPts val="750"/>
              </a:spcBef>
              <a:buClr>
                <a:schemeClr val="tx2"/>
              </a:buClr>
              <a:buNone/>
            </a:pPr>
            <a:r>
              <a:rPr lang="nl-NL" sz="1000" dirty="0"/>
              <a:t>Als er meerdere eenheden zijn worden die in principe allemaal genoemd in subtitel</a:t>
            </a:r>
          </a:p>
        </p:txBody>
      </p:sp>
    </p:spTree>
    <p:extLst>
      <p:ext uri="{BB962C8B-B14F-4D97-AF65-F5344CB8AC3E}">
        <p14:creationId xmlns:p14="http://schemas.microsoft.com/office/powerpoint/2010/main" val="18345454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75A5ABE-D8F9-480C-AF19-4D9292185F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0" imgW="501" imgH="502" progId="TCLayout.ActiveDocument.1">
                  <p:embed/>
                </p:oleObj>
              </mc:Choice>
              <mc:Fallback>
                <p:oleObj name="think-cell Slide" r:id="rId50" imgW="501" imgH="502" progId="TCLayout.ActiveDocument.1">
                  <p:embed/>
                  <p:pic>
                    <p:nvPicPr>
                      <p:cNvPr id="8" name="Object 7" hidden="1">
                        <a:extLst>
                          <a:ext uri="{FF2B5EF4-FFF2-40B4-BE49-F238E27FC236}">
                            <a16:creationId xmlns:a16="http://schemas.microsoft.com/office/drawing/2014/main" id="{575A5ABE-D8F9-480C-AF19-4D9292185F91}"/>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139" name="Content Placeholder 138">
            <a:extLst>
              <a:ext uri="{FF2B5EF4-FFF2-40B4-BE49-F238E27FC236}">
                <a16:creationId xmlns:a16="http://schemas.microsoft.com/office/drawing/2014/main" id="{900F6B72-175E-453A-B9EA-5F00C27BE6EB}"/>
              </a:ext>
            </a:extLst>
          </p:cNvPr>
          <p:cNvSpPr>
            <a:spLocks noGrp="1"/>
          </p:cNvSpPr>
          <p:nvPr>
            <p:ph sz="quarter" idx="41"/>
          </p:nvPr>
        </p:nvSpPr>
        <p:spPr/>
        <p:txBody>
          <a:bodyPr/>
          <a:lstStyle/>
          <a:p>
            <a:pPr marL="0" indent="0">
              <a:buNone/>
            </a:pPr>
            <a:r>
              <a:rPr lang="nl-NL" b="1" dirty="0"/>
              <a:t>Verband: </a:t>
            </a:r>
            <a:r>
              <a:rPr lang="nl-NL" b="1" dirty="0" err="1"/>
              <a:t>scatterplot</a:t>
            </a:r>
            <a:endParaRPr lang="nl-NL" b="1" dirty="0"/>
          </a:p>
          <a:p>
            <a:pPr marL="0" indent="0">
              <a:buNone/>
            </a:pPr>
            <a:endParaRPr lang="nl-NL" b="1" dirty="0"/>
          </a:p>
        </p:txBody>
      </p:sp>
      <p:sp>
        <p:nvSpPr>
          <p:cNvPr id="137" name="Content Placeholder 136">
            <a:extLst>
              <a:ext uri="{FF2B5EF4-FFF2-40B4-BE49-F238E27FC236}">
                <a16:creationId xmlns:a16="http://schemas.microsoft.com/office/drawing/2014/main" id="{DDA85FB2-5013-4BAE-AEB1-C568643D6E24}"/>
              </a:ext>
            </a:extLst>
          </p:cNvPr>
          <p:cNvSpPr>
            <a:spLocks noGrp="1"/>
          </p:cNvSpPr>
          <p:nvPr>
            <p:ph sz="quarter" idx="37"/>
          </p:nvPr>
        </p:nvSpPr>
        <p:spPr/>
        <p:txBody>
          <a:bodyPr/>
          <a:lstStyle/>
          <a:p>
            <a:pPr marL="0" indent="0">
              <a:buNone/>
            </a:pPr>
            <a:r>
              <a:rPr lang="nl-NL" b="1" dirty="0"/>
              <a:t>Oorzaak verandering: ‘brug’ of ‘waterval’</a:t>
            </a:r>
          </a:p>
        </p:txBody>
      </p:sp>
      <p:sp>
        <p:nvSpPr>
          <p:cNvPr id="135" name="Content Placeholder 134">
            <a:extLst>
              <a:ext uri="{FF2B5EF4-FFF2-40B4-BE49-F238E27FC236}">
                <a16:creationId xmlns:a16="http://schemas.microsoft.com/office/drawing/2014/main" id="{61694574-EFB6-4EB2-8BB1-0D67F23AE950}"/>
              </a:ext>
            </a:extLst>
          </p:cNvPr>
          <p:cNvSpPr>
            <a:spLocks noGrp="1"/>
          </p:cNvSpPr>
          <p:nvPr>
            <p:ph sz="quarter" idx="33"/>
          </p:nvPr>
        </p:nvSpPr>
        <p:spPr/>
        <p:txBody>
          <a:bodyPr/>
          <a:lstStyle/>
          <a:p>
            <a:pPr marL="0" indent="0">
              <a:buNone/>
            </a:pPr>
            <a:r>
              <a:rPr lang="nl-NL" b="1" dirty="0"/>
              <a:t>Tijdsreeks niet opgeteld: line </a:t>
            </a:r>
            <a:r>
              <a:rPr lang="nl-NL" b="1" dirty="0" err="1"/>
              <a:t>chart</a:t>
            </a:r>
            <a:endParaRPr lang="nl-NL" b="1" dirty="0"/>
          </a:p>
        </p:txBody>
      </p:sp>
      <p:sp>
        <p:nvSpPr>
          <p:cNvPr id="138" name="Content Placeholder 137">
            <a:extLst>
              <a:ext uri="{FF2B5EF4-FFF2-40B4-BE49-F238E27FC236}">
                <a16:creationId xmlns:a16="http://schemas.microsoft.com/office/drawing/2014/main" id="{F1B802B9-2857-445F-925A-100C94B3944D}"/>
              </a:ext>
            </a:extLst>
          </p:cNvPr>
          <p:cNvSpPr>
            <a:spLocks noGrp="1"/>
          </p:cNvSpPr>
          <p:nvPr>
            <p:ph sz="quarter" idx="39"/>
          </p:nvPr>
        </p:nvSpPr>
        <p:spPr/>
        <p:txBody>
          <a:bodyPr/>
          <a:lstStyle/>
          <a:p>
            <a:pPr marL="0" indent="0">
              <a:buNone/>
            </a:pPr>
            <a:r>
              <a:rPr lang="nl-NL" b="1" dirty="0"/>
              <a:t>Verhouding over tijd: 100% bar </a:t>
            </a:r>
            <a:r>
              <a:rPr lang="nl-NL" b="1" dirty="0" err="1"/>
              <a:t>chart</a:t>
            </a:r>
            <a:endParaRPr lang="nl-NL" b="1" dirty="0"/>
          </a:p>
        </p:txBody>
      </p:sp>
      <p:sp>
        <p:nvSpPr>
          <p:cNvPr id="136" name="Content Placeholder 135">
            <a:extLst>
              <a:ext uri="{FF2B5EF4-FFF2-40B4-BE49-F238E27FC236}">
                <a16:creationId xmlns:a16="http://schemas.microsoft.com/office/drawing/2014/main" id="{88CC2C7B-ACAC-4DCF-B996-6D40B78BFC83}"/>
              </a:ext>
            </a:extLst>
          </p:cNvPr>
          <p:cNvSpPr>
            <a:spLocks noGrp="1"/>
          </p:cNvSpPr>
          <p:nvPr>
            <p:ph sz="quarter" idx="35"/>
          </p:nvPr>
        </p:nvSpPr>
        <p:spPr/>
        <p:txBody>
          <a:bodyPr/>
          <a:lstStyle/>
          <a:p>
            <a:pPr marL="0" indent="0">
              <a:buNone/>
            </a:pPr>
            <a:r>
              <a:rPr lang="nl-NL" b="1" dirty="0"/>
              <a:t>Vergelijking: gekantelde bar </a:t>
            </a:r>
            <a:r>
              <a:rPr lang="nl-NL" b="1" dirty="0" err="1"/>
              <a:t>chart</a:t>
            </a:r>
            <a:endParaRPr lang="nl-NL" b="1" dirty="0"/>
          </a:p>
        </p:txBody>
      </p:sp>
      <p:sp>
        <p:nvSpPr>
          <p:cNvPr id="13" name="Content Placeholder 12">
            <a:extLst>
              <a:ext uri="{FF2B5EF4-FFF2-40B4-BE49-F238E27FC236}">
                <a16:creationId xmlns:a16="http://schemas.microsoft.com/office/drawing/2014/main" id="{8087AE85-A9E5-4561-B588-CD6FB30D7EEB}"/>
              </a:ext>
            </a:extLst>
          </p:cNvPr>
          <p:cNvSpPr>
            <a:spLocks noGrp="1"/>
          </p:cNvSpPr>
          <p:nvPr>
            <p:ph sz="quarter" idx="31"/>
          </p:nvPr>
        </p:nvSpPr>
        <p:spPr/>
        <p:txBody>
          <a:bodyPr/>
          <a:lstStyle/>
          <a:p>
            <a:pPr marL="0" indent="0">
              <a:buNone/>
            </a:pPr>
            <a:r>
              <a:rPr lang="nl-NL" b="1" dirty="0"/>
              <a:t>Tijdsreeks opgeteld: </a:t>
            </a:r>
            <a:r>
              <a:rPr lang="nl-NL" b="1" dirty="0" err="1"/>
              <a:t>stacked</a:t>
            </a:r>
            <a:r>
              <a:rPr lang="nl-NL" b="1" dirty="0"/>
              <a:t> bar </a:t>
            </a:r>
            <a:r>
              <a:rPr lang="nl-NL" b="1" dirty="0" err="1"/>
              <a:t>chart</a:t>
            </a:r>
            <a:endParaRPr lang="nl-NL" b="1" dirty="0"/>
          </a:p>
        </p:txBody>
      </p:sp>
      <p:sp>
        <p:nvSpPr>
          <p:cNvPr id="134" name="Text Placeholder 133">
            <a:extLst>
              <a:ext uri="{FF2B5EF4-FFF2-40B4-BE49-F238E27FC236}">
                <a16:creationId xmlns:a16="http://schemas.microsoft.com/office/drawing/2014/main" id="{749C093F-24AD-4D84-9D8D-19A13D1FCE46}"/>
              </a:ext>
            </a:extLst>
          </p:cNvPr>
          <p:cNvSpPr>
            <a:spLocks noGrp="1"/>
          </p:cNvSpPr>
          <p:nvPr>
            <p:ph type="body" sz="quarter" idx="20"/>
          </p:nvPr>
        </p:nvSpPr>
        <p:spPr/>
        <p:txBody>
          <a:bodyPr/>
          <a:lstStyle/>
          <a:p>
            <a:r>
              <a:rPr lang="nl-NL" dirty="0"/>
              <a:t>Laat tekst altijd horizontaal staan. Dit is veel prettiger leesbaar dan een kwartslag gedraaid (hoewel de verleiding vaak groot is i.v.m. hoeveelheid beschikbare ruimte)</a:t>
            </a:r>
          </a:p>
        </p:txBody>
      </p:sp>
      <p:sp>
        <p:nvSpPr>
          <p:cNvPr id="5" name="Slide Number Placeholder 4">
            <a:extLst>
              <a:ext uri="{FF2B5EF4-FFF2-40B4-BE49-F238E27FC236}">
                <a16:creationId xmlns:a16="http://schemas.microsoft.com/office/drawing/2014/main" id="{A6F77B36-5730-4BAB-B072-E4A817E95690}"/>
              </a:ext>
            </a:extLst>
          </p:cNvPr>
          <p:cNvSpPr>
            <a:spLocks noGrp="1"/>
          </p:cNvSpPr>
          <p:nvPr>
            <p:ph type="sldNum" sz="quarter" idx="12"/>
          </p:nvPr>
        </p:nvSpPr>
        <p:spPr/>
        <p:txBody>
          <a:bodyPr/>
          <a:lstStyle/>
          <a:p>
            <a:fld id="{992CD0B2-8AB2-4C6C-8876-E15753662C9B}" type="slidenum">
              <a:rPr lang="nl-NL" noProof="0" smtClean="0"/>
              <a:pPr/>
              <a:t>16</a:t>
            </a:fld>
            <a:endParaRPr lang="nl-NL" noProof="0"/>
          </a:p>
        </p:txBody>
      </p:sp>
      <p:sp>
        <p:nvSpPr>
          <p:cNvPr id="133" name="Text Placeholder 132">
            <a:extLst>
              <a:ext uri="{FF2B5EF4-FFF2-40B4-BE49-F238E27FC236}">
                <a16:creationId xmlns:a16="http://schemas.microsoft.com/office/drawing/2014/main" id="{223085DC-39DB-490E-88FB-D49EAD5724D5}"/>
              </a:ext>
            </a:extLst>
          </p:cNvPr>
          <p:cNvSpPr>
            <a:spLocks noGrp="1"/>
          </p:cNvSpPr>
          <p:nvPr>
            <p:ph type="body" sz="quarter" idx="14"/>
          </p:nvPr>
        </p:nvSpPr>
        <p:spPr/>
        <p:txBody>
          <a:bodyPr/>
          <a:lstStyle/>
          <a:p>
            <a:r>
              <a:rPr lang="nl-NL" dirty="0"/>
              <a:t>Standaard grafieken voor typische situaties</a:t>
            </a:r>
          </a:p>
        </p:txBody>
      </p:sp>
      <p:sp>
        <p:nvSpPr>
          <p:cNvPr id="7" name="Title 6">
            <a:extLst>
              <a:ext uri="{FF2B5EF4-FFF2-40B4-BE49-F238E27FC236}">
                <a16:creationId xmlns:a16="http://schemas.microsoft.com/office/drawing/2014/main" id="{A710B8D2-2550-4187-AC25-70A80EAF2113}"/>
              </a:ext>
            </a:extLst>
          </p:cNvPr>
          <p:cNvSpPr>
            <a:spLocks noGrp="1"/>
          </p:cNvSpPr>
          <p:nvPr>
            <p:ph type="title"/>
          </p:nvPr>
        </p:nvSpPr>
        <p:spPr/>
        <p:txBody>
          <a:bodyPr vert="horz"/>
          <a:lstStyle/>
          <a:p>
            <a:r>
              <a:rPr lang="nl-NL" dirty="0"/>
              <a:t>Er zijn een aantal standaard grafieken voor typische situaties</a:t>
            </a:r>
          </a:p>
        </p:txBody>
      </p:sp>
      <p:graphicFrame>
        <p:nvGraphicFramePr>
          <p:cNvPr id="63" name="Chart 62">
            <a:extLst>
              <a:ext uri="{FF2B5EF4-FFF2-40B4-BE49-F238E27FC236}">
                <a16:creationId xmlns:a16="http://schemas.microsoft.com/office/drawing/2014/main" id="{452C761F-B1D2-4FB1-A228-D99C23FFD70D}"/>
              </a:ext>
            </a:extLst>
          </p:cNvPr>
          <p:cNvGraphicFramePr/>
          <p:nvPr>
            <p:custDataLst>
              <p:tags r:id="rId2"/>
            </p:custDataLst>
          </p:nvPr>
        </p:nvGraphicFramePr>
        <p:xfrm>
          <a:off x="854075" y="2174875"/>
          <a:ext cx="2622550" cy="1641475"/>
        </p:xfrm>
        <a:graphic>
          <a:graphicData uri="http://schemas.openxmlformats.org/drawingml/2006/chart">
            <c:chart xmlns:c="http://schemas.openxmlformats.org/drawingml/2006/chart" xmlns:r="http://schemas.openxmlformats.org/officeDocument/2006/relationships" r:id="rId52"/>
          </a:graphicData>
        </a:graphic>
      </p:graphicFrame>
      <p:sp>
        <p:nvSpPr>
          <p:cNvPr id="25" name="Content 1">
            <a:extLst>
              <a:ext uri="{FF2B5EF4-FFF2-40B4-BE49-F238E27FC236}">
                <a16:creationId xmlns:a16="http://schemas.microsoft.com/office/drawing/2014/main" id="{4B9982FA-94CE-476E-98B9-AED20350F85D}"/>
              </a:ext>
            </a:extLst>
          </p:cNvPr>
          <p:cNvSpPr>
            <a:spLocks noGrp="1"/>
          </p:cNvSpPr>
          <p:nvPr>
            <p:custDataLst>
              <p:tags r:id="rId3"/>
            </p:custDataLst>
          </p:nvPr>
        </p:nvSpPr>
        <p:spPr bwMode="auto">
          <a:xfrm>
            <a:off x="3313113" y="3106738"/>
            <a:ext cx="4032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A83C6815-5079-446E-BCD4-058CCEE2D85B}" type="datetime'S''e''''''''''rie''s'''''''''''''''' 3'''''''''''">
              <a:rPr lang="nl-NL" altLang="en-US" sz="1000" smtClean="0">
                <a:solidFill>
                  <a:schemeClr val="tx1"/>
                </a:solidFill>
                <a:effectLst/>
                <a:latin typeface="+mn-lt"/>
              </a:rPr>
              <a:pPr marL="0" indent="0">
                <a:spcBef>
                  <a:spcPct val="0"/>
                </a:spcBef>
                <a:spcAft>
                  <a:spcPct val="0"/>
                </a:spcAft>
                <a:buNone/>
              </a:pPr>
              <a:t>Series 3</a:t>
            </a:fld>
            <a:endParaRPr lang="nl-NL" sz="1000" noProof="0" dirty="0">
              <a:solidFill>
                <a:schemeClr val="tx1"/>
              </a:solidFill>
              <a:latin typeface="+mn-lt"/>
            </a:endParaRPr>
          </a:p>
        </p:txBody>
      </p:sp>
      <p:sp>
        <p:nvSpPr>
          <p:cNvPr id="21" name="Content 1">
            <a:extLst>
              <a:ext uri="{FF2B5EF4-FFF2-40B4-BE49-F238E27FC236}">
                <a16:creationId xmlns:a16="http://schemas.microsoft.com/office/drawing/2014/main" id="{4B9982FA-94CE-476E-98B9-AED20350F85D}"/>
              </a:ext>
            </a:extLst>
          </p:cNvPr>
          <p:cNvSpPr>
            <a:spLocks noGrp="1"/>
          </p:cNvSpPr>
          <p:nvPr>
            <p:custDataLst>
              <p:tags r:id="rId4"/>
            </p:custDataLst>
          </p:nvPr>
        </p:nvSpPr>
        <p:spPr bwMode="auto">
          <a:xfrm>
            <a:off x="2027238" y="3776663"/>
            <a:ext cx="2730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4CE6191-6336-4EDB-AF68-B34C4076A4E5}" type="datetime'''''2''''''''''0''''''''''''2''''''''''''''0'''''''''''''''''">
              <a:rPr lang="nl-NL" altLang="en-US" sz="1000" smtClean="0">
                <a:solidFill>
                  <a:schemeClr val="tx1"/>
                </a:solidFill>
                <a:effectLst/>
                <a:latin typeface="+mn-lt"/>
              </a:rPr>
              <a:pPr marL="0" indent="0" algn="ctr">
                <a:spcBef>
                  <a:spcPct val="0"/>
                </a:spcBef>
                <a:spcAft>
                  <a:spcPct val="0"/>
                </a:spcAft>
                <a:buNone/>
              </a:pPr>
              <a:t>2020</a:t>
            </a:fld>
            <a:endParaRPr lang="nl-NL" sz="1000" noProof="0" dirty="0">
              <a:solidFill>
                <a:schemeClr val="tx1"/>
              </a:solidFill>
              <a:latin typeface="+mn-lt"/>
            </a:endParaRPr>
          </a:p>
        </p:txBody>
      </p:sp>
      <p:sp>
        <p:nvSpPr>
          <p:cNvPr id="47" name="Content 1">
            <a:extLst>
              <a:ext uri="{FF2B5EF4-FFF2-40B4-BE49-F238E27FC236}">
                <a16:creationId xmlns:a16="http://schemas.microsoft.com/office/drawing/2014/main" id="{4B9982FA-94CE-476E-98B9-AED20350F85D}"/>
              </a:ext>
            </a:extLst>
          </p:cNvPr>
          <p:cNvSpPr>
            <a:spLocks noGrp="1"/>
          </p:cNvSpPr>
          <p:nvPr>
            <p:custDataLst>
              <p:tags r:id="rId5"/>
            </p:custDataLst>
          </p:nvPr>
        </p:nvSpPr>
        <p:spPr bwMode="gray">
          <a:xfrm>
            <a:off x="1295400" y="3036888"/>
            <a:ext cx="100013" cy="136525"/>
          </a:xfrm>
          <a:prstGeom prst="rect">
            <a:avLst/>
          </a:prstGeom>
          <a:solidFill>
            <a:schemeClr val="accent5"/>
          </a:solidFill>
          <a:ln>
            <a:noFill/>
          </a:ln>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52B3761-C840-465D-8453-A5200C3F4746}" type="datetime'4'''''''''''''''''''''''''">
              <a:rPr lang="nl-NL" altLang="en-US" sz="1000" smtClean="0">
                <a:solidFill>
                  <a:schemeClr val="tx1"/>
                </a:solidFill>
                <a:effectLst/>
                <a:latin typeface="+mn-lt"/>
              </a:rPr>
              <a:pPr marL="0" indent="0" algn="ctr">
                <a:spcBef>
                  <a:spcPct val="0"/>
                </a:spcBef>
                <a:spcAft>
                  <a:spcPct val="0"/>
                </a:spcAft>
                <a:buNone/>
              </a:pPr>
              <a:t>4</a:t>
            </a:fld>
            <a:endParaRPr lang="nl-NL" sz="1000" noProof="0" dirty="0">
              <a:solidFill>
                <a:schemeClr val="tx1"/>
              </a:solidFill>
              <a:latin typeface="+mn-lt"/>
            </a:endParaRPr>
          </a:p>
        </p:txBody>
      </p:sp>
      <p:sp>
        <p:nvSpPr>
          <p:cNvPr id="19" name="Content 1">
            <a:extLst>
              <a:ext uri="{FF2B5EF4-FFF2-40B4-BE49-F238E27FC236}">
                <a16:creationId xmlns:a16="http://schemas.microsoft.com/office/drawing/2014/main" id="{4B9982FA-94CE-476E-98B9-AED20350F85D}"/>
              </a:ext>
            </a:extLst>
          </p:cNvPr>
          <p:cNvSpPr>
            <a:spLocks noGrp="1"/>
          </p:cNvSpPr>
          <p:nvPr>
            <p:custDataLst>
              <p:tags r:id="rId6"/>
            </p:custDataLst>
          </p:nvPr>
        </p:nvSpPr>
        <p:spPr bwMode="auto">
          <a:xfrm>
            <a:off x="1211263" y="3776663"/>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D4418AD-5FD5-4521-B6A0-2D707B7F10C6}" type="datetime'''''''''''''''''''2''''''''01''''''''''''''''''9'''''''''">
              <a:rPr lang="nl-NL" altLang="en-US" sz="1000" smtClean="0">
                <a:solidFill>
                  <a:schemeClr val="tx1"/>
                </a:solidFill>
                <a:effectLst/>
                <a:latin typeface="+mn-lt"/>
              </a:rPr>
              <a:pPr marL="0" indent="0" algn="ctr">
                <a:spcBef>
                  <a:spcPct val="0"/>
                </a:spcBef>
                <a:spcAft>
                  <a:spcPct val="0"/>
                </a:spcAft>
                <a:buNone/>
              </a:pPr>
              <a:t>2019</a:t>
            </a:fld>
            <a:endParaRPr lang="nl-NL" sz="1000" noProof="0" dirty="0">
              <a:solidFill>
                <a:schemeClr val="tx1"/>
              </a:solidFill>
              <a:latin typeface="+mn-lt"/>
            </a:endParaRPr>
          </a:p>
        </p:txBody>
      </p:sp>
      <p:sp>
        <p:nvSpPr>
          <p:cNvPr id="22" name="Content 1">
            <a:extLst>
              <a:ext uri="{FF2B5EF4-FFF2-40B4-BE49-F238E27FC236}">
                <a16:creationId xmlns:a16="http://schemas.microsoft.com/office/drawing/2014/main" id="{4B9982FA-94CE-476E-98B9-AED20350F85D}"/>
              </a:ext>
            </a:extLst>
          </p:cNvPr>
          <p:cNvSpPr>
            <a:spLocks noGrp="1"/>
          </p:cNvSpPr>
          <p:nvPr>
            <p:custDataLst>
              <p:tags r:id="rId7"/>
            </p:custDataLst>
          </p:nvPr>
        </p:nvSpPr>
        <p:spPr bwMode="auto">
          <a:xfrm>
            <a:off x="2851150" y="3776663"/>
            <a:ext cx="2651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62D040D-1489-4492-B001-6236C5322D11}" type="datetime'''''''2''''''''''0''''''''21'''''''''''''''">
              <a:rPr lang="nl-NL" altLang="en-US" sz="1000" smtClean="0">
                <a:solidFill>
                  <a:schemeClr val="tx1"/>
                </a:solidFill>
                <a:effectLst/>
                <a:latin typeface="+mn-lt"/>
              </a:rPr>
              <a:pPr marL="0" indent="0" algn="ctr">
                <a:spcBef>
                  <a:spcPct val="0"/>
                </a:spcBef>
                <a:spcAft>
                  <a:spcPct val="0"/>
                </a:spcAft>
                <a:buNone/>
              </a:pPr>
              <a:t>2021</a:t>
            </a:fld>
            <a:endParaRPr lang="nl-NL" sz="1000" noProof="0" dirty="0">
              <a:solidFill>
                <a:schemeClr val="tx1"/>
              </a:solidFill>
              <a:latin typeface="+mn-lt"/>
            </a:endParaRPr>
          </a:p>
        </p:txBody>
      </p:sp>
      <p:sp>
        <p:nvSpPr>
          <p:cNvPr id="26" name="Content 1">
            <a:extLst>
              <a:ext uri="{FF2B5EF4-FFF2-40B4-BE49-F238E27FC236}">
                <a16:creationId xmlns:a16="http://schemas.microsoft.com/office/drawing/2014/main" id="{4B9982FA-94CE-476E-98B9-AED20350F85D}"/>
              </a:ext>
            </a:extLst>
          </p:cNvPr>
          <p:cNvSpPr>
            <a:spLocks noGrp="1"/>
          </p:cNvSpPr>
          <p:nvPr>
            <p:custDataLst>
              <p:tags r:id="rId8"/>
            </p:custDataLst>
          </p:nvPr>
        </p:nvSpPr>
        <p:spPr bwMode="gray">
          <a:xfrm>
            <a:off x="1263650" y="2887663"/>
            <a:ext cx="1619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4EFB08D-368D-41FC-B3CC-8E71B6D9D027}" type="datetime'''''''''''''''''''''''''''''''''''''''2''''''2'''''''">
              <a:rPr lang="nl-NL" altLang="en-US" sz="1000" b="1" smtClean="0">
                <a:solidFill>
                  <a:schemeClr val="tx1"/>
                </a:solidFill>
                <a:effectLst/>
                <a:latin typeface="+mn-lt"/>
              </a:rPr>
              <a:pPr marL="0" indent="0" algn="ctr">
                <a:spcBef>
                  <a:spcPct val="0"/>
                </a:spcBef>
                <a:spcAft>
                  <a:spcPct val="0"/>
                </a:spcAft>
                <a:buNone/>
              </a:pPr>
              <a:t>22</a:t>
            </a:fld>
            <a:endParaRPr lang="nl-NL" sz="1000" b="1" noProof="0" dirty="0">
              <a:solidFill>
                <a:schemeClr val="tx1"/>
              </a:solidFill>
              <a:latin typeface="+mn-lt"/>
            </a:endParaRPr>
          </a:p>
        </p:txBody>
      </p:sp>
      <p:sp>
        <p:nvSpPr>
          <p:cNvPr id="23" name="Content 1">
            <a:extLst>
              <a:ext uri="{FF2B5EF4-FFF2-40B4-BE49-F238E27FC236}">
                <a16:creationId xmlns:a16="http://schemas.microsoft.com/office/drawing/2014/main" id="{4B9982FA-94CE-476E-98B9-AED20350F85D}"/>
              </a:ext>
            </a:extLst>
          </p:cNvPr>
          <p:cNvSpPr>
            <a:spLocks noGrp="1"/>
          </p:cNvSpPr>
          <p:nvPr>
            <p:custDataLst>
              <p:tags r:id="rId9"/>
            </p:custDataLst>
          </p:nvPr>
        </p:nvSpPr>
        <p:spPr bwMode="auto">
          <a:xfrm>
            <a:off x="3313113" y="2257425"/>
            <a:ext cx="4032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9FBDDD21-AE1F-41C2-AC12-FEBB50258264}" type="datetime'S''''''''e''''''''''''''ri''''''''e''''''''''''s'' 1'''''''">
              <a:rPr lang="nl-NL" altLang="en-US" sz="1000" smtClean="0">
                <a:solidFill>
                  <a:schemeClr val="tx1"/>
                </a:solidFill>
                <a:effectLst/>
                <a:latin typeface="+mn-lt"/>
              </a:rPr>
              <a:pPr marL="0" indent="0">
                <a:spcBef>
                  <a:spcPct val="0"/>
                </a:spcBef>
                <a:spcAft>
                  <a:spcPct val="0"/>
                </a:spcAft>
                <a:buNone/>
              </a:pPr>
              <a:t>Series 1</a:t>
            </a:fld>
            <a:endParaRPr lang="nl-NL" sz="1000" noProof="0" dirty="0">
              <a:solidFill>
                <a:schemeClr val="tx1"/>
              </a:solidFill>
              <a:latin typeface="+mn-lt"/>
            </a:endParaRPr>
          </a:p>
        </p:txBody>
      </p:sp>
      <p:sp>
        <p:nvSpPr>
          <p:cNvPr id="24" name="Content 1">
            <a:extLst>
              <a:ext uri="{FF2B5EF4-FFF2-40B4-BE49-F238E27FC236}">
                <a16:creationId xmlns:a16="http://schemas.microsoft.com/office/drawing/2014/main" id="{4B9982FA-94CE-476E-98B9-AED20350F85D}"/>
              </a:ext>
            </a:extLst>
          </p:cNvPr>
          <p:cNvSpPr>
            <a:spLocks noGrp="1"/>
          </p:cNvSpPr>
          <p:nvPr>
            <p:custDataLst>
              <p:tags r:id="rId10"/>
            </p:custDataLst>
          </p:nvPr>
        </p:nvSpPr>
        <p:spPr bwMode="auto">
          <a:xfrm>
            <a:off x="3313113" y="2444750"/>
            <a:ext cx="4111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E69315E7-47CB-4AD5-A02D-512061BA6D99}" type="datetime'Se''''r''i''''''''e''''s'''''' ''''''''''2'''''''''">
              <a:rPr lang="nl-NL" altLang="en-US" sz="1000" smtClean="0">
                <a:solidFill>
                  <a:schemeClr val="tx1"/>
                </a:solidFill>
                <a:effectLst/>
                <a:latin typeface="+mn-lt"/>
              </a:rPr>
              <a:pPr marL="0" indent="0">
                <a:spcBef>
                  <a:spcPct val="0"/>
                </a:spcBef>
                <a:spcAft>
                  <a:spcPct val="0"/>
                </a:spcAft>
                <a:buNone/>
              </a:pPr>
              <a:t>Series 2</a:t>
            </a:fld>
            <a:endParaRPr lang="nl-NL" sz="1000" noProof="0" dirty="0">
              <a:solidFill>
                <a:schemeClr val="tx1"/>
              </a:solidFill>
              <a:latin typeface="+mn-lt"/>
            </a:endParaRPr>
          </a:p>
        </p:txBody>
      </p:sp>
      <p:sp>
        <p:nvSpPr>
          <p:cNvPr id="27" name="Content 1">
            <a:extLst>
              <a:ext uri="{FF2B5EF4-FFF2-40B4-BE49-F238E27FC236}">
                <a16:creationId xmlns:a16="http://schemas.microsoft.com/office/drawing/2014/main" id="{4B9982FA-94CE-476E-98B9-AED20350F85D}"/>
              </a:ext>
            </a:extLst>
          </p:cNvPr>
          <p:cNvSpPr>
            <a:spLocks noGrp="1"/>
          </p:cNvSpPr>
          <p:nvPr>
            <p:custDataLst>
              <p:tags r:id="rId11"/>
            </p:custDataLst>
          </p:nvPr>
        </p:nvSpPr>
        <p:spPr bwMode="gray">
          <a:xfrm>
            <a:off x="2084388" y="2586038"/>
            <a:ext cx="1603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F3F1ECA-1CCF-4E7B-A268-3B9B06A906DB}" type="datetime'''''''3''''''''1'''''''''''''''''''''''">
              <a:rPr lang="nl-NL" altLang="en-US" sz="1000" b="1" smtClean="0">
                <a:solidFill>
                  <a:schemeClr val="tx1"/>
                </a:solidFill>
                <a:effectLst/>
                <a:latin typeface="+mn-lt"/>
              </a:rPr>
              <a:pPr marL="0" indent="0" algn="ctr">
                <a:spcBef>
                  <a:spcPct val="0"/>
                </a:spcBef>
                <a:spcAft>
                  <a:spcPct val="0"/>
                </a:spcAft>
                <a:buNone/>
              </a:pPr>
              <a:t>31</a:t>
            </a:fld>
            <a:endParaRPr lang="nl-NL" sz="1000" b="1" noProof="0" dirty="0">
              <a:solidFill>
                <a:schemeClr val="tx1"/>
              </a:solidFill>
              <a:latin typeface="+mn-lt"/>
            </a:endParaRPr>
          </a:p>
        </p:txBody>
      </p:sp>
      <p:sp>
        <p:nvSpPr>
          <p:cNvPr id="28" name="Content 1">
            <a:extLst>
              <a:ext uri="{FF2B5EF4-FFF2-40B4-BE49-F238E27FC236}">
                <a16:creationId xmlns:a16="http://schemas.microsoft.com/office/drawing/2014/main" id="{4B9982FA-94CE-476E-98B9-AED20350F85D}"/>
              </a:ext>
            </a:extLst>
          </p:cNvPr>
          <p:cNvSpPr>
            <a:spLocks noGrp="1"/>
          </p:cNvSpPr>
          <p:nvPr>
            <p:custDataLst>
              <p:tags r:id="rId12"/>
            </p:custDataLst>
          </p:nvPr>
        </p:nvSpPr>
        <p:spPr bwMode="gray">
          <a:xfrm>
            <a:off x="2897188" y="2095500"/>
            <a:ext cx="1714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71ACD20-1CC1-4F34-8141-13BBC770922F}" type="datetime'''''''''''''''''''''''''''''4''''''''''''''''''''6'''''''">
              <a:rPr lang="nl-NL" altLang="en-US" sz="1000" b="1" smtClean="0">
                <a:solidFill>
                  <a:schemeClr val="tx1"/>
                </a:solidFill>
                <a:effectLst/>
                <a:latin typeface="+mn-lt"/>
              </a:rPr>
              <a:pPr marL="0" indent="0" algn="ctr">
                <a:spcBef>
                  <a:spcPct val="0"/>
                </a:spcBef>
                <a:spcAft>
                  <a:spcPct val="0"/>
                </a:spcAft>
                <a:buNone/>
              </a:pPr>
              <a:t>46</a:t>
            </a:fld>
            <a:endParaRPr lang="nl-NL" sz="1000" b="1" noProof="0" dirty="0">
              <a:solidFill>
                <a:schemeClr val="tx1"/>
              </a:solidFill>
              <a:latin typeface="+mn-lt"/>
            </a:endParaRPr>
          </a:p>
        </p:txBody>
      </p:sp>
      <p:sp>
        <p:nvSpPr>
          <p:cNvPr id="51" name="Rectangle 50">
            <a:extLst>
              <a:ext uri="{FF2B5EF4-FFF2-40B4-BE49-F238E27FC236}">
                <a16:creationId xmlns:a16="http://schemas.microsoft.com/office/drawing/2014/main" id="{D540A20D-18FD-40DE-9205-1FC5990A0AEF}"/>
              </a:ext>
            </a:extLst>
          </p:cNvPr>
          <p:cNvSpPr/>
          <p:nvPr/>
        </p:nvSpPr>
        <p:spPr>
          <a:xfrm>
            <a:off x="658814" y="0"/>
            <a:ext cx="277500" cy="257175"/>
          </a:xfrm>
          <a:prstGeom prst="rect">
            <a:avLst/>
          </a:prstGeom>
          <a:solidFill>
            <a:srgbClr val="808080"/>
          </a:solidFill>
        </p:spPr>
        <p:txBody>
          <a:bodyPr lIns="72000" rIns="72000" rtlCol="0" anchor="t">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52" name="Rectangle 51">
            <a:extLst>
              <a:ext uri="{FF2B5EF4-FFF2-40B4-BE49-F238E27FC236}">
                <a16:creationId xmlns:a16="http://schemas.microsoft.com/office/drawing/2014/main" id="{9BB038F1-DDC5-4841-B4D5-6D4BD0976969}"/>
              </a:ext>
            </a:extLst>
          </p:cNvPr>
          <p:cNvSpPr/>
          <p:nvPr/>
        </p:nvSpPr>
        <p:spPr>
          <a:xfrm>
            <a:off x="936314" y="0"/>
            <a:ext cx="3401346" cy="266699"/>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lIns="72000" rIns="72000" rtlCol="0" anchor="ctr">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Inhoud van een slide - Grafieken</a:t>
            </a:r>
          </a:p>
        </p:txBody>
      </p:sp>
      <p:graphicFrame>
        <p:nvGraphicFramePr>
          <p:cNvPr id="64" name="Chart 63">
            <a:extLst>
              <a:ext uri="{FF2B5EF4-FFF2-40B4-BE49-F238E27FC236}">
                <a16:creationId xmlns:a16="http://schemas.microsoft.com/office/drawing/2014/main" id="{0793A47C-56DB-43C6-A768-13BBCECDED4F}"/>
              </a:ext>
            </a:extLst>
          </p:cNvPr>
          <p:cNvGraphicFramePr/>
          <p:nvPr>
            <p:custDataLst>
              <p:tags r:id="rId13"/>
            </p:custDataLst>
          </p:nvPr>
        </p:nvGraphicFramePr>
        <p:xfrm>
          <a:off x="5283200" y="2174875"/>
          <a:ext cx="1682750" cy="1641475"/>
        </p:xfrm>
        <a:graphic>
          <a:graphicData uri="http://schemas.openxmlformats.org/drawingml/2006/chart">
            <c:chart xmlns:c="http://schemas.openxmlformats.org/drawingml/2006/chart" xmlns:r="http://schemas.openxmlformats.org/officeDocument/2006/relationships" r:id="rId53"/>
          </a:graphicData>
        </a:graphic>
      </p:graphicFrame>
      <p:sp>
        <p:nvSpPr>
          <p:cNvPr id="116" name="Content 1">
            <a:extLst>
              <a:ext uri="{FF2B5EF4-FFF2-40B4-BE49-F238E27FC236}">
                <a16:creationId xmlns:a16="http://schemas.microsoft.com/office/drawing/2014/main" id="{783FB25A-77F8-4A13-880D-E56C45B4AFF7}"/>
              </a:ext>
            </a:extLst>
          </p:cNvPr>
          <p:cNvSpPr>
            <a:spLocks noGrp="1"/>
          </p:cNvSpPr>
          <p:nvPr>
            <p:custDataLst>
              <p:tags r:id="rId14"/>
            </p:custDataLst>
          </p:nvPr>
        </p:nvSpPr>
        <p:spPr bwMode="auto">
          <a:xfrm>
            <a:off x="4875213" y="3417888"/>
            <a:ext cx="4048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6596196D-9B5B-4521-A5D8-4472ADD08836}" type="datetime'''''U''''''''t''''''''''r''e''''''''''c''''ht'''''''''''''">
              <a:rPr lang="nl-NL" altLang="en-US" sz="1000" smtClean="0">
                <a:solidFill>
                  <a:schemeClr val="tx1"/>
                </a:solidFill>
              </a:rPr>
              <a:pPr/>
              <a:t>Utrecht</a:t>
            </a:fld>
            <a:endParaRPr lang="nl-NL" sz="1000" noProof="0" dirty="0">
              <a:solidFill>
                <a:schemeClr val="tx1"/>
              </a:solidFill>
              <a:latin typeface="+mn-lt"/>
            </a:endParaRPr>
          </a:p>
        </p:txBody>
      </p:sp>
      <p:sp>
        <p:nvSpPr>
          <p:cNvPr id="113" name="Content 1">
            <a:extLst>
              <a:ext uri="{FF2B5EF4-FFF2-40B4-BE49-F238E27FC236}">
                <a16:creationId xmlns:a16="http://schemas.microsoft.com/office/drawing/2014/main" id="{61E7ABB0-F902-4B31-8843-F36800AC1364}"/>
              </a:ext>
            </a:extLst>
          </p:cNvPr>
          <p:cNvSpPr>
            <a:spLocks noGrp="1"/>
          </p:cNvSpPr>
          <p:nvPr>
            <p:custDataLst>
              <p:tags r:id="rId15"/>
            </p:custDataLst>
          </p:nvPr>
        </p:nvSpPr>
        <p:spPr bwMode="auto">
          <a:xfrm>
            <a:off x="4706938" y="2925763"/>
            <a:ext cx="5730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54EBF639-8249-4FE4-AE6F-52706E10A01E}" type="datetime'''Rot''t''''''''''e''''''rd''''''''''''''am'''">
              <a:rPr lang="nl-NL" altLang="en-US" sz="1000" smtClean="0">
                <a:solidFill>
                  <a:schemeClr val="tx1"/>
                </a:solidFill>
              </a:rPr>
              <a:pPr/>
              <a:t>Rotterdam</a:t>
            </a:fld>
            <a:endParaRPr lang="nl-NL" sz="1000" noProof="0" dirty="0">
              <a:solidFill>
                <a:schemeClr val="tx1"/>
              </a:solidFill>
              <a:latin typeface="+mn-lt"/>
            </a:endParaRPr>
          </a:p>
        </p:txBody>
      </p:sp>
      <p:sp>
        <p:nvSpPr>
          <p:cNvPr id="71" name="Content 1">
            <a:extLst>
              <a:ext uri="{FF2B5EF4-FFF2-40B4-BE49-F238E27FC236}">
                <a16:creationId xmlns:a16="http://schemas.microsoft.com/office/drawing/2014/main" id="{44E8D5B9-51BF-4D42-86DD-100C0001E1B6}"/>
              </a:ext>
            </a:extLst>
          </p:cNvPr>
          <p:cNvSpPr>
            <a:spLocks noGrp="1"/>
          </p:cNvSpPr>
          <p:nvPr>
            <p:custDataLst>
              <p:tags r:id="rId16"/>
            </p:custDataLst>
          </p:nvPr>
        </p:nvSpPr>
        <p:spPr bwMode="auto">
          <a:xfrm>
            <a:off x="4657725" y="2433638"/>
            <a:ext cx="622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D0063DBC-36B8-41FF-903A-47F3E7C038B3}" type="datetime'Am''s''''''''''''''te''r''''''d''''''a''''''''''''''m'''''">
              <a:rPr lang="nl-NL" altLang="en-US" sz="1000" smtClean="0">
                <a:solidFill>
                  <a:schemeClr val="tx1"/>
                </a:solidFill>
              </a:rPr>
              <a:pPr/>
              <a:t>Amsterdam</a:t>
            </a:fld>
            <a:endParaRPr lang="nl-NL" sz="1000" noProof="0" dirty="0">
              <a:solidFill>
                <a:schemeClr val="tx1"/>
              </a:solidFill>
              <a:latin typeface="+mn-lt"/>
            </a:endParaRPr>
          </a:p>
        </p:txBody>
      </p:sp>
      <p:graphicFrame>
        <p:nvGraphicFramePr>
          <p:cNvPr id="65" name="Chart 64">
            <a:extLst>
              <a:ext uri="{FF2B5EF4-FFF2-40B4-BE49-F238E27FC236}">
                <a16:creationId xmlns:a16="http://schemas.microsoft.com/office/drawing/2014/main" id="{349EA833-9A16-4043-BBA8-CE9C52D9D14A}"/>
              </a:ext>
            </a:extLst>
          </p:cNvPr>
          <p:cNvGraphicFramePr/>
          <p:nvPr>
            <p:custDataLst>
              <p:tags r:id="rId17"/>
            </p:custDataLst>
          </p:nvPr>
        </p:nvGraphicFramePr>
        <p:xfrm>
          <a:off x="8378825" y="2174875"/>
          <a:ext cx="2622550" cy="1641475"/>
        </p:xfrm>
        <a:graphic>
          <a:graphicData uri="http://schemas.openxmlformats.org/drawingml/2006/chart">
            <c:chart xmlns:c="http://schemas.openxmlformats.org/drawingml/2006/chart" xmlns:r="http://schemas.openxmlformats.org/officeDocument/2006/relationships" r:id="rId54"/>
          </a:graphicData>
        </a:graphic>
      </p:graphicFrame>
      <p:sp>
        <p:nvSpPr>
          <p:cNvPr id="150" name="Content 1">
            <a:extLst>
              <a:ext uri="{FF2B5EF4-FFF2-40B4-BE49-F238E27FC236}">
                <a16:creationId xmlns:a16="http://schemas.microsoft.com/office/drawing/2014/main" id="{258F6FCA-2C3B-4E89-ADA9-A22779D3EAD1}"/>
              </a:ext>
            </a:extLst>
          </p:cNvPr>
          <p:cNvSpPr>
            <a:spLocks noGrp="1"/>
          </p:cNvSpPr>
          <p:nvPr>
            <p:custDataLst>
              <p:tags r:id="rId18"/>
            </p:custDataLst>
          </p:nvPr>
        </p:nvSpPr>
        <p:spPr bwMode="gray">
          <a:xfrm>
            <a:off x="8788400" y="2095500"/>
            <a:ext cx="1619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DB4D7AF-0A2A-4DA6-BF82-B4250426E4B5}" type="datetime'''''''''2''''''''''''''''''2'''''''''''''''''''''''''''''''">
              <a:rPr lang="nl-NL" altLang="en-US" sz="1000" b="1" smtClean="0">
                <a:solidFill>
                  <a:schemeClr val="tx1"/>
                </a:solidFill>
              </a:rPr>
              <a:pPr/>
              <a:t>22</a:t>
            </a:fld>
            <a:endParaRPr lang="nl-NL" sz="1000" b="1" noProof="0" dirty="0">
              <a:solidFill>
                <a:schemeClr val="tx1"/>
              </a:solidFill>
              <a:latin typeface="+mn-lt"/>
            </a:endParaRPr>
          </a:p>
        </p:txBody>
      </p:sp>
      <p:sp>
        <p:nvSpPr>
          <p:cNvPr id="145" name="Content 1">
            <a:extLst>
              <a:ext uri="{FF2B5EF4-FFF2-40B4-BE49-F238E27FC236}">
                <a16:creationId xmlns:a16="http://schemas.microsoft.com/office/drawing/2014/main" id="{51CAAE89-19D1-4FB8-B0C0-D1DAEC33C724}"/>
              </a:ext>
            </a:extLst>
          </p:cNvPr>
          <p:cNvSpPr>
            <a:spLocks noGrp="1"/>
          </p:cNvSpPr>
          <p:nvPr>
            <p:custDataLst>
              <p:tags r:id="rId19"/>
            </p:custDataLst>
          </p:nvPr>
        </p:nvSpPr>
        <p:spPr bwMode="auto">
          <a:xfrm>
            <a:off x="9551988" y="3776663"/>
            <a:ext cx="2730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4445C16-A809-4A83-9635-3C6FA7A14204}" type="datetime'''''2''''0''2''''0'''''''''''''''''''''''''''''''">
              <a:rPr lang="nl-NL" altLang="en-US" sz="1000" smtClean="0">
                <a:solidFill>
                  <a:schemeClr val="tx1"/>
                </a:solidFill>
              </a:rPr>
              <a:pPr/>
              <a:t>2020</a:t>
            </a:fld>
            <a:endParaRPr lang="nl-NL" sz="1000" noProof="0" dirty="0">
              <a:solidFill>
                <a:schemeClr val="tx1"/>
              </a:solidFill>
              <a:latin typeface="+mn-lt"/>
            </a:endParaRPr>
          </a:p>
        </p:txBody>
      </p:sp>
      <p:sp>
        <p:nvSpPr>
          <p:cNvPr id="143" name="Content 1">
            <a:extLst>
              <a:ext uri="{FF2B5EF4-FFF2-40B4-BE49-F238E27FC236}">
                <a16:creationId xmlns:a16="http://schemas.microsoft.com/office/drawing/2014/main" id="{9E738C6B-44A5-42DC-8323-7A4C43173BD1}"/>
              </a:ext>
            </a:extLst>
          </p:cNvPr>
          <p:cNvSpPr>
            <a:spLocks noGrp="1"/>
          </p:cNvSpPr>
          <p:nvPr>
            <p:custDataLst>
              <p:tags r:id="rId20"/>
            </p:custDataLst>
          </p:nvPr>
        </p:nvSpPr>
        <p:spPr bwMode="auto">
          <a:xfrm>
            <a:off x="8736013" y="3776663"/>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193160B-F765-4015-9364-A008CE08C085}" type="datetime'20''''''''''1''''''''''''''''''''''''''''''''''''9'''''">
              <a:rPr lang="nl-NL" altLang="en-US" sz="1000" smtClean="0">
                <a:solidFill>
                  <a:schemeClr val="tx1"/>
                </a:solidFill>
              </a:rPr>
              <a:pPr/>
              <a:t>2019</a:t>
            </a:fld>
            <a:endParaRPr lang="nl-NL" sz="1000" noProof="0" dirty="0">
              <a:solidFill>
                <a:schemeClr val="tx1"/>
              </a:solidFill>
              <a:latin typeface="+mn-lt"/>
            </a:endParaRPr>
          </a:p>
        </p:txBody>
      </p:sp>
      <p:sp>
        <p:nvSpPr>
          <p:cNvPr id="149" name="Content 1">
            <a:extLst>
              <a:ext uri="{FF2B5EF4-FFF2-40B4-BE49-F238E27FC236}">
                <a16:creationId xmlns:a16="http://schemas.microsoft.com/office/drawing/2014/main" id="{B34A7BCA-5724-4FED-BB2B-639E6ABDA963}"/>
              </a:ext>
            </a:extLst>
          </p:cNvPr>
          <p:cNvSpPr>
            <a:spLocks noGrp="1"/>
          </p:cNvSpPr>
          <p:nvPr>
            <p:custDataLst>
              <p:tags r:id="rId21"/>
            </p:custDataLst>
          </p:nvPr>
        </p:nvSpPr>
        <p:spPr bwMode="auto">
          <a:xfrm>
            <a:off x="10837863" y="2444750"/>
            <a:ext cx="4111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8721ED75-5728-4ED7-9B64-4BE09E5981BB}" type="datetime'''Se''''''''''''r''''i''e''''''''s'''' ''''''2'''''''''''''''">
              <a:rPr lang="nl-NL" altLang="en-US" sz="1000" smtClean="0">
                <a:solidFill>
                  <a:schemeClr val="tx1"/>
                </a:solidFill>
              </a:rPr>
              <a:pPr/>
              <a:t>Series 2</a:t>
            </a:fld>
            <a:endParaRPr lang="nl-NL" sz="1000" noProof="0" dirty="0">
              <a:solidFill>
                <a:schemeClr val="tx1"/>
              </a:solidFill>
              <a:latin typeface="+mn-lt"/>
            </a:endParaRPr>
          </a:p>
        </p:txBody>
      </p:sp>
      <p:sp>
        <p:nvSpPr>
          <p:cNvPr id="147" name="Content 1">
            <a:extLst>
              <a:ext uri="{FF2B5EF4-FFF2-40B4-BE49-F238E27FC236}">
                <a16:creationId xmlns:a16="http://schemas.microsoft.com/office/drawing/2014/main" id="{B7B3E12F-B706-4364-B16A-66D2CADE0589}"/>
              </a:ext>
            </a:extLst>
          </p:cNvPr>
          <p:cNvSpPr>
            <a:spLocks noGrp="1"/>
          </p:cNvSpPr>
          <p:nvPr>
            <p:custDataLst>
              <p:tags r:id="rId22"/>
            </p:custDataLst>
          </p:nvPr>
        </p:nvSpPr>
        <p:spPr bwMode="auto">
          <a:xfrm>
            <a:off x="10375900" y="3776663"/>
            <a:ext cx="2651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58A0A4A-527B-4815-8E22-37722D4A3313}" type="datetime'2''0''''''''''''''''''''''''''''''''''''''2''''1'''''''">
              <a:rPr lang="nl-NL" altLang="en-US" sz="1000" smtClean="0">
                <a:solidFill>
                  <a:schemeClr val="tx1"/>
                </a:solidFill>
              </a:rPr>
              <a:pPr/>
              <a:t>2021</a:t>
            </a:fld>
            <a:endParaRPr lang="nl-NL" sz="1000" noProof="0" dirty="0">
              <a:solidFill>
                <a:schemeClr val="tx1"/>
              </a:solidFill>
              <a:latin typeface="+mn-lt"/>
            </a:endParaRPr>
          </a:p>
        </p:txBody>
      </p:sp>
      <p:sp>
        <p:nvSpPr>
          <p:cNvPr id="148" name="Content 1">
            <a:extLst>
              <a:ext uri="{FF2B5EF4-FFF2-40B4-BE49-F238E27FC236}">
                <a16:creationId xmlns:a16="http://schemas.microsoft.com/office/drawing/2014/main" id="{C5F65527-C283-483E-9BB0-D37B3C2FAF0E}"/>
              </a:ext>
            </a:extLst>
          </p:cNvPr>
          <p:cNvSpPr>
            <a:spLocks noGrp="1"/>
          </p:cNvSpPr>
          <p:nvPr>
            <p:custDataLst>
              <p:tags r:id="rId23"/>
            </p:custDataLst>
          </p:nvPr>
        </p:nvSpPr>
        <p:spPr bwMode="auto">
          <a:xfrm>
            <a:off x="10837863" y="2257425"/>
            <a:ext cx="4032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3169F551-FBE5-4369-828B-5C1B14EE03B6}" type="datetime'''S''''e''''ri''''''''''''''''e''''''''s'''''''' ''''''''1'''">
              <a:rPr lang="nl-NL" altLang="en-US" sz="1000" smtClean="0">
                <a:solidFill>
                  <a:schemeClr val="tx1"/>
                </a:solidFill>
              </a:rPr>
              <a:pPr/>
              <a:t>Series 1</a:t>
            </a:fld>
            <a:endParaRPr lang="nl-NL" sz="1000" noProof="0" dirty="0">
              <a:solidFill>
                <a:schemeClr val="tx1"/>
              </a:solidFill>
              <a:latin typeface="+mn-lt"/>
            </a:endParaRPr>
          </a:p>
        </p:txBody>
      </p:sp>
      <p:sp>
        <p:nvSpPr>
          <p:cNvPr id="144" name="Content 1">
            <a:extLst>
              <a:ext uri="{FF2B5EF4-FFF2-40B4-BE49-F238E27FC236}">
                <a16:creationId xmlns:a16="http://schemas.microsoft.com/office/drawing/2014/main" id="{3A8A2880-6DB6-4046-873B-7380D1BAB94E}"/>
              </a:ext>
            </a:extLst>
          </p:cNvPr>
          <p:cNvSpPr>
            <a:spLocks noGrp="1"/>
          </p:cNvSpPr>
          <p:nvPr>
            <p:custDataLst>
              <p:tags r:id="rId24"/>
            </p:custDataLst>
          </p:nvPr>
        </p:nvSpPr>
        <p:spPr bwMode="auto">
          <a:xfrm>
            <a:off x="10837863" y="3106738"/>
            <a:ext cx="4032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B774B2B7-8B36-4CA0-A4FD-11184396CFE3}" type="datetime'''S''''e''r''ies'''''''''''' ''''''''''3'''''''''">
              <a:rPr lang="nl-NL" altLang="en-US" sz="1000" smtClean="0">
                <a:solidFill>
                  <a:schemeClr val="tx1"/>
                </a:solidFill>
              </a:rPr>
              <a:pPr/>
              <a:t>Series 3</a:t>
            </a:fld>
            <a:endParaRPr lang="nl-NL" sz="1000" noProof="0" dirty="0">
              <a:solidFill>
                <a:schemeClr val="tx1"/>
              </a:solidFill>
              <a:latin typeface="+mn-lt"/>
            </a:endParaRPr>
          </a:p>
        </p:txBody>
      </p:sp>
      <p:sp>
        <p:nvSpPr>
          <p:cNvPr id="146" name="Content 1">
            <a:extLst>
              <a:ext uri="{FF2B5EF4-FFF2-40B4-BE49-F238E27FC236}">
                <a16:creationId xmlns:a16="http://schemas.microsoft.com/office/drawing/2014/main" id="{14BC4F11-1D71-473F-8AEC-E67E7059C10C}"/>
              </a:ext>
            </a:extLst>
          </p:cNvPr>
          <p:cNvSpPr>
            <a:spLocks noGrp="1"/>
          </p:cNvSpPr>
          <p:nvPr>
            <p:custDataLst>
              <p:tags r:id="rId25"/>
            </p:custDataLst>
          </p:nvPr>
        </p:nvSpPr>
        <p:spPr bwMode="gray">
          <a:xfrm>
            <a:off x="9609138" y="2095500"/>
            <a:ext cx="1603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7AE1A61-39B8-45DC-9981-1EB00FAB4AC8}" type="datetime'''''''3''''''''''''''''''''''''1'''''''''''''''''">
              <a:rPr lang="nl-NL" altLang="en-US" sz="1000" b="1" smtClean="0">
                <a:solidFill>
                  <a:schemeClr val="tx1"/>
                </a:solidFill>
              </a:rPr>
              <a:pPr/>
              <a:t>31</a:t>
            </a:fld>
            <a:endParaRPr lang="nl-NL" sz="1000" b="1" noProof="0" dirty="0">
              <a:solidFill>
                <a:schemeClr val="tx1"/>
              </a:solidFill>
              <a:latin typeface="+mn-lt"/>
            </a:endParaRPr>
          </a:p>
        </p:txBody>
      </p:sp>
      <p:sp>
        <p:nvSpPr>
          <p:cNvPr id="151" name="Content 1">
            <a:extLst>
              <a:ext uri="{FF2B5EF4-FFF2-40B4-BE49-F238E27FC236}">
                <a16:creationId xmlns:a16="http://schemas.microsoft.com/office/drawing/2014/main" id="{510CB7BF-B523-4E55-92BE-FB58573ECA81}"/>
              </a:ext>
            </a:extLst>
          </p:cNvPr>
          <p:cNvSpPr>
            <a:spLocks noGrp="1"/>
          </p:cNvSpPr>
          <p:nvPr>
            <p:custDataLst>
              <p:tags r:id="rId26"/>
            </p:custDataLst>
          </p:nvPr>
        </p:nvSpPr>
        <p:spPr bwMode="gray">
          <a:xfrm>
            <a:off x="10421938" y="2095500"/>
            <a:ext cx="1714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BD4FD30-75AB-4238-B35E-3C05EDD1FF68}" type="datetime'''''''''''4''''''''''''''''''''''''''''''''''''6'''''''''''">
              <a:rPr lang="nl-NL" altLang="en-US" sz="1000" b="1" smtClean="0">
                <a:solidFill>
                  <a:schemeClr val="tx1"/>
                </a:solidFill>
              </a:rPr>
              <a:pPr/>
              <a:t>46</a:t>
            </a:fld>
            <a:endParaRPr lang="nl-NL" sz="1000" b="1" noProof="0" dirty="0">
              <a:solidFill>
                <a:schemeClr val="tx1"/>
              </a:solidFill>
              <a:latin typeface="+mn-lt"/>
            </a:endParaRPr>
          </a:p>
        </p:txBody>
      </p:sp>
      <p:graphicFrame>
        <p:nvGraphicFramePr>
          <p:cNvPr id="66" name="Chart 65">
            <a:extLst>
              <a:ext uri="{FF2B5EF4-FFF2-40B4-BE49-F238E27FC236}">
                <a16:creationId xmlns:a16="http://schemas.microsoft.com/office/drawing/2014/main" id="{0FE606C8-2B8A-4734-BAF1-AF1827676706}"/>
              </a:ext>
            </a:extLst>
          </p:cNvPr>
          <p:cNvGraphicFramePr/>
          <p:nvPr>
            <p:custDataLst>
              <p:tags r:id="rId27"/>
            </p:custDataLst>
          </p:nvPr>
        </p:nvGraphicFramePr>
        <p:xfrm>
          <a:off x="8429625" y="4664075"/>
          <a:ext cx="2355850" cy="1685925"/>
        </p:xfrm>
        <a:graphic>
          <a:graphicData uri="http://schemas.openxmlformats.org/drawingml/2006/chart">
            <c:chart xmlns:c="http://schemas.openxmlformats.org/drawingml/2006/chart" xmlns:r="http://schemas.openxmlformats.org/officeDocument/2006/relationships" r:id="rId55"/>
          </a:graphicData>
        </a:graphic>
      </p:graphicFrame>
      <p:sp>
        <p:nvSpPr>
          <p:cNvPr id="186" name="Content 1">
            <a:extLst>
              <a:ext uri="{FF2B5EF4-FFF2-40B4-BE49-F238E27FC236}">
                <a16:creationId xmlns:a16="http://schemas.microsoft.com/office/drawing/2014/main" id="{4B9982FA-94CE-476E-98B9-AED20350F85D}"/>
              </a:ext>
            </a:extLst>
          </p:cNvPr>
          <p:cNvSpPr>
            <a:spLocks noGrp="1"/>
          </p:cNvSpPr>
          <p:nvPr>
            <p:custDataLst>
              <p:tags r:id="rId28"/>
            </p:custDataLst>
          </p:nvPr>
        </p:nvSpPr>
        <p:spPr bwMode="auto">
          <a:xfrm>
            <a:off x="10726738" y="5999163"/>
            <a:ext cx="3746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B12B72A1-4927-40B7-9D61-AD33C8A38675}" type="datetime'X'''''''''''''''' ''''''Ax''i''s'''''''''''''''''''''">
              <a:rPr lang="nl-NL" altLang="en-US" sz="1000" smtClean="0">
                <a:solidFill>
                  <a:schemeClr val="tx1"/>
                </a:solidFill>
                <a:effectLst/>
                <a:latin typeface="+mn-lt"/>
              </a:rPr>
              <a:pPr marL="0" indent="0">
                <a:spcBef>
                  <a:spcPct val="0"/>
                </a:spcBef>
                <a:spcAft>
                  <a:spcPct val="0"/>
                </a:spcAft>
                <a:buNone/>
              </a:pPr>
              <a:t>X Axis</a:t>
            </a:fld>
            <a:r>
              <a:rPr lang="nl-NL" altLang="en-US" sz="1000" baseline="30000" dirty="0">
                <a:solidFill>
                  <a:schemeClr val="tx1"/>
                </a:solidFill>
                <a:effectLst/>
                <a:latin typeface="+mn-lt"/>
              </a:rPr>
              <a:t> 1</a:t>
            </a:r>
            <a:endParaRPr lang="nl-NL" sz="1000" noProof="0" dirty="0">
              <a:solidFill>
                <a:schemeClr val="tx1"/>
              </a:solidFill>
              <a:latin typeface="+mn-lt"/>
            </a:endParaRPr>
          </a:p>
        </p:txBody>
      </p:sp>
      <p:sp>
        <p:nvSpPr>
          <p:cNvPr id="187" name="Content 1">
            <a:extLst>
              <a:ext uri="{FF2B5EF4-FFF2-40B4-BE49-F238E27FC236}">
                <a16:creationId xmlns:a16="http://schemas.microsoft.com/office/drawing/2014/main" id="{4B9982FA-94CE-476E-98B9-AED20350F85D}"/>
              </a:ext>
            </a:extLst>
          </p:cNvPr>
          <p:cNvSpPr>
            <a:spLocks noGrp="1"/>
          </p:cNvSpPr>
          <p:nvPr>
            <p:custDataLst>
              <p:tags r:id="rId29"/>
            </p:custDataLst>
          </p:nvPr>
        </p:nvSpPr>
        <p:spPr bwMode="auto">
          <a:xfrm>
            <a:off x="8535988" y="4460875"/>
            <a:ext cx="3587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4E24D68-B84F-41CC-B331-D4CC982AB212}" type="datetime'''''''''''Y'''''''''''''''''''''''''' ''A''xis'''''''''''">
              <a:rPr lang="nl-NL" altLang="en-US" sz="1000" smtClean="0">
                <a:solidFill>
                  <a:schemeClr val="tx1"/>
                </a:solidFill>
                <a:effectLst/>
                <a:latin typeface="+mn-lt"/>
              </a:rPr>
              <a:pPr marL="0" indent="0" algn="ctr">
                <a:spcBef>
                  <a:spcPct val="0"/>
                </a:spcBef>
                <a:spcAft>
                  <a:spcPct val="0"/>
                </a:spcAft>
                <a:buNone/>
              </a:pPr>
              <a:t>Y Axis</a:t>
            </a:fld>
            <a:r>
              <a:rPr lang="nl-NL" altLang="en-US" sz="1000" baseline="30000" dirty="0">
                <a:solidFill>
                  <a:schemeClr val="tx1"/>
                </a:solidFill>
                <a:effectLst/>
                <a:latin typeface="+mn-lt"/>
              </a:rPr>
              <a:t>1</a:t>
            </a:r>
            <a:endParaRPr lang="nl-NL" sz="1000" baseline="30000" noProof="0" dirty="0">
              <a:solidFill>
                <a:schemeClr val="tx1"/>
              </a:solidFill>
              <a:latin typeface="+mn-lt"/>
            </a:endParaRPr>
          </a:p>
        </p:txBody>
      </p:sp>
      <p:graphicFrame>
        <p:nvGraphicFramePr>
          <p:cNvPr id="67" name="Chart 66">
            <a:extLst>
              <a:ext uri="{FF2B5EF4-FFF2-40B4-BE49-F238E27FC236}">
                <a16:creationId xmlns:a16="http://schemas.microsoft.com/office/drawing/2014/main" id="{036075A6-7E0E-4247-8A61-DA8EB3F77BB3}"/>
              </a:ext>
            </a:extLst>
          </p:cNvPr>
          <p:cNvGraphicFramePr/>
          <p:nvPr>
            <p:custDataLst>
              <p:tags r:id="rId30"/>
            </p:custDataLst>
          </p:nvPr>
        </p:nvGraphicFramePr>
        <p:xfrm>
          <a:off x="741363" y="4664075"/>
          <a:ext cx="2274887" cy="1501775"/>
        </p:xfrm>
        <a:graphic>
          <a:graphicData uri="http://schemas.openxmlformats.org/drawingml/2006/chart">
            <c:chart xmlns:c="http://schemas.openxmlformats.org/drawingml/2006/chart" xmlns:r="http://schemas.openxmlformats.org/officeDocument/2006/relationships" r:id="rId56"/>
          </a:graphicData>
        </a:graphic>
      </p:graphicFrame>
      <p:sp>
        <p:nvSpPr>
          <p:cNvPr id="240" name="Content 1">
            <a:extLst>
              <a:ext uri="{FF2B5EF4-FFF2-40B4-BE49-F238E27FC236}">
                <a16:creationId xmlns:a16="http://schemas.microsoft.com/office/drawing/2014/main" id="{4B9982FA-94CE-476E-98B9-AED20350F85D}"/>
              </a:ext>
            </a:extLst>
          </p:cNvPr>
          <p:cNvSpPr>
            <a:spLocks noGrp="1"/>
          </p:cNvSpPr>
          <p:nvPr>
            <p:custDataLst>
              <p:tags r:id="rId31"/>
            </p:custDataLst>
          </p:nvPr>
        </p:nvSpPr>
        <p:spPr bwMode="gray">
          <a:xfrm>
            <a:off x="901700" y="6122988"/>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C446262-7DD1-4F99-8369-222DDB127FFA}" type="datetime'''2''''''''''''01''''''''''''9'''''''''''''''''''''">
              <a:rPr lang="nl-NL" altLang="en-US" sz="1000" smtClean="0">
                <a:solidFill>
                  <a:schemeClr val="tx1"/>
                </a:solidFill>
                <a:effectLst/>
                <a:latin typeface="+mn-lt"/>
              </a:rPr>
              <a:pPr marL="0" indent="0" algn="ctr">
                <a:spcBef>
                  <a:spcPct val="0"/>
                </a:spcBef>
                <a:spcAft>
                  <a:spcPct val="0"/>
                </a:spcAft>
                <a:buNone/>
              </a:pPr>
              <a:t>2019</a:t>
            </a:fld>
            <a:endParaRPr lang="nl-NL" sz="1000" noProof="0" dirty="0">
              <a:solidFill>
                <a:schemeClr val="tx1"/>
              </a:solidFill>
              <a:latin typeface="+mn-lt"/>
            </a:endParaRPr>
          </a:p>
        </p:txBody>
      </p:sp>
      <p:sp>
        <p:nvSpPr>
          <p:cNvPr id="242" name="Content 1">
            <a:extLst>
              <a:ext uri="{FF2B5EF4-FFF2-40B4-BE49-F238E27FC236}">
                <a16:creationId xmlns:a16="http://schemas.microsoft.com/office/drawing/2014/main" id="{4B9982FA-94CE-476E-98B9-AED20350F85D}"/>
              </a:ext>
            </a:extLst>
          </p:cNvPr>
          <p:cNvSpPr>
            <a:spLocks noGrp="1"/>
          </p:cNvSpPr>
          <p:nvPr>
            <p:custDataLst>
              <p:tags r:id="rId32"/>
            </p:custDataLst>
          </p:nvPr>
        </p:nvSpPr>
        <p:spPr bwMode="gray">
          <a:xfrm>
            <a:off x="2808288" y="6122988"/>
            <a:ext cx="2524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698BED2-C16E-4A49-93CD-385330E8A82E}" type="datetime'2''''''''02''''''''''''''''''''''1'''''''''''''''''''''''''''">
              <a:rPr lang="nl-NL" altLang="en-US" sz="1000" smtClean="0">
                <a:solidFill>
                  <a:schemeClr val="tx1"/>
                </a:solidFill>
                <a:effectLst/>
                <a:latin typeface="+mn-lt"/>
              </a:rPr>
              <a:pPr marL="0" indent="0" algn="ctr">
                <a:spcBef>
                  <a:spcPct val="0"/>
                </a:spcBef>
                <a:spcAft>
                  <a:spcPct val="0"/>
                </a:spcAft>
                <a:buNone/>
              </a:pPr>
              <a:t>2021</a:t>
            </a:fld>
            <a:endParaRPr lang="nl-NL" sz="1000" noProof="0" dirty="0">
              <a:solidFill>
                <a:schemeClr val="tx1"/>
              </a:solidFill>
              <a:latin typeface="+mn-lt"/>
            </a:endParaRPr>
          </a:p>
        </p:txBody>
      </p:sp>
      <p:sp>
        <p:nvSpPr>
          <p:cNvPr id="241" name="Content 1">
            <a:extLst>
              <a:ext uri="{FF2B5EF4-FFF2-40B4-BE49-F238E27FC236}">
                <a16:creationId xmlns:a16="http://schemas.microsoft.com/office/drawing/2014/main" id="{4B9982FA-94CE-476E-98B9-AED20350F85D}"/>
              </a:ext>
            </a:extLst>
          </p:cNvPr>
          <p:cNvSpPr>
            <a:spLocks noGrp="1"/>
          </p:cNvSpPr>
          <p:nvPr>
            <p:custDataLst>
              <p:tags r:id="rId33"/>
            </p:custDataLst>
          </p:nvPr>
        </p:nvSpPr>
        <p:spPr bwMode="gray">
          <a:xfrm>
            <a:off x="1851025" y="6122988"/>
            <a:ext cx="2603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6B0F81F-F251-444A-AA3E-156EBF7345A8}" type="datetime'''''''''''''''''''''2''''''''''''02''''''''''''''''0'">
              <a:rPr lang="nl-NL" altLang="en-US" sz="1000" smtClean="0">
                <a:solidFill>
                  <a:schemeClr val="tx1"/>
                </a:solidFill>
                <a:effectLst/>
                <a:latin typeface="+mn-lt"/>
              </a:rPr>
              <a:pPr marL="0" indent="0" algn="ctr">
                <a:spcBef>
                  <a:spcPct val="0"/>
                </a:spcBef>
                <a:spcAft>
                  <a:spcPct val="0"/>
                </a:spcAft>
                <a:buNone/>
              </a:pPr>
              <a:t>2020</a:t>
            </a:fld>
            <a:endParaRPr lang="nl-NL" sz="1000" noProof="0" dirty="0">
              <a:solidFill>
                <a:schemeClr val="tx1"/>
              </a:solidFill>
              <a:latin typeface="+mn-lt"/>
            </a:endParaRPr>
          </a:p>
        </p:txBody>
      </p:sp>
      <p:sp>
        <p:nvSpPr>
          <p:cNvPr id="239" name="Content 1">
            <a:extLst>
              <a:ext uri="{FF2B5EF4-FFF2-40B4-BE49-F238E27FC236}">
                <a16:creationId xmlns:a16="http://schemas.microsoft.com/office/drawing/2014/main" id="{4B9982FA-94CE-476E-98B9-AED20350F85D}"/>
              </a:ext>
            </a:extLst>
          </p:cNvPr>
          <p:cNvSpPr>
            <a:spLocks noGrp="1"/>
          </p:cNvSpPr>
          <p:nvPr>
            <p:custDataLst>
              <p:tags r:id="rId34"/>
            </p:custDataLst>
          </p:nvPr>
        </p:nvSpPr>
        <p:spPr bwMode="auto">
          <a:xfrm>
            <a:off x="3035300" y="5564188"/>
            <a:ext cx="4111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8CAB3259-B861-4B7F-B719-F74842D2F139}" type="datetime'S''''''''''''''er''''''''i''''''''''''''''e''''''s'' 2'''''''">
              <a:rPr lang="nl-NL" altLang="en-US" sz="1000" smtClean="0">
                <a:solidFill>
                  <a:schemeClr val="tx1"/>
                </a:solidFill>
                <a:effectLst/>
                <a:latin typeface="+mn-lt"/>
              </a:rPr>
              <a:pPr marL="0" indent="0">
                <a:spcBef>
                  <a:spcPct val="0"/>
                </a:spcBef>
                <a:spcAft>
                  <a:spcPct val="0"/>
                </a:spcAft>
                <a:buNone/>
              </a:pPr>
              <a:t>Series 2</a:t>
            </a:fld>
            <a:endParaRPr lang="nl-NL" sz="1000" noProof="0" dirty="0">
              <a:solidFill>
                <a:schemeClr val="tx1"/>
              </a:solidFill>
              <a:latin typeface="+mn-lt"/>
            </a:endParaRPr>
          </a:p>
        </p:txBody>
      </p:sp>
      <p:sp>
        <p:nvSpPr>
          <p:cNvPr id="267" name="Content 1">
            <a:extLst>
              <a:ext uri="{FF2B5EF4-FFF2-40B4-BE49-F238E27FC236}">
                <a16:creationId xmlns:a16="http://schemas.microsoft.com/office/drawing/2014/main" id="{4B9982FA-94CE-476E-98B9-AED20350F85D}"/>
              </a:ext>
            </a:extLst>
          </p:cNvPr>
          <p:cNvSpPr>
            <a:spLocks noGrp="1"/>
          </p:cNvSpPr>
          <p:nvPr>
            <p:custDataLst>
              <p:tags r:id="rId35"/>
            </p:custDataLst>
          </p:nvPr>
        </p:nvSpPr>
        <p:spPr bwMode="auto">
          <a:xfrm>
            <a:off x="3162300" y="5999164"/>
            <a:ext cx="3746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2B91C204-48B1-4650-9F24-CEC980D07E7D}" type="datetime'X Axis'">
              <a:rPr lang="nl-NL" altLang="en-US" sz="1000" smtClean="0">
                <a:solidFill>
                  <a:schemeClr val="tx1"/>
                </a:solidFill>
                <a:effectLst/>
                <a:latin typeface="+mn-lt"/>
              </a:rPr>
              <a:pPr marL="0" indent="0">
                <a:spcBef>
                  <a:spcPct val="0"/>
                </a:spcBef>
                <a:spcAft>
                  <a:spcPct val="0"/>
                </a:spcAft>
                <a:buNone/>
              </a:pPr>
              <a:t>X Axis</a:t>
            </a:fld>
            <a:r>
              <a:rPr lang="nl-NL" altLang="en-US" sz="1000" baseline="30000" dirty="0">
                <a:solidFill>
                  <a:schemeClr val="tx1"/>
                </a:solidFill>
                <a:effectLst/>
                <a:latin typeface="+mn-lt"/>
              </a:rPr>
              <a:t> 1</a:t>
            </a:r>
            <a:endParaRPr lang="nl-NL" sz="1000" noProof="0" dirty="0">
              <a:solidFill>
                <a:schemeClr val="tx1"/>
              </a:solidFill>
              <a:latin typeface="+mn-lt"/>
            </a:endParaRPr>
          </a:p>
        </p:txBody>
      </p:sp>
      <p:sp>
        <p:nvSpPr>
          <p:cNvPr id="270" name="Content 1">
            <a:extLst>
              <a:ext uri="{FF2B5EF4-FFF2-40B4-BE49-F238E27FC236}">
                <a16:creationId xmlns:a16="http://schemas.microsoft.com/office/drawing/2014/main" id="{4B9982FA-94CE-476E-98B9-AED20350F85D}"/>
              </a:ext>
            </a:extLst>
          </p:cNvPr>
          <p:cNvSpPr>
            <a:spLocks noGrp="1"/>
          </p:cNvSpPr>
          <p:nvPr>
            <p:custDataLst>
              <p:tags r:id="rId36"/>
            </p:custDataLst>
          </p:nvPr>
        </p:nvSpPr>
        <p:spPr bwMode="auto">
          <a:xfrm>
            <a:off x="849313" y="4460875"/>
            <a:ext cx="3587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D9B1F45-A450-46CB-8780-18028113F107}" type="datetime'Y Axis'">
              <a:rPr lang="nl-NL" altLang="en-US" sz="1000" smtClean="0">
                <a:solidFill>
                  <a:schemeClr val="tx1"/>
                </a:solidFill>
                <a:effectLst/>
                <a:latin typeface="+mn-lt"/>
              </a:rPr>
              <a:pPr marL="0" indent="0" algn="ctr">
                <a:spcBef>
                  <a:spcPct val="0"/>
                </a:spcBef>
                <a:spcAft>
                  <a:spcPct val="0"/>
                </a:spcAft>
                <a:buNone/>
              </a:pPr>
              <a:t>Y Axis</a:t>
            </a:fld>
            <a:r>
              <a:rPr lang="nl-NL" altLang="en-US" sz="1000" baseline="30000" dirty="0">
                <a:solidFill>
                  <a:schemeClr val="tx1"/>
                </a:solidFill>
                <a:effectLst/>
                <a:latin typeface="+mn-lt"/>
              </a:rPr>
              <a:t>1</a:t>
            </a:r>
            <a:endParaRPr lang="nl-NL" sz="1000" baseline="30000" noProof="0" dirty="0">
              <a:solidFill>
                <a:schemeClr val="tx1"/>
              </a:solidFill>
              <a:latin typeface="+mn-lt"/>
            </a:endParaRPr>
          </a:p>
        </p:txBody>
      </p:sp>
      <p:sp>
        <p:nvSpPr>
          <p:cNvPr id="238" name="Content 1">
            <a:extLst>
              <a:ext uri="{FF2B5EF4-FFF2-40B4-BE49-F238E27FC236}">
                <a16:creationId xmlns:a16="http://schemas.microsoft.com/office/drawing/2014/main" id="{4B9982FA-94CE-476E-98B9-AED20350F85D}"/>
              </a:ext>
            </a:extLst>
          </p:cNvPr>
          <p:cNvSpPr>
            <a:spLocks noGrp="1"/>
          </p:cNvSpPr>
          <p:nvPr>
            <p:custDataLst>
              <p:tags r:id="rId37"/>
            </p:custDataLst>
          </p:nvPr>
        </p:nvSpPr>
        <p:spPr bwMode="auto">
          <a:xfrm>
            <a:off x="3035300" y="5303838"/>
            <a:ext cx="4032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37E51020-E9BF-4321-B2F2-9B6672A97B08}" type="datetime'''''''Se''r''''''''''''''i''''''''''''''e''s ''''1'''">
              <a:rPr lang="nl-NL" altLang="en-US" sz="1000" smtClean="0">
                <a:solidFill>
                  <a:schemeClr val="tx1"/>
                </a:solidFill>
                <a:effectLst/>
                <a:latin typeface="+mn-lt"/>
              </a:rPr>
              <a:pPr marL="0" indent="0">
                <a:spcBef>
                  <a:spcPct val="0"/>
                </a:spcBef>
                <a:spcAft>
                  <a:spcPct val="0"/>
                </a:spcAft>
                <a:buNone/>
              </a:pPr>
              <a:t>Series 1</a:t>
            </a:fld>
            <a:endParaRPr lang="nl-NL" sz="1000" noProof="0" dirty="0">
              <a:solidFill>
                <a:schemeClr val="tx1"/>
              </a:solidFill>
              <a:latin typeface="+mn-lt"/>
            </a:endParaRPr>
          </a:p>
        </p:txBody>
      </p:sp>
      <p:cxnSp>
        <p:nvCxnSpPr>
          <p:cNvPr id="304" name="Straight Connector 303">
            <a:extLst>
              <a:ext uri="{FF2B5EF4-FFF2-40B4-BE49-F238E27FC236}">
                <a16:creationId xmlns:a16="http://schemas.microsoft.com/office/drawing/2014/main" id="{8BFE245E-A0BA-4E77-AA12-E8A963CFD076}"/>
              </a:ext>
            </a:extLst>
          </p:cNvPr>
          <p:cNvCxnSpPr/>
          <p:nvPr>
            <p:custDataLst>
              <p:tags r:id="rId38"/>
            </p:custDataLst>
          </p:nvPr>
        </p:nvCxnSpPr>
        <p:spPr bwMode="auto">
          <a:xfrm>
            <a:off x="6824663" y="4895850"/>
            <a:ext cx="257175"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2A7B6D33-E0BE-4DA3-BA84-4AEC78C04D7B}"/>
              </a:ext>
            </a:extLst>
          </p:cNvPr>
          <p:cNvCxnSpPr/>
          <p:nvPr>
            <p:custDataLst>
              <p:tags r:id="rId39"/>
            </p:custDataLst>
          </p:nvPr>
        </p:nvCxnSpPr>
        <p:spPr bwMode="auto">
          <a:xfrm>
            <a:off x="5662613" y="5029200"/>
            <a:ext cx="257175"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B495866C-2DA8-4DD7-87AC-CE4CDE48C028}"/>
              </a:ext>
            </a:extLst>
          </p:cNvPr>
          <p:cNvCxnSpPr/>
          <p:nvPr>
            <p:custDataLst>
              <p:tags r:id="rId40"/>
            </p:custDataLst>
          </p:nvPr>
        </p:nvCxnSpPr>
        <p:spPr bwMode="auto">
          <a:xfrm>
            <a:off x="5081588" y="5429250"/>
            <a:ext cx="257175"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1CDFA1AE-46FD-408B-927D-B2B827541B57}"/>
              </a:ext>
            </a:extLst>
          </p:cNvPr>
          <p:cNvCxnSpPr/>
          <p:nvPr>
            <p:custDataLst>
              <p:tags r:id="rId41"/>
            </p:custDataLst>
          </p:nvPr>
        </p:nvCxnSpPr>
        <p:spPr bwMode="auto">
          <a:xfrm>
            <a:off x="6243638" y="4762500"/>
            <a:ext cx="257175" cy="0"/>
          </a:xfrm>
          <a:prstGeom prst="line">
            <a:avLst/>
          </a:prstGeom>
          <a:ln w="3175" cap="flat" cmpd="sng" algn="ctr">
            <a:solidFill>
              <a:schemeClr val="tx1"/>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graphicFrame>
        <p:nvGraphicFramePr>
          <p:cNvPr id="68" name="Chart 67">
            <a:extLst>
              <a:ext uri="{FF2B5EF4-FFF2-40B4-BE49-F238E27FC236}">
                <a16:creationId xmlns:a16="http://schemas.microsoft.com/office/drawing/2014/main" id="{E5561E63-973A-4319-B33B-3C52998A0A55}"/>
              </a:ext>
            </a:extLst>
          </p:cNvPr>
          <p:cNvGraphicFramePr/>
          <p:nvPr>
            <p:custDataLst>
              <p:tags r:id="rId42"/>
            </p:custDataLst>
          </p:nvPr>
        </p:nvGraphicFramePr>
        <p:xfrm>
          <a:off x="4546600" y="4679950"/>
          <a:ext cx="3070225" cy="1365250"/>
        </p:xfrm>
        <a:graphic>
          <a:graphicData uri="http://schemas.openxmlformats.org/drawingml/2006/chart">
            <c:chart xmlns:c="http://schemas.openxmlformats.org/drawingml/2006/chart" xmlns:r="http://schemas.openxmlformats.org/officeDocument/2006/relationships" r:id="rId57"/>
          </a:graphicData>
        </a:graphic>
      </p:graphicFrame>
      <p:sp>
        <p:nvSpPr>
          <p:cNvPr id="284" name="Content 1">
            <a:extLst>
              <a:ext uri="{FF2B5EF4-FFF2-40B4-BE49-F238E27FC236}">
                <a16:creationId xmlns:a16="http://schemas.microsoft.com/office/drawing/2014/main" id="{4B9982FA-94CE-476E-98B9-AED20350F85D}"/>
              </a:ext>
            </a:extLst>
          </p:cNvPr>
          <p:cNvSpPr>
            <a:spLocks noGrp="1"/>
          </p:cNvSpPr>
          <p:nvPr>
            <p:custDataLst>
              <p:tags r:id="rId43"/>
            </p:custDataLst>
          </p:nvPr>
        </p:nvSpPr>
        <p:spPr bwMode="auto">
          <a:xfrm>
            <a:off x="4757738" y="6005513"/>
            <a:ext cx="323850"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EDCC63B-F672-43EE-9015-30DB6BD85213}" type="datetime'''''St''''a''''''n''''d'''''''''''''' ''''2''0''''''1''8'">
              <a:rPr lang="nl-NL" altLang="en-US" sz="1000" smtClean="0">
                <a:solidFill>
                  <a:schemeClr val="tx1"/>
                </a:solidFill>
              </a:rPr>
              <a:pPr/>
              <a:t>Stand 2018</a:t>
            </a:fld>
            <a:endParaRPr lang="nl-NL" sz="1000" noProof="0" dirty="0">
              <a:solidFill>
                <a:schemeClr val="tx1"/>
              </a:solidFill>
              <a:latin typeface="+mn-lt"/>
            </a:endParaRPr>
          </a:p>
        </p:txBody>
      </p:sp>
      <p:sp>
        <p:nvSpPr>
          <p:cNvPr id="286" name="Content 1">
            <a:extLst>
              <a:ext uri="{FF2B5EF4-FFF2-40B4-BE49-F238E27FC236}">
                <a16:creationId xmlns:a16="http://schemas.microsoft.com/office/drawing/2014/main" id="{4B9982FA-94CE-476E-98B9-AED20350F85D}"/>
              </a:ext>
            </a:extLst>
          </p:cNvPr>
          <p:cNvSpPr>
            <a:spLocks noGrp="1"/>
          </p:cNvSpPr>
          <p:nvPr>
            <p:custDataLst>
              <p:tags r:id="rId44"/>
            </p:custDataLst>
          </p:nvPr>
        </p:nvSpPr>
        <p:spPr bwMode="auto">
          <a:xfrm>
            <a:off x="5297488" y="6005513"/>
            <a:ext cx="4079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78EDB47-20CF-45E9-9D58-6488B938D96C}" type="datetime'''E''''''f''f''''''''''''''''e''''c''''''t'''''' 1'''''''''''">
              <a:rPr lang="nl-NL" altLang="en-US" sz="1000" smtClean="0">
                <a:solidFill>
                  <a:schemeClr val="tx1"/>
                </a:solidFill>
              </a:rPr>
              <a:pPr/>
              <a:t>Effect 1</a:t>
            </a:fld>
            <a:endParaRPr lang="nl-NL" sz="1000" noProof="0" dirty="0">
              <a:solidFill>
                <a:schemeClr val="tx1"/>
              </a:solidFill>
              <a:latin typeface="+mn-lt"/>
            </a:endParaRPr>
          </a:p>
        </p:txBody>
      </p:sp>
      <p:sp>
        <p:nvSpPr>
          <p:cNvPr id="287" name="Content 1">
            <a:extLst>
              <a:ext uri="{FF2B5EF4-FFF2-40B4-BE49-F238E27FC236}">
                <a16:creationId xmlns:a16="http://schemas.microsoft.com/office/drawing/2014/main" id="{4B9982FA-94CE-476E-98B9-AED20350F85D}"/>
              </a:ext>
            </a:extLst>
          </p:cNvPr>
          <p:cNvSpPr>
            <a:spLocks noGrp="1"/>
          </p:cNvSpPr>
          <p:nvPr>
            <p:custDataLst>
              <p:tags r:id="rId45"/>
            </p:custDataLst>
          </p:nvPr>
        </p:nvSpPr>
        <p:spPr bwMode="auto">
          <a:xfrm>
            <a:off x="5873750" y="6005513"/>
            <a:ext cx="4159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8956D9D-1B2D-45EF-9267-E9650C63D987}" type="datetime'Ef''''''''''''fe''ct'''''''''''''''' 2'''''''''''">
              <a:rPr lang="nl-NL" altLang="en-US" sz="1000" smtClean="0">
                <a:solidFill>
                  <a:schemeClr val="tx1"/>
                </a:solidFill>
              </a:rPr>
              <a:pPr/>
              <a:t>Effect 2</a:t>
            </a:fld>
            <a:endParaRPr lang="nl-NL" sz="1000" noProof="0" dirty="0">
              <a:solidFill>
                <a:schemeClr val="tx1"/>
              </a:solidFill>
              <a:latin typeface="+mn-lt"/>
            </a:endParaRPr>
          </a:p>
        </p:txBody>
      </p:sp>
      <p:sp>
        <p:nvSpPr>
          <p:cNvPr id="301" name="Content 1">
            <a:extLst>
              <a:ext uri="{FF2B5EF4-FFF2-40B4-BE49-F238E27FC236}">
                <a16:creationId xmlns:a16="http://schemas.microsoft.com/office/drawing/2014/main" id="{4C72FBC1-5AB6-4813-8F27-087A5C8EB8E7}"/>
              </a:ext>
            </a:extLst>
          </p:cNvPr>
          <p:cNvSpPr>
            <a:spLocks noGrp="1"/>
          </p:cNvSpPr>
          <p:nvPr>
            <p:custDataLst>
              <p:tags r:id="rId46"/>
            </p:custDataLst>
          </p:nvPr>
        </p:nvSpPr>
        <p:spPr bwMode="auto">
          <a:xfrm>
            <a:off x="7081838" y="6005513"/>
            <a:ext cx="323850"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4FAE756-4419-4107-AE82-4EC16302A02A}" type="datetime'''''''''''St''''''''''a''nd ''''2''''''''''0''''''''''2''''1'">
              <a:rPr lang="nl-NL" altLang="en-US" sz="1000" smtClean="0">
                <a:solidFill>
                  <a:schemeClr val="tx1"/>
                </a:solidFill>
              </a:rPr>
              <a:pPr/>
              <a:t>Stand 2021</a:t>
            </a:fld>
            <a:endParaRPr lang="nl-NL" sz="1000" noProof="0" dirty="0">
              <a:solidFill>
                <a:schemeClr val="tx1"/>
              </a:solidFill>
              <a:latin typeface="+mn-lt"/>
            </a:endParaRPr>
          </a:p>
        </p:txBody>
      </p:sp>
      <p:sp>
        <p:nvSpPr>
          <p:cNvPr id="326" name="Content 1">
            <a:extLst>
              <a:ext uri="{FF2B5EF4-FFF2-40B4-BE49-F238E27FC236}">
                <a16:creationId xmlns:a16="http://schemas.microsoft.com/office/drawing/2014/main" id="{4B9982FA-94CE-476E-98B9-AED20350F85D}"/>
              </a:ext>
            </a:extLst>
          </p:cNvPr>
          <p:cNvSpPr>
            <a:spLocks noGrp="1"/>
          </p:cNvSpPr>
          <p:nvPr>
            <p:custDataLst>
              <p:tags r:id="rId47"/>
            </p:custDataLst>
          </p:nvPr>
        </p:nvSpPr>
        <p:spPr bwMode="gray">
          <a:xfrm>
            <a:off x="6596063" y="4760913"/>
            <a:ext cx="1349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12163ED-E2EA-47CD-AE37-E76FBC72FDD3}" type="datetime'''''''''''''''''''''-''''''''''''''''''''''''1'''''''''''''">
              <a:rPr lang="nl-NL" altLang="en-US" sz="1000" smtClean="0">
                <a:solidFill>
                  <a:schemeClr val="bg1"/>
                </a:solidFill>
              </a:rPr>
              <a:pPr/>
              <a:t>-1</a:t>
            </a:fld>
            <a:endParaRPr lang="nl-NL" sz="1000" noProof="0" dirty="0">
              <a:solidFill>
                <a:schemeClr val="bg1"/>
              </a:solidFill>
              <a:latin typeface="+mn-lt"/>
            </a:endParaRPr>
          </a:p>
        </p:txBody>
      </p:sp>
      <p:sp>
        <p:nvSpPr>
          <p:cNvPr id="311" name="Content 1">
            <a:extLst>
              <a:ext uri="{FF2B5EF4-FFF2-40B4-BE49-F238E27FC236}">
                <a16:creationId xmlns:a16="http://schemas.microsoft.com/office/drawing/2014/main" id="{F82F70AF-6429-4E24-AF96-265D513263EB}"/>
              </a:ext>
            </a:extLst>
          </p:cNvPr>
          <p:cNvSpPr>
            <a:spLocks noGrp="1"/>
          </p:cNvSpPr>
          <p:nvPr>
            <p:custDataLst>
              <p:tags r:id="rId48"/>
            </p:custDataLst>
          </p:nvPr>
        </p:nvSpPr>
        <p:spPr bwMode="auto">
          <a:xfrm>
            <a:off x="6459538" y="6005513"/>
            <a:ext cx="4079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9A39C1B-DED5-499E-946E-BB4D49F62151}" type="datetime'''''''''''''''''''''''''E''ffe''''ct ''''''''''''3'''''''''''">
              <a:rPr lang="nl-NL" altLang="en-US" sz="1000" smtClean="0">
                <a:solidFill>
                  <a:schemeClr val="tx1"/>
                </a:solidFill>
              </a:rPr>
              <a:pPr/>
              <a:t>Effect 3</a:t>
            </a:fld>
            <a:endParaRPr lang="nl-NL" sz="1000" noProof="0" dirty="0">
              <a:solidFill>
                <a:schemeClr val="tx1"/>
              </a:solidFill>
              <a:latin typeface="+mn-lt"/>
            </a:endParaRPr>
          </a:p>
        </p:txBody>
      </p:sp>
    </p:spTree>
    <p:extLst>
      <p:ext uri="{BB962C8B-B14F-4D97-AF65-F5344CB8AC3E}">
        <p14:creationId xmlns:p14="http://schemas.microsoft.com/office/powerpoint/2010/main" val="11924410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B332A50-2E0A-4695-BCD2-E5AA80B0C9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10" name="Object 9" hidden="1">
                        <a:extLst>
                          <a:ext uri="{FF2B5EF4-FFF2-40B4-BE49-F238E27FC236}">
                            <a16:creationId xmlns:a16="http://schemas.microsoft.com/office/drawing/2014/main" id="{7B332A50-2E0A-4695-BCD2-E5AA80B0C9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C0727C72-54CB-4BAB-8F28-62B54AF46222}"/>
              </a:ext>
            </a:extLst>
          </p:cNvPr>
          <p:cNvSpPr>
            <a:spLocks noGrp="1"/>
          </p:cNvSpPr>
          <p:nvPr>
            <p:ph type="body" sz="quarter" idx="20"/>
          </p:nvPr>
        </p:nvSpPr>
        <p:spPr/>
        <p:txBody>
          <a:bodyPr/>
          <a:lstStyle/>
          <a:p>
            <a:endParaRPr lang="nl-NL"/>
          </a:p>
        </p:txBody>
      </p:sp>
      <p:sp>
        <p:nvSpPr>
          <p:cNvPr id="5" name="Footer Placeholder 4">
            <a:extLst>
              <a:ext uri="{FF2B5EF4-FFF2-40B4-BE49-F238E27FC236}">
                <a16:creationId xmlns:a16="http://schemas.microsoft.com/office/drawing/2014/main" id="{C817B1E5-6CF5-480D-B92D-95C6024E274C}"/>
              </a:ext>
            </a:extLst>
          </p:cNvPr>
          <p:cNvSpPr>
            <a:spLocks noGrp="1"/>
          </p:cNvSpPr>
          <p:nvPr>
            <p:ph type="ftr" sz="quarter" idx="3"/>
          </p:nvPr>
        </p:nvSpPr>
        <p:spPr/>
        <p:txBody>
          <a:bodyPr/>
          <a:lstStyle/>
          <a:p>
            <a:r>
              <a:rPr lang="nl-NL"/>
              <a:t>Bron: </a:t>
            </a:r>
            <a:endParaRPr lang="nl-NL" dirty="0"/>
          </a:p>
        </p:txBody>
      </p:sp>
      <p:sp>
        <p:nvSpPr>
          <p:cNvPr id="4" name="Slide Number Placeholder 3">
            <a:extLst>
              <a:ext uri="{FF2B5EF4-FFF2-40B4-BE49-F238E27FC236}">
                <a16:creationId xmlns:a16="http://schemas.microsoft.com/office/drawing/2014/main" id="{E5C5C420-3CBB-4206-9DE7-355CDEF5C0A6}"/>
              </a:ext>
            </a:extLst>
          </p:cNvPr>
          <p:cNvSpPr>
            <a:spLocks noGrp="1"/>
          </p:cNvSpPr>
          <p:nvPr>
            <p:ph type="sldNum" sz="quarter" idx="12"/>
          </p:nvPr>
        </p:nvSpPr>
        <p:spPr/>
        <p:txBody>
          <a:bodyPr/>
          <a:lstStyle/>
          <a:p>
            <a:fld id="{992CD0B2-8AB2-4C6C-8876-E15753662C9B}" type="slidenum">
              <a:rPr lang="nl-NL" noProof="0" smtClean="0"/>
              <a:pPr/>
              <a:t>17</a:t>
            </a:fld>
            <a:endParaRPr lang="nl-NL" noProof="0" dirty="0"/>
          </a:p>
        </p:txBody>
      </p:sp>
      <p:sp>
        <p:nvSpPr>
          <p:cNvPr id="7" name="Text Placeholder 6">
            <a:extLst>
              <a:ext uri="{FF2B5EF4-FFF2-40B4-BE49-F238E27FC236}">
                <a16:creationId xmlns:a16="http://schemas.microsoft.com/office/drawing/2014/main" id="{12243338-D9DE-4F1A-B4FD-65915A92489A}"/>
              </a:ext>
            </a:extLst>
          </p:cNvPr>
          <p:cNvSpPr>
            <a:spLocks noGrp="1"/>
          </p:cNvSpPr>
          <p:nvPr>
            <p:ph type="body" sz="quarter" idx="14"/>
          </p:nvPr>
        </p:nvSpPr>
        <p:spPr/>
        <p:txBody>
          <a:bodyPr/>
          <a:lstStyle/>
          <a:p>
            <a:r>
              <a:rPr lang="nl-NL" b="1" dirty="0"/>
              <a:t>Inkomsten en uitgaven van een gemiddelde school, </a:t>
            </a:r>
            <a:r>
              <a:rPr lang="nl-NL" dirty="0"/>
              <a:t>2017-2019</a:t>
            </a:r>
            <a:br>
              <a:rPr lang="nl-NL" dirty="0"/>
            </a:br>
            <a:endParaRPr lang="nl-NL" b="0" dirty="0"/>
          </a:p>
        </p:txBody>
      </p:sp>
      <p:sp>
        <p:nvSpPr>
          <p:cNvPr id="3" name="Title 2">
            <a:extLst>
              <a:ext uri="{FF2B5EF4-FFF2-40B4-BE49-F238E27FC236}">
                <a16:creationId xmlns:a16="http://schemas.microsoft.com/office/drawing/2014/main" id="{70399A5C-EAC7-4DD3-9BB9-3639F31536CD}"/>
              </a:ext>
            </a:extLst>
          </p:cNvPr>
          <p:cNvSpPr>
            <a:spLocks noGrp="1"/>
          </p:cNvSpPr>
          <p:nvPr>
            <p:ph type="title"/>
          </p:nvPr>
        </p:nvSpPr>
        <p:spPr/>
        <p:txBody>
          <a:bodyPr vert="horz"/>
          <a:lstStyle/>
          <a:p>
            <a:r>
              <a:rPr lang="nl-NL" sz="2800" b="1" dirty="0"/>
              <a:t>Tabellen kunnen op een overzichtelijke manier veel cijfers tegelijk laten zien</a:t>
            </a:r>
            <a:endParaRPr lang="nl-NL" sz="2800" dirty="0"/>
          </a:p>
        </p:txBody>
      </p:sp>
      <p:sp>
        <p:nvSpPr>
          <p:cNvPr id="11" name="Rectangle 10">
            <a:extLst>
              <a:ext uri="{FF2B5EF4-FFF2-40B4-BE49-F238E27FC236}">
                <a16:creationId xmlns:a16="http://schemas.microsoft.com/office/drawing/2014/main" id="{9EFABEB1-469C-4EB0-BFB2-3CA30C967DD2}"/>
              </a:ext>
            </a:extLst>
          </p:cNvPr>
          <p:cNvSpPr/>
          <p:nvPr/>
        </p:nvSpPr>
        <p:spPr>
          <a:xfrm>
            <a:off x="658814" y="0"/>
            <a:ext cx="277500" cy="257175"/>
          </a:xfrm>
          <a:prstGeom prst="rect">
            <a:avLst/>
          </a:prstGeom>
          <a:solidFill>
            <a:srgbClr val="808080"/>
          </a:solidFill>
        </p:spPr>
        <p:txBody>
          <a:bodyPr lIns="72000" rIns="72000" rtlCol="0" anchor="t">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3CBEA9F2-37DD-4D66-A7B0-3B17976A3350}"/>
              </a:ext>
            </a:extLst>
          </p:cNvPr>
          <p:cNvSpPr/>
          <p:nvPr/>
        </p:nvSpPr>
        <p:spPr>
          <a:xfrm>
            <a:off x="936314" y="0"/>
            <a:ext cx="3026086" cy="266699"/>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lIns="72000" rIns="72000" rtlCol="0" anchor="ctr">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Inhoud van een slide - Tabellen</a:t>
            </a:r>
          </a:p>
        </p:txBody>
      </p:sp>
      <p:graphicFrame>
        <p:nvGraphicFramePr>
          <p:cNvPr id="13" name="Table 10">
            <a:extLst>
              <a:ext uri="{FF2B5EF4-FFF2-40B4-BE49-F238E27FC236}">
                <a16:creationId xmlns:a16="http://schemas.microsoft.com/office/drawing/2014/main" id="{916EA4AC-E982-4074-A0E9-B31AF33DE66A}"/>
              </a:ext>
            </a:extLst>
          </p:cNvPr>
          <p:cNvGraphicFramePr>
            <a:graphicFrameLocks/>
          </p:cNvGraphicFramePr>
          <p:nvPr/>
        </p:nvGraphicFramePr>
        <p:xfrm>
          <a:off x="3112281" y="1944052"/>
          <a:ext cx="7200000" cy="3801182"/>
        </p:xfrm>
        <a:graphic>
          <a:graphicData uri="http://schemas.openxmlformats.org/drawingml/2006/table">
            <a:tbl>
              <a:tblPr firstRow="1" bandRow="1">
                <a:tableStyleId>{5C22544A-7EE6-4342-B048-85BDC9FD1C3A}</a:tableStyleId>
              </a:tblPr>
              <a:tblGrid>
                <a:gridCol w="1800000">
                  <a:extLst>
                    <a:ext uri="{9D8B030D-6E8A-4147-A177-3AD203B41FA5}">
                      <a16:colId xmlns:a16="http://schemas.microsoft.com/office/drawing/2014/main" val="289262614"/>
                    </a:ext>
                  </a:extLst>
                </a:gridCol>
                <a:gridCol w="900000">
                  <a:extLst>
                    <a:ext uri="{9D8B030D-6E8A-4147-A177-3AD203B41FA5}">
                      <a16:colId xmlns:a16="http://schemas.microsoft.com/office/drawing/2014/main" val="3938218533"/>
                    </a:ext>
                  </a:extLst>
                </a:gridCol>
                <a:gridCol w="900000">
                  <a:extLst>
                    <a:ext uri="{9D8B030D-6E8A-4147-A177-3AD203B41FA5}">
                      <a16:colId xmlns:a16="http://schemas.microsoft.com/office/drawing/2014/main" val="177527200"/>
                    </a:ext>
                  </a:extLst>
                </a:gridCol>
                <a:gridCol w="900000">
                  <a:extLst>
                    <a:ext uri="{9D8B030D-6E8A-4147-A177-3AD203B41FA5}">
                      <a16:colId xmlns:a16="http://schemas.microsoft.com/office/drawing/2014/main" val="2860982447"/>
                    </a:ext>
                  </a:extLst>
                </a:gridCol>
                <a:gridCol w="900000">
                  <a:extLst>
                    <a:ext uri="{9D8B030D-6E8A-4147-A177-3AD203B41FA5}">
                      <a16:colId xmlns:a16="http://schemas.microsoft.com/office/drawing/2014/main" val="12283374"/>
                    </a:ext>
                  </a:extLst>
                </a:gridCol>
                <a:gridCol w="900000">
                  <a:extLst>
                    <a:ext uri="{9D8B030D-6E8A-4147-A177-3AD203B41FA5}">
                      <a16:colId xmlns:a16="http://schemas.microsoft.com/office/drawing/2014/main" val="500008405"/>
                    </a:ext>
                  </a:extLst>
                </a:gridCol>
                <a:gridCol w="900000">
                  <a:extLst>
                    <a:ext uri="{9D8B030D-6E8A-4147-A177-3AD203B41FA5}">
                      <a16:colId xmlns:a16="http://schemas.microsoft.com/office/drawing/2014/main" val="2136772964"/>
                    </a:ext>
                  </a:extLst>
                </a:gridCol>
              </a:tblGrid>
              <a:tr h="345562">
                <a:tc>
                  <a:txBody>
                    <a:bodyPr/>
                    <a:lstStyle/>
                    <a:p>
                      <a:r>
                        <a:rPr lang="nl-NL" sz="1300" dirty="0">
                          <a:solidFill>
                            <a:schemeClr val="accent6"/>
                          </a:solidFill>
                        </a:rPr>
                        <a:t>Categorie</a:t>
                      </a:r>
                    </a:p>
                  </a:txBody>
                  <a:tcPr marL="72000" marR="72000" marT="72000" marB="72000">
                    <a:lnR w="6350" cap="flat" cmpd="sng" algn="ctr">
                      <a:solidFill>
                        <a:schemeClr val="bg1"/>
                      </a:solidFill>
                      <a:prstDash val="solid"/>
                      <a:round/>
                      <a:headEnd type="none" w="med" len="med"/>
                      <a:tailEnd type="none" w="med" len="med"/>
                    </a:lnR>
                    <a:lnB w="6350" cap="flat" cmpd="sng" algn="ctr">
                      <a:solidFill>
                        <a:schemeClr val="bg1"/>
                      </a:solidFill>
                      <a:prstDash val="solid"/>
                      <a:round/>
                      <a:headEnd type="none" w="med" len="med"/>
                      <a:tailEnd type="none" w="med" len="med"/>
                    </a:lnB>
                    <a:solidFill>
                      <a:srgbClr val="22777B"/>
                    </a:solidFill>
                  </a:tcPr>
                </a:tc>
                <a:tc gridSpan="3">
                  <a:txBody>
                    <a:bodyPr/>
                    <a:lstStyle/>
                    <a:p>
                      <a:pPr algn="ctr"/>
                      <a:r>
                        <a:rPr lang="nl-NL" sz="1300" dirty="0">
                          <a:solidFill>
                            <a:srgbClr val="FFFFFF"/>
                          </a:solidFill>
                        </a:rPr>
                        <a:t>Totale bekostiging </a:t>
                      </a:r>
                      <a:r>
                        <a:rPr lang="nl-NL" sz="1300" b="0" dirty="0">
                          <a:solidFill>
                            <a:srgbClr val="FFFFFF"/>
                          </a:solidFill>
                        </a:rPr>
                        <a:t>(€ mln)</a:t>
                      </a:r>
                      <a:endParaRPr lang="nl-NL" sz="1300" dirty="0">
                        <a:solidFill>
                          <a:srgbClr val="FFFFFF"/>
                        </a:solidFill>
                      </a:endParaRPr>
                    </a:p>
                  </a:txBody>
                  <a:tcPr marL="72000" marR="72000" marT="72000" marB="72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bg1"/>
                      </a:solidFill>
                      <a:prstDash val="solid"/>
                      <a:round/>
                      <a:headEnd type="none" w="med" len="med"/>
                      <a:tailEnd type="none" w="med" len="med"/>
                    </a:lnB>
                    <a:solidFill>
                      <a:srgbClr val="22777B"/>
                    </a:solidFill>
                  </a:tcPr>
                </a:tc>
                <a:tc hMerge="1">
                  <a:txBody>
                    <a:bodyPr/>
                    <a:lstStyle/>
                    <a:p>
                      <a:pPr algn="ctr"/>
                      <a:endParaRPr lang="nl-NL" sz="1000" dirty="0">
                        <a:solidFill>
                          <a:srgbClr val="000000"/>
                        </a:solidFill>
                      </a:endParaRPr>
                    </a:p>
                  </a:txBody>
                  <a:tcPr>
                    <a:lnB w="6350" cap="flat" cmpd="sng" algn="ctr">
                      <a:solidFill>
                        <a:schemeClr val="bg1">
                          <a:lumMod val="85000"/>
                        </a:schemeClr>
                      </a:solidFill>
                      <a:prstDash val="solid"/>
                      <a:round/>
                      <a:headEnd type="none" w="med" len="med"/>
                      <a:tailEnd type="none" w="med" len="med"/>
                    </a:lnB>
                    <a:noFill/>
                  </a:tcPr>
                </a:tc>
                <a:tc hMerge="1">
                  <a:txBody>
                    <a:bodyPr/>
                    <a:lstStyle/>
                    <a:p>
                      <a:pPr algn="ctr"/>
                      <a:endParaRPr lang="nl-NL" sz="1000" dirty="0">
                        <a:solidFill>
                          <a:srgbClr val="000000"/>
                        </a:solidFill>
                      </a:endParaRPr>
                    </a:p>
                  </a:txBody>
                  <a:tcPr>
                    <a:lnB w="6350" cap="flat" cmpd="sng" algn="ctr">
                      <a:solidFill>
                        <a:schemeClr val="bg1">
                          <a:lumMod val="85000"/>
                        </a:schemeClr>
                      </a:solidFill>
                      <a:prstDash val="solid"/>
                      <a:round/>
                      <a:headEnd type="none" w="med" len="med"/>
                      <a:tailEnd type="none" w="med" len="med"/>
                    </a:lnB>
                    <a:noFill/>
                  </a:tcPr>
                </a:tc>
                <a:tc gridSpan="3">
                  <a:txBody>
                    <a:bodyPr/>
                    <a:lstStyle/>
                    <a:p>
                      <a:pPr algn="ctr"/>
                      <a:r>
                        <a:rPr lang="nl-NL" sz="1300" dirty="0">
                          <a:solidFill>
                            <a:srgbClr val="FFFFFF"/>
                          </a:solidFill>
                        </a:rPr>
                        <a:t>Bekostiging per leerling</a:t>
                      </a:r>
                      <a:r>
                        <a:rPr lang="nl-NL" sz="1300" b="0" dirty="0">
                          <a:solidFill>
                            <a:srgbClr val="FFFFFF"/>
                          </a:solidFill>
                        </a:rPr>
                        <a:t> (€/leerling)</a:t>
                      </a:r>
                    </a:p>
                  </a:txBody>
                  <a:tcPr marL="72000" marR="72000" marT="72000" marB="72000">
                    <a:lnL w="6350" cap="flat" cmpd="sng" algn="ctr">
                      <a:solidFill>
                        <a:schemeClr val="bg1"/>
                      </a:solidFill>
                      <a:prstDash val="solid"/>
                      <a:round/>
                      <a:headEnd type="none" w="med" len="med"/>
                      <a:tailEnd type="none" w="med" len="med"/>
                    </a:lnL>
                    <a:lnB w="6350" cap="flat" cmpd="sng" algn="ctr">
                      <a:solidFill>
                        <a:schemeClr val="bg1"/>
                      </a:solidFill>
                      <a:prstDash val="solid"/>
                      <a:round/>
                      <a:headEnd type="none" w="med" len="med"/>
                      <a:tailEnd type="none" w="med" len="med"/>
                    </a:lnB>
                    <a:solidFill>
                      <a:srgbClr val="22777B"/>
                    </a:solidFill>
                  </a:tcPr>
                </a:tc>
                <a:tc hMerge="1">
                  <a:txBody>
                    <a:bodyPr/>
                    <a:lstStyle/>
                    <a:p>
                      <a:pPr algn="ctr"/>
                      <a:endParaRPr lang="nl-NL" sz="1000" dirty="0">
                        <a:solidFill>
                          <a:srgbClr val="000000"/>
                        </a:solidFill>
                      </a:endParaRPr>
                    </a:p>
                  </a:txBody>
                  <a:tcPr>
                    <a:lnB w="6350" cap="flat" cmpd="sng" algn="ctr">
                      <a:solidFill>
                        <a:schemeClr val="bg1">
                          <a:lumMod val="85000"/>
                        </a:schemeClr>
                      </a:solidFill>
                      <a:prstDash val="solid"/>
                      <a:round/>
                      <a:headEnd type="none" w="med" len="med"/>
                      <a:tailEnd type="none" w="med" len="med"/>
                    </a:lnB>
                    <a:noFill/>
                  </a:tcPr>
                </a:tc>
                <a:tc hMerge="1">
                  <a:txBody>
                    <a:bodyPr/>
                    <a:lstStyle/>
                    <a:p>
                      <a:pPr algn="ctr"/>
                      <a:endParaRPr lang="nl-NL" sz="1000" dirty="0">
                        <a:solidFill>
                          <a:srgbClr val="000000"/>
                        </a:solidFill>
                      </a:endParaRPr>
                    </a:p>
                  </a:txBody>
                  <a:tcPr>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26486522"/>
                  </a:ext>
                </a:extLst>
              </a:tr>
              <a:tr h="345562">
                <a:tc>
                  <a:txBody>
                    <a:bodyPr/>
                    <a:lstStyle/>
                    <a:p>
                      <a:endParaRPr lang="nl-NL" sz="1300" dirty="0">
                        <a:solidFill>
                          <a:srgbClr val="000000"/>
                        </a:solidFill>
                      </a:endParaRPr>
                    </a:p>
                  </a:txBody>
                  <a:tcPr marL="72000" marR="72000" marT="72000" marB="72000">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68ABB0"/>
                    </a:solidFill>
                  </a:tcPr>
                </a:tc>
                <a:tc>
                  <a:txBody>
                    <a:bodyPr/>
                    <a:lstStyle/>
                    <a:p>
                      <a:pPr algn="r"/>
                      <a:r>
                        <a:rPr lang="nl-NL" sz="1300" dirty="0">
                          <a:solidFill>
                            <a:srgbClr val="000000"/>
                          </a:solidFill>
                        </a:rPr>
                        <a:t>2017</a:t>
                      </a:r>
                    </a:p>
                  </a:txBody>
                  <a:tcPr marL="72000" marR="72000" marT="72000" marB="72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68ABB0"/>
                    </a:solidFill>
                  </a:tcPr>
                </a:tc>
                <a:tc>
                  <a:txBody>
                    <a:bodyPr/>
                    <a:lstStyle/>
                    <a:p>
                      <a:pPr algn="r"/>
                      <a:r>
                        <a:rPr lang="nl-NL" sz="1300" dirty="0">
                          <a:solidFill>
                            <a:srgbClr val="000000"/>
                          </a:solidFill>
                        </a:rPr>
                        <a:t>2018</a:t>
                      </a:r>
                    </a:p>
                  </a:txBody>
                  <a:tcPr marL="72000" marR="72000" marT="72000" marB="72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68ABB0"/>
                    </a:solidFill>
                  </a:tcPr>
                </a:tc>
                <a:tc>
                  <a:txBody>
                    <a:bodyPr/>
                    <a:lstStyle/>
                    <a:p>
                      <a:pPr algn="r"/>
                      <a:r>
                        <a:rPr lang="nl-NL" sz="1300" dirty="0">
                          <a:solidFill>
                            <a:srgbClr val="000000"/>
                          </a:solidFill>
                        </a:rPr>
                        <a:t>2019</a:t>
                      </a:r>
                    </a:p>
                  </a:txBody>
                  <a:tcPr marL="72000" marR="72000" marT="72000" marB="72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68ABB0"/>
                    </a:solidFill>
                  </a:tcPr>
                </a:tc>
                <a:tc>
                  <a:txBody>
                    <a:bodyPr/>
                    <a:lstStyle/>
                    <a:p>
                      <a:pPr algn="r"/>
                      <a:r>
                        <a:rPr lang="nl-NL" sz="1300" dirty="0">
                          <a:solidFill>
                            <a:srgbClr val="000000"/>
                          </a:solidFill>
                        </a:rPr>
                        <a:t>2017</a:t>
                      </a:r>
                    </a:p>
                  </a:txBody>
                  <a:tcPr marL="72000" marR="72000" marT="72000" marB="72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68ABB0"/>
                    </a:solidFill>
                  </a:tcPr>
                </a:tc>
                <a:tc>
                  <a:txBody>
                    <a:bodyPr/>
                    <a:lstStyle/>
                    <a:p>
                      <a:pPr algn="r"/>
                      <a:r>
                        <a:rPr lang="nl-NL" sz="1300" dirty="0">
                          <a:solidFill>
                            <a:srgbClr val="000000"/>
                          </a:solidFill>
                        </a:rPr>
                        <a:t>2018</a:t>
                      </a:r>
                    </a:p>
                  </a:txBody>
                  <a:tcPr marL="72000" marR="72000" marT="72000" marB="72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68ABB0"/>
                    </a:solidFill>
                  </a:tcPr>
                </a:tc>
                <a:tc>
                  <a:txBody>
                    <a:bodyPr/>
                    <a:lstStyle/>
                    <a:p>
                      <a:pPr algn="r"/>
                      <a:r>
                        <a:rPr lang="nl-NL" sz="1300" dirty="0">
                          <a:solidFill>
                            <a:srgbClr val="000000"/>
                          </a:solidFill>
                        </a:rPr>
                        <a:t>2019</a:t>
                      </a:r>
                    </a:p>
                  </a:txBody>
                  <a:tcPr marL="72000" marR="72000" marT="72000" marB="7200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68ABB0"/>
                    </a:solidFill>
                  </a:tcPr>
                </a:tc>
                <a:extLst>
                  <a:ext uri="{0D108BD9-81ED-4DB2-BD59-A6C34878D82A}">
                    <a16:rowId xmlns:a16="http://schemas.microsoft.com/office/drawing/2014/main" val="2626108289"/>
                  </a:ext>
                </a:extLst>
              </a:tr>
              <a:tr h="345562">
                <a:tc>
                  <a:txBody>
                    <a:bodyPr/>
                    <a:lstStyle/>
                    <a:p>
                      <a:r>
                        <a:rPr lang="nl-NL" sz="1300" b="1" dirty="0">
                          <a:solidFill>
                            <a:srgbClr val="000000"/>
                          </a:solidFill>
                        </a:rPr>
                        <a:t>Inkomsten</a:t>
                      </a:r>
                    </a:p>
                  </a:txBody>
                  <a:tcPr marL="72000" marR="72000" marT="72000" marB="72000" anchor="ctr">
                    <a:lnT w="12700" cap="flat" cmpd="sng" algn="ctr">
                      <a:solidFill>
                        <a:schemeClr val="tx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r" rtl="0" fontAlgn="ctr"/>
                      <a:r>
                        <a:rPr lang="nl-NL" sz="1300" b="1" i="0" u="none" strike="noStrike" dirty="0">
                          <a:solidFill>
                            <a:srgbClr val="000000"/>
                          </a:solidFill>
                          <a:effectLst/>
                          <a:latin typeface="Corbel" panose="020B0503020204020204" pitchFamily="34" charset="0"/>
                        </a:rPr>
                        <a:t>1,42</a:t>
                      </a:r>
                    </a:p>
                  </a:txBody>
                  <a:tcPr marL="72000" marR="72000" marT="72000" marB="72000" anchor="ctr">
                    <a:lnT w="12700" cap="flat" cmpd="sng" algn="ctr">
                      <a:solidFill>
                        <a:schemeClr val="tx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r" rtl="0" fontAlgn="ctr"/>
                      <a:r>
                        <a:rPr lang="nl-NL" sz="1300" b="1" i="0" u="none" strike="noStrike" dirty="0">
                          <a:solidFill>
                            <a:srgbClr val="000000"/>
                          </a:solidFill>
                          <a:effectLst/>
                          <a:latin typeface="Corbel" panose="020B0503020204020204" pitchFamily="34" charset="0"/>
                        </a:rPr>
                        <a:t>1,43</a:t>
                      </a:r>
                    </a:p>
                  </a:txBody>
                  <a:tcPr marL="72000" marR="72000" marT="72000" marB="72000" anchor="ctr">
                    <a:lnT w="12700" cap="flat" cmpd="sng" algn="ctr">
                      <a:solidFill>
                        <a:schemeClr val="tx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r" rtl="0" fontAlgn="ctr"/>
                      <a:r>
                        <a:rPr lang="nl-NL" sz="1300" b="1" i="0" u="none" strike="noStrike" dirty="0">
                          <a:solidFill>
                            <a:srgbClr val="000000"/>
                          </a:solidFill>
                          <a:effectLst/>
                          <a:latin typeface="Corbel" panose="020B0503020204020204" pitchFamily="34" charset="0"/>
                        </a:rPr>
                        <a:t>1,45</a:t>
                      </a:r>
                    </a:p>
                  </a:txBody>
                  <a:tcPr marL="72000" marR="72000" marT="72000" marB="72000" anchor="ctr">
                    <a:lnR w="635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r" rtl="0" fontAlgn="ctr"/>
                      <a:r>
                        <a:rPr lang="nl-NL" sz="1300" b="1" i="0" u="none" strike="noStrike" dirty="0">
                          <a:solidFill>
                            <a:srgbClr val="000000"/>
                          </a:solidFill>
                          <a:effectLst/>
                          <a:latin typeface="Corbel" panose="020B0503020204020204" pitchFamily="34" charset="0"/>
                        </a:rPr>
                        <a:t>6.270</a:t>
                      </a:r>
                    </a:p>
                  </a:txBody>
                  <a:tcPr marL="72000" marR="72000" marT="72000" marB="72000" anchor="ctr">
                    <a:lnL w="6350" cap="flat" cmpd="sng" algn="ctr">
                      <a:solidFill>
                        <a:schemeClr val="bg1"/>
                      </a:solidFill>
                      <a:prstDash val="solid"/>
                      <a:round/>
                      <a:headEnd type="none" w="med" len="med"/>
                      <a:tailEnd type="none" w="med" len="med"/>
                    </a:lnL>
                    <a:lnT w="12700" cap="flat" cmpd="sng" algn="ctr">
                      <a:solidFill>
                        <a:schemeClr val="tx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r" rtl="0" fontAlgn="ctr"/>
                      <a:r>
                        <a:rPr lang="nl-NL" sz="1300" b="1" i="0" u="none" strike="noStrike" dirty="0">
                          <a:solidFill>
                            <a:srgbClr val="000000"/>
                          </a:solidFill>
                          <a:effectLst/>
                          <a:latin typeface="Corbel" panose="020B0503020204020204" pitchFamily="34" charset="0"/>
                        </a:rPr>
                        <a:t>6.336</a:t>
                      </a:r>
                    </a:p>
                  </a:txBody>
                  <a:tcPr marL="72000" marR="72000" marT="72000" marB="72000" anchor="ctr">
                    <a:lnT w="12700" cap="flat" cmpd="sng" algn="ctr">
                      <a:solidFill>
                        <a:schemeClr val="tx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r" rtl="0" fontAlgn="ctr"/>
                      <a:r>
                        <a:rPr lang="nl-NL" sz="1300" b="1" i="0" u="none" strike="noStrike" dirty="0">
                          <a:solidFill>
                            <a:srgbClr val="000000"/>
                          </a:solidFill>
                          <a:effectLst/>
                          <a:latin typeface="Corbel" panose="020B0503020204020204" pitchFamily="34" charset="0"/>
                        </a:rPr>
                        <a:t>6.403</a:t>
                      </a:r>
                    </a:p>
                  </a:txBody>
                  <a:tcPr marL="72000" marR="72000" marT="72000" marB="72000" anchor="ctr">
                    <a:lnT w="12700" cap="flat" cmpd="sng" algn="ctr">
                      <a:solidFill>
                        <a:schemeClr val="tx2"/>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2070041801"/>
                  </a:ext>
                </a:extLst>
              </a:tr>
              <a:tr h="345562">
                <a:tc>
                  <a:txBody>
                    <a:bodyPr/>
                    <a:lstStyle/>
                    <a:p>
                      <a:r>
                        <a:rPr lang="nl-NL" sz="1300" dirty="0">
                          <a:solidFill>
                            <a:srgbClr val="000000"/>
                          </a:solidFill>
                        </a:rPr>
                        <a:t>Rijk</a:t>
                      </a:r>
                    </a:p>
                  </a:txBody>
                  <a:tcPr marL="180000" marR="72000" marT="72000" marB="72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1,36</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1,36</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1,37</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5.996</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6.018</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6.040</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03322144"/>
                  </a:ext>
                </a:extLst>
              </a:tr>
              <a:tr h="345562">
                <a:tc>
                  <a:txBody>
                    <a:bodyPr/>
                    <a:lstStyle/>
                    <a:p>
                      <a:r>
                        <a:rPr lang="nl-NL" sz="1300" dirty="0">
                          <a:solidFill>
                            <a:srgbClr val="000000"/>
                          </a:solidFill>
                        </a:rPr>
                        <a:t>Gemeente</a:t>
                      </a:r>
                    </a:p>
                  </a:txBody>
                  <a:tcPr marL="180000" marR="72000" marT="72000" marB="72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nl-NL" sz="1300" b="0" i="0" u="none" strike="noStrike" dirty="0">
                          <a:solidFill>
                            <a:srgbClr val="000000"/>
                          </a:solidFill>
                          <a:effectLst/>
                          <a:latin typeface="Corbel" panose="020B0503020204020204" pitchFamily="34" charset="0"/>
                        </a:rPr>
                        <a:t>0,02</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0,03</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0,03</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97</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119</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142</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148976038"/>
                  </a:ext>
                </a:extLst>
              </a:tr>
              <a:tr h="345562">
                <a:tc>
                  <a:txBody>
                    <a:bodyPr/>
                    <a:lstStyle/>
                    <a:p>
                      <a:r>
                        <a:rPr lang="nl-NL" sz="1300" dirty="0">
                          <a:solidFill>
                            <a:srgbClr val="000000"/>
                          </a:solidFill>
                        </a:rPr>
                        <a:t>Derden</a:t>
                      </a:r>
                    </a:p>
                  </a:txBody>
                  <a:tcPr marL="180000" marR="72000" marT="72000" marB="72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0,04</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0,05</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0,05</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177</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199</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221</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34186457"/>
                  </a:ext>
                </a:extLst>
              </a:tr>
              <a:tr h="345562">
                <a:tc>
                  <a:txBody>
                    <a:bodyPr/>
                    <a:lstStyle/>
                    <a:p>
                      <a:r>
                        <a:rPr lang="nl-NL" sz="1300" b="1" dirty="0">
                          <a:solidFill>
                            <a:srgbClr val="000000"/>
                          </a:solidFill>
                        </a:rPr>
                        <a:t>Uitgaven</a:t>
                      </a:r>
                    </a:p>
                  </a:txBody>
                  <a:tcPr marL="72000" marR="72000" marT="72000" marB="72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r" rtl="0" fontAlgn="ctr"/>
                      <a:r>
                        <a:rPr lang="nl-NL" sz="1300" b="1" i="0" u="none" strike="noStrike" dirty="0">
                          <a:solidFill>
                            <a:srgbClr val="000000"/>
                          </a:solidFill>
                          <a:effectLst/>
                          <a:latin typeface="Corbel" panose="020B0503020204020204" pitchFamily="34" charset="0"/>
                        </a:rPr>
                        <a:t>1,42</a:t>
                      </a:r>
                    </a:p>
                  </a:txBody>
                  <a:tcPr marL="72000" marR="72000" marT="72000" marB="72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r" rtl="0" fontAlgn="ctr"/>
                      <a:r>
                        <a:rPr lang="nl-NL" sz="1300" b="1" i="0" u="none" strike="noStrike" dirty="0">
                          <a:solidFill>
                            <a:srgbClr val="000000"/>
                          </a:solidFill>
                          <a:effectLst/>
                          <a:latin typeface="Corbel" panose="020B0503020204020204" pitchFamily="34" charset="0"/>
                        </a:rPr>
                        <a:t>1,43</a:t>
                      </a:r>
                    </a:p>
                  </a:txBody>
                  <a:tcPr marL="72000" marR="72000" marT="72000" marB="72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r" rtl="0" fontAlgn="ctr"/>
                      <a:r>
                        <a:rPr lang="nl-NL" sz="1300" b="1" i="0" u="none" strike="noStrike" dirty="0">
                          <a:solidFill>
                            <a:srgbClr val="000000"/>
                          </a:solidFill>
                          <a:effectLst/>
                          <a:latin typeface="Corbel" panose="020B0503020204020204" pitchFamily="34" charset="0"/>
                        </a:rPr>
                        <a:t>1,45</a:t>
                      </a:r>
                    </a:p>
                  </a:txBody>
                  <a:tcPr marL="72000" marR="72000" marT="72000" marB="72000" anchor="ctr">
                    <a:lnR w="6350"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r" rtl="0" fontAlgn="ctr"/>
                      <a:r>
                        <a:rPr lang="nl-NL" sz="1300" b="1" i="0" u="none" strike="noStrike" dirty="0">
                          <a:solidFill>
                            <a:srgbClr val="000000"/>
                          </a:solidFill>
                          <a:effectLst/>
                          <a:latin typeface="Corbel" panose="020B0503020204020204" pitchFamily="34" charset="0"/>
                        </a:rPr>
                        <a:t>6.270</a:t>
                      </a:r>
                    </a:p>
                  </a:txBody>
                  <a:tcPr marL="72000" marR="72000" marT="72000" marB="72000" anchor="ctr">
                    <a:lnL w="6350" cap="flat" cmpd="sng" algn="ctr">
                      <a:solidFill>
                        <a:schemeClr val="bg1"/>
                      </a:solidFill>
                      <a:prstDash val="solid"/>
                      <a:round/>
                      <a:headEnd type="none" w="med" len="med"/>
                      <a:tailEnd type="none" w="med" len="med"/>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r" rtl="0" fontAlgn="ctr"/>
                      <a:r>
                        <a:rPr lang="nl-NL" sz="1300" b="1" i="0" u="none" strike="noStrike" dirty="0">
                          <a:solidFill>
                            <a:srgbClr val="000000"/>
                          </a:solidFill>
                          <a:effectLst/>
                          <a:latin typeface="Corbel" panose="020B0503020204020204" pitchFamily="34" charset="0"/>
                        </a:rPr>
                        <a:t>6.336</a:t>
                      </a:r>
                    </a:p>
                  </a:txBody>
                  <a:tcPr marL="72000" marR="72000" marT="72000" marB="72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tc>
                  <a:txBody>
                    <a:bodyPr/>
                    <a:lstStyle/>
                    <a:p>
                      <a:pPr algn="r" rtl="0" fontAlgn="ctr"/>
                      <a:r>
                        <a:rPr lang="nl-NL" sz="1300" b="1" i="0" u="none" strike="noStrike" dirty="0">
                          <a:solidFill>
                            <a:srgbClr val="000000"/>
                          </a:solidFill>
                          <a:effectLst/>
                          <a:latin typeface="Corbel" panose="020B0503020204020204" pitchFamily="34" charset="0"/>
                        </a:rPr>
                        <a:t>6.403</a:t>
                      </a:r>
                    </a:p>
                  </a:txBody>
                  <a:tcPr marL="72000" marR="72000" marT="72000" marB="7200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916158382"/>
                  </a:ext>
                </a:extLst>
              </a:tr>
              <a:tr h="345562">
                <a:tc>
                  <a:txBody>
                    <a:bodyPr/>
                    <a:lstStyle/>
                    <a:p>
                      <a:r>
                        <a:rPr lang="nl-NL" sz="1300" dirty="0">
                          <a:solidFill>
                            <a:srgbClr val="000000"/>
                          </a:solidFill>
                        </a:rPr>
                        <a:t>Lerarensalarissen</a:t>
                      </a:r>
                    </a:p>
                  </a:txBody>
                  <a:tcPr marL="180000" marR="72000" marT="72000" marB="72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1,18</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1,18</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nl-NL" sz="1300" b="0" i="0" u="none" strike="noStrike" dirty="0">
                          <a:solidFill>
                            <a:srgbClr val="000000"/>
                          </a:solidFill>
                          <a:effectLst/>
                          <a:latin typeface="Corbel" panose="020B0503020204020204" pitchFamily="34" charset="0"/>
                        </a:rPr>
                        <a:t>1,19</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nl-NL" sz="1300" b="0" i="0" u="none" strike="noStrike" dirty="0">
                          <a:solidFill>
                            <a:srgbClr val="000000"/>
                          </a:solidFill>
                          <a:effectLst/>
                          <a:latin typeface="Corbel" panose="020B0503020204020204" pitchFamily="34" charset="0"/>
                        </a:rPr>
                        <a:t>5.199</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nl-NL" sz="1300" b="0" i="0" u="none" strike="noStrike" dirty="0">
                          <a:solidFill>
                            <a:srgbClr val="000000"/>
                          </a:solidFill>
                          <a:effectLst/>
                          <a:latin typeface="Corbel" panose="020B0503020204020204" pitchFamily="34" charset="0"/>
                        </a:rPr>
                        <a:t>5.221</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nl-NL" sz="1300" b="0" i="0" u="none" strike="noStrike" dirty="0">
                          <a:solidFill>
                            <a:srgbClr val="000000"/>
                          </a:solidFill>
                          <a:effectLst/>
                          <a:latin typeface="Corbel" panose="020B0503020204020204" pitchFamily="34" charset="0"/>
                        </a:rPr>
                        <a:t>5.243</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1004449"/>
                  </a:ext>
                </a:extLst>
              </a:tr>
              <a:tr h="345562">
                <a:tc>
                  <a:txBody>
                    <a:bodyPr/>
                    <a:lstStyle/>
                    <a:p>
                      <a:r>
                        <a:rPr lang="nl-NL" sz="1300" dirty="0">
                          <a:solidFill>
                            <a:srgbClr val="000000"/>
                          </a:solidFill>
                        </a:rPr>
                        <a:t>Huisvesting</a:t>
                      </a:r>
                    </a:p>
                  </a:txBody>
                  <a:tcPr marL="180000" marR="72000" marT="72000" marB="72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0,10</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0,10</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0,11</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nl-NL" sz="1300" b="0" i="0" u="none" strike="noStrike" dirty="0">
                          <a:solidFill>
                            <a:srgbClr val="000000"/>
                          </a:solidFill>
                          <a:effectLst/>
                          <a:latin typeface="Corbel" panose="020B0503020204020204" pitchFamily="34" charset="0"/>
                        </a:rPr>
                        <a:t>420</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442</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465</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45645820"/>
                  </a:ext>
                </a:extLst>
              </a:tr>
              <a:tr h="345562">
                <a:tc>
                  <a:txBody>
                    <a:bodyPr/>
                    <a:lstStyle/>
                    <a:p>
                      <a:r>
                        <a:rPr lang="nl-NL" sz="1300" dirty="0">
                          <a:solidFill>
                            <a:srgbClr val="000000"/>
                          </a:solidFill>
                        </a:rPr>
                        <a:t>Overige lasten</a:t>
                      </a:r>
                    </a:p>
                  </a:txBody>
                  <a:tcPr marL="180000" marR="72000" marT="72000" marB="7200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0,15</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0,15</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0,16</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650</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673</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r" rtl="0" fontAlgn="ctr"/>
                      <a:r>
                        <a:rPr lang="nl-NL" sz="1300" b="0" i="0" u="none" strike="noStrike" dirty="0">
                          <a:solidFill>
                            <a:srgbClr val="000000"/>
                          </a:solidFill>
                          <a:effectLst/>
                          <a:latin typeface="Corbel" panose="020B0503020204020204" pitchFamily="34" charset="0"/>
                        </a:rPr>
                        <a:t>695</a:t>
                      </a:r>
                    </a:p>
                  </a:txBody>
                  <a:tcPr marL="72000" marR="72000" marT="72000" marB="7200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66615332"/>
                  </a:ext>
                </a:extLst>
              </a:tr>
              <a:tr h="345562">
                <a:tc>
                  <a:txBody>
                    <a:bodyPr/>
                    <a:lstStyle/>
                    <a:p>
                      <a:r>
                        <a:rPr lang="nl-NL" sz="1300" b="1" dirty="0">
                          <a:solidFill>
                            <a:srgbClr val="000000"/>
                          </a:solidFill>
                        </a:rPr>
                        <a:t>Netto</a:t>
                      </a:r>
                    </a:p>
                  </a:txBody>
                  <a:tcPr marL="72000" marR="72000" marT="72000" marB="72000">
                    <a:lnT w="12700" cap="flat" cmpd="sng" algn="ctr">
                      <a:solidFill>
                        <a:schemeClr val="bg1">
                          <a:lumMod val="85000"/>
                        </a:schemeClr>
                      </a:solidFill>
                      <a:prstDash val="solid"/>
                      <a:round/>
                      <a:headEnd type="none" w="med" len="med"/>
                      <a:tailEnd type="none" w="med" len="med"/>
                    </a:lnT>
                    <a:solidFill>
                      <a:schemeClr val="accent5"/>
                    </a:solidFill>
                  </a:tcPr>
                </a:tc>
                <a:tc>
                  <a:txBody>
                    <a:bodyPr/>
                    <a:lstStyle/>
                    <a:p>
                      <a:pPr algn="r"/>
                      <a:r>
                        <a:rPr lang="nl-NL" sz="1300" b="1" dirty="0">
                          <a:solidFill>
                            <a:srgbClr val="000000"/>
                          </a:solidFill>
                        </a:rPr>
                        <a:t>0</a:t>
                      </a:r>
                    </a:p>
                  </a:txBody>
                  <a:tcPr marL="72000" marR="72000" marT="72000" marB="72000">
                    <a:lnR w="12700" cmpd="sng">
                      <a:noFill/>
                    </a:lnR>
                    <a:lnT w="12700" cap="flat" cmpd="sng" algn="ctr">
                      <a:solidFill>
                        <a:schemeClr val="bg1">
                          <a:lumMod val="85000"/>
                        </a:schemeClr>
                      </a:solidFill>
                      <a:prstDash val="solid"/>
                      <a:round/>
                      <a:headEnd type="none" w="med" len="med"/>
                      <a:tailEnd type="none" w="med" len="med"/>
                    </a:lnT>
                    <a:solidFill>
                      <a:schemeClr val="accent5"/>
                    </a:solidFill>
                  </a:tcPr>
                </a:tc>
                <a:tc>
                  <a:txBody>
                    <a:bodyPr/>
                    <a:lstStyle/>
                    <a:p>
                      <a:pPr algn="r"/>
                      <a:r>
                        <a:rPr lang="nl-NL" sz="1300" b="1" dirty="0">
                          <a:solidFill>
                            <a:srgbClr val="000000"/>
                          </a:solidFill>
                        </a:rPr>
                        <a:t>0</a:t>
                      </a:r>
                    </a:p>
                  </a:txBody>
                  <a:tcPr marL="72000" marR="72000" marT="72000" marB="72000">
                    <a:lnL w="12700" cmpd="sng">
                      <a:noFill/>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solidFill>
                  </a:tcPr>
                </a:tc>
                <a:tc>
                  <a:txBody>
                    <a:bodyPr/>
                    <a:lstStyle/>
                    <a:p>
                      <a:pPr algn="r"/>
                      <a:r>
                        <a:rPr lang="nl-NL" sz="1300" b="1" dirty="0">
                          <a:solidFill>
                            <a:srgbClr val="000000"/>
                          </a:solidFill>
                        </a:rPr>
                        <a:t>0</a:t>
                      </a:r>
                    </a:p>
                  </a:txBody>
                  <a:tcPr marL="72000" marR="72000" marT="72000" marB="72000">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solidFill>
                  </a:tcPr>
                </a:tc>
                <a:tc>
                  <a:txBody>
                    <a:bodyPr/>
                    <a:lstStyle/>
                    <a:p>
                      <a:pPr algn="r"/>
                      <a:r>
                        <a:rPr lang="nl-NL" sz="1300" b="1" dirty="0">
                          <a:solidFill>
                            <a:srgbClr val="000000"/>
                          </a:solidFill>
                        </a:rPr>
                        <a:t>0</a:t>
                      </a:r>
                    </a:p>
                  </a:txBody>
                  <a:tcPr marL="72000" marR="72000" marT="72000" marB="72000">
                    <a:lnL w="6350" cap="flat" cmpd="sng" algn="ctr">
                      <a:solidFill>
                        <a:schemeClr val="bg1"/>
                      </a:solid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solidFill>
                  </a:tcPr>
                </a:tc>
                <a:tc>
                  <a:txBody>
                    <a:bodyPr/>
                    <a:lstStyle/>
                    <a:p>
                      <a:pPr algn="r"/>
                      <a:r>
                        <a:rPr lang="nl-NL" sz="1300" b="1" dirty="0">
                          <a:solidFill>
                            <a:srgbClr val="000000"/>
                          </a:solidFill>
                        </a:rPr>
                        <a:t>0</a:t>
                      </a:r>
                    </a:p>
                  </a:txBody>
                  <a:tcPr marL="72000" marR="72000" marT="72000" marB="72000">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solidFill>
                  </a:tcPr>
                </a:tc>
                <a:tc>
                  <a:txBody>
                    <a:bodyPr/>
                    <a:lstStyle/>
                    <a:p>
                      <a:pPr algn="r"/>
                      <a:r>
                        <a:rPr lang="nl-NL" sz="1300" b="1" dirty="0">
                          <a:solidFill>
                            <a:srgbClr val="000000"/>
                          </a:solidFill>
                        </a:rPr>
                        <a:t>0</a:t>
                      </a:r>
                    </a:p>
                  </a:txBody>
                  <a:tcPr marL="72000" marR="72000" marT="72000" marB="72000">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96984326"/>
                  </a:ext>
                </a:extLst>
              </a:tr>
            </a:tbl>
          </a:graphicData>
        </a:graphic>
      </p:graphicFrame>
      <p:sp>
        <p:nvSpPr>
          <p:cNvPr id="14" name="Speech Bubble: Rectangle 13">
            <a:extLst>
              <a:ext uri="{FF2B5EF4-FFF2-40B4-BE49-F238E27FC236}">
                <a16:creationId xmlns:a16="http://schemas.microsoft.com/office/drawing/2014/main" id="{FB6D4608-A461-473B-B88A-0B86745EFFB9}"/>
              </a:ext>
            </a:extLst>
          </p:cNvPr>
          <p:cNvSpPr/>
          <p:nvPr/>
        </p:nvSpPr>
        <p:spPr>
          <a:xfrm>
            <a:off x="797564" y="2167969"/>
            <a:ext cx="1964686" cy="1217495"/>
          </a:xfrm>
          <a:prstGeom prst="wedgeRectCallout">
            <a:avLst>
              <a:gd name="adj1" fmla="val 58605"/>
              <a:gd name="adj2" fmla="val 16037"/>
            </a:avLst>
          </a:prstGeom>
          <a:solidFill>
            <a:schemeClr val="bg1">
              <a:lumMod val="95000"/>
            </a:schemeClr>
          </a:solidFill>
          <a:ln w="9525">
            <a:solidFill>
              <a:schemeClr val="bg1">
                <a:lumMod val="85000"/>
              </a:schemeClr>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spcBef>
                <a:spcPts val="750"/>
              </a:spcBef>
              <a:buClr>
                <a:schemeClr val="tx2"/>
              </a:buClr>
            </a:pPr>
            <a:r>
              <a:rPr lang="nl-NL" sz="1000" dirty="0"/>
              <a:t>Probeer het gebruik van kleur en lijnen te beperken tot alléén die hoeveelheid die nuttig is voor leesbaarheid.</a:t>
            </a:r>
          </a:p>
          <a:p>
            <a:pPr>
              <a:spcBef>
                <a:spcPts val="750"/>
              </a:spcBef>
              <a:buClr>
                <a:schemeClr val="tx2"/>
              </a:buClr>
            </a:pPr>
            <a:r>
              <a:rPr lang="nl-NL" sz="1000" dirty="0"/>
              <a:t>Standaard achtergrond van reguliere cellen is bij voorkeur wit (want: beter leesbaar).</a:t>
            </a:r>
          </a:p>
        </p:txBody>
      </p:sp>
      <p:sp>
        <p:nvSpPr>
          <p:cNvPr id="17" name="Speech Bubble: Rectangle 16">
            <a:extLst>
              <a:ext uri="{FF2B5EF4-FFF2-40B4-BE49-F238E27FC236}">
                <a16:creationId xmlns:a16="http://schemas.microsoft.com/office/drawing/2014/main" id="{3F09DCA8-1D1E-4346-A9EC-799CBA77980E}"/>
              </a:ext>
            </a:extLst>
          </p:cNvPr>
          <p:cNvSpPr/>
          <p:nvPr/>
        </p:nvSpPr>
        <p:spPr>
          <a:xfrm>
            <a:off x="775089" y="4427735"/>
            <a:ext cx="1987162" cy="837904"/>
          </a:xfrm>
          <a:prstGeom prst="wedgeRectCallout">
            <a:avLst>
              <a:gd name="adj1" fmla="val 72118"/>
              <a:gd name="adj2" fmla="val -25464"/>
            </a:avLst>
          </a:prstGeom>
          <a:solidFill>
            <a:schemeClr val="bg1">
              <a:lumMod val="95000"/>
            </a:schemeClr>
          </a:solidFill>
          <a:ln w="9525">
            <a:solidFill>
              <a:schemeClr val="bg1">
                <a:lumMod val="85000"/>
              </a:schemeClr>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spcBef>
                <a:spcPts val="750"/>
              </a:spcBef>
              <a:buClr>
                <a:schemeClr val="tx2"/>
              </a:buClr>
            </a:pPr>
            <a:r>
              <a:rPr lang="nl-NL" sz="1000" dirty="0"/>
              <a:t>Om het verschil tussen hoofd- en </a:t>
            </a:r>
            <a:r>
              <a:rPr lang="nl-NL" sz="1000" dirty="0" err="1"/>
              <a:t>subkopjes</a:t>
            </a:r>
            <a:r>
              <a:rPr lang="nl-NL" sz="1000" dirty="0"/>
              <a:t> aan te geven, kan je een </a:t>
            </a:r>
            <a:r>
              <a:rPr lang="nl-NL" sz="1000" dirty="0" err="1"/>
              <a:t>indent</a:t>
            </a:r>
            <a:r>
              <a:rPr lang="nl-NL" sz="1000" dirty="0"/>
              <a:t> gebruiken (zet de linker marge van de cellen iets groter).</a:t>
            </a:r>
          </a:p>
        </p:txBody>
      </p:sp>
      <p:pic>
        <p:nvPicPr>
          <p:cNvPr id="21" name="Picture 20">
            <a:extLst>
              <a:ext uri="{FF2B5EF4-FFF2-40B4-BE49-F238E27FC236}">
                <a16:creationId xmlns:a16="http://schemas.microsoft.com/office/drawing/2014/main" id="{4827EADF-E55D-4434-A37D-37BB43933C98}"/>
              </a:ext>
            </a:extLst>
          </p:cNvPr>
          <p:cNvPicPr>
            <a:picLocks noChangeAspect="1"/>
          </p:cNvPicPr>
          <p:nvPr/>
        </p:nvPicPr>
        <p:blipFill>
          <a:blip r:embed="rId5"/>
          <a:stretch>
            <a:fillRect/>
          </a:stretch>
        </p:blipFill>
        <p:spPr>
          <a:xfrm>
            <a:off x="10500522" y="4871337"/>
            <a:ext cx="1357313" cy="693873"/>
          </a:xfrm>
          <a:prstGeom prst="rect">
            <a:avLst/>
          </a:prstGeom>
        </p:spPr>
      </p:pic>
      <p:sp>
        <p:nvSpPr>
          <p:cNvPr id="22" name="Speech Bubble: Rectangle 21">
            <a:extLst>
              <a:ext uri="{FF2B5EF4-FFF2-40B4-BE49-F238E27FC236}">
                <a16:creationId xmlns:a16="http://schemas.microsoft.com/office/drawing/2014/main" id="{8568A42F-89EA-4CB2-9A98-6D73D5DA3013}"/>
              </a:ext>
            </a:extLst>
          </p:cNvPr>
          <p:cNvSpPr/>
          <p:nvPr/>
        </p:nvSpPr>
        <p:spPr>
          <a:xfrm>
            <a:off x="775089" y="3525651"/>
            <a:ext cx="1987162" cy="699404"/>
          </a:xfrm>
          <a:prstGeom prst="wedgeRectCallout">
            <a:avLst>
              <a:gd name="adj1" fmla="val 70680"/>
              <a:gd name="adj2" fmla="val 31735"/>
            </a:avLst>
          </a:prstGeom>
          <a:solidFill>
            <a:schemeClr val="bg1">
              <a:lumMod val="95000"/>
            </a:schemeClr>
          </a:solidFill>
          <a:ln w="9525">
            <a:solidFill>
              <a:schemeClr val="bg1">
                <a:lumMod val="85000"/>
              </a:schemeClr>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spcBef>
                <a:spcPts val="750"/>
              </a:spcBef>
              <a:buClr>
                <a:schemeClr val="tx2"/>
              </a:buClr>
            </a:pPr>
            <a:r>
              <a:rPr lang="nl-NL" sz="1000" dirty="0" err="1"/>
              <a:t>Celmarges</a:t>
            </a:r>
            <a:r>
              <a:rPr lang="nl-NL" sz="1000" dirty="0"/>
              <a:t> staan typisch op 0,2 cm, al kun je dit verkleinen in geval van ruimtegebrek (vaak meestal in verticale richting).</a:t>
            </a:r>
          </a:p>
        </p:txBody>
      </p:sp>
      <p:pic>
        <p:nvPicPr>
          <p:cNvPr id="24" name="Picture 23">
            <a:extLst>
              <a:ext uri="{FF2B5EF4-FFF2-40B4-BE49-F238E27FC236}">
                <a16:creationId xmlns:a16="http://schemas.microsoft.com/office/drawing/2014/main" id="{5430853F-36D5-4FB3-9DF2-112C3E88915E}"/>
              </a:ext>
            </a:extLst>
          </p:cNvPr>
          <p:cNvPicPr>
            <a:picLocks noChangeAspect="1"/>
          </p:cNvPicPr>
          <p:nvPr/>
        </p:nvPicPr>
        <p:blipFill>
          <a:blip r:embed="rId6"/>
          <a:stretch>
            <a:fillRect/>
          </a:stretch>
        </p:blipFill>
        <p:spPr>
          <a:xfrm>
            <a:off x="10510048" y="3954120"/>
            <a:ext cx="1347787" cy="689003"/>
          </a:xfrm>
          <a:prstGeom prst="rect">
            <a:avLst/>
          </a:prstGeom>
        </p:spPr>
      </p:pic>
      <p:cxnSp>
        <p:nvCxnSpPr>
          <p:cNvPr id="25" name="Straight Connector 24">
            <a:extLst>
              <a:ext uri="{FF2B5EF4-FFF2-40B4-BE49-F238E27FC236}">
                <a16:creationId xmlns:a16="http://schemas.microsoft.com/office/drawing/2014/main" id="{203664A9-A545-461F-AC51-DFCC52728CC9}"/>
              </a:ext>
            </a:extLst>
          </p:cNvPr>
          <p:cNvCxnSpPr>
            <a:cxnSpLocks/>
            <a:endCxn id="24" idx="1"/>
          </p:cNvCxnSpPr>
          <p:nvPr/>
        </p:nvCxnSpPr>
        <p:spPr>
          <a:xfrm>
            <a:off x="9601200" y="4298622"/>
            <a:ext cx="908848" cy="0"/>
          </a:xfrm>
          <a:prstGeom prst="line">
            <a:avLst/>
          </a:prstGeom>
          <a:ln>
            <a:solidFill>
              <a:srgbClr val="6A6A6A"/>
            </a:solidFill>
            <a:head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82DE9D6-E7B3-4769-93A2-5E9EFD32056F}"/>
              </a:ext>
            </a:extLst>
          </p:cNvPr>
          <p:cNvCxnSpPr>
            <a:cxnSpLocks/>
          </p:cNvCxnSpPr>
          <p:nvPr/>
        </p:nvCxnSpPr>
        <p:spPr>
          <a:xfrm>
            <a:off x="4305300" y="4983444"/>
            <a:ext cx="6195222" cy="0"/>
          </a:xfrm>
          <a:prstGeom prst="line">
            <a:avLst/>
          </a:prstGeom>
          <a:ln>
            <a:solidFill>
              <a:srgbClr val="6A6A6A"/>
            </a:solidFill>
            <a:head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36980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83F90B40-0C47-4B93-964E-ED45BF4958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501" imgH="502" progId="TCLayout.ActiveDocument.1">
                  <p:embed/>
                </p:oleObj>
              </mc:Choice>
              <mc:Fallback>
                <p:oleObj name="think-cell Slide" r:id="rId17" imgW="501" imgH="502" progId="TCLayout.ActiveDocument.1">
                  <p:embed/>
                  <p:pic>
                    <p:nvPicPr>
                      <p:cNvPr id="15" name="Object 14" hidden="1">
                        <a:extLst>
                          <a:ext uri="{FF2B5EF4-FFF2-40B4-BE49-F238E27FC236}">
                            <a16:creationId xmlns:a16="http://schemas.microsoft.com/office/drawing/2014/main" id="{83F90B40-0C47-4B93-964E-ED45BF4958DF}"/>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0" name="Content Placeholder 39">
            <a:extLst>
              <a:ext uri="{FF2B5EF4-FFF2-40B4-BE49-F238E27FC236}">
                <a16:creationId xmlns:a16="http://schemas.microsoft.com/office/drawing/2014/main" id="{B0C6CED6-9927-4BA9-BF15-5F734E014D35}"/>
              </a:ext>
            </a:extLst>
          </p:cNvPr>
          <p:cNvSpPr>
            <a:spLocks noGrp="1"/>
          </p:cNvSpPr>
          <p:nvPr>
            <p:ph sz="quarter" idx="40"/>
          </p:nvPr>
        </p:nvSpPr>
        <p:spPr/>
        <p:txBody>
          <a:bodyPr/>
          <a:lstStyle/>
          <a:p>
            <a:pPr>
              <a:spcBef>
                <a:spcPts val="900"/>
              </a:spcBef>
            </a:pPr>
            <a:r>
              <a:rPr lang="nl-NL" sz="1400" dirty="0">
                <a:latin typeface="+mj-lt"/>
              </a:rPr>
              <a:t>Gebruik Harvey </a:t>
            </a:r>
            <a:r>
              <a:rPr lang="nl-NL" sz="1400" dirty="0" err="1">
                <a:latin typeface="+mj-lt"/>
              </a:rPr>
              <a:t>balls</a:t>
            </a:r>
            <a:r>
              <a:rPr lang="nl-NL" sz="1400" dirty="0">
                <a:latin typeface="+mj-lt"/>
              </a:rPr>
              <a:t> om te laten zien in hoeverre iets aan een criterium voldoet </a:t>
            </a:r>
            <a:br>
              <a:rPr lang="nl-NL" sz="1400" dirty="0">
                <a:latin typeface="+mj-lt"/>
              </a:rPr>
            </a:br>
            <a:r>
              <a:rPr lang="nl-NL" sz="1400" dirty="0">
                <a:latin typeface="+mj-lt"/>
              </a:rPr>
              <a:t>(tip: cijfers toetsenbord om in te stellen).</a:t>
            </a:r>
            <a:endParaRPr lang="nl-NL" sz="1400" noProof="0" dirty="0">
              <a:latin typeface="+mj-lt"/>
            </a:endParaRPr>
          </a:p>
          <a:p>
            <a:pPr>
              <a:spcBef>
                <a:spcPts val="900"/>
              </a:spcBef>
            </a:pPr>
            <a:endParaRPr lang="nl-NL" dirty="0"/>
          </a:p>
        </p:txBody>
      </p:sp>
      <p:pic>
        <p:nvPicPr>
          <p:cNvPr id="48" name="Content Placeholder 47" descr="Coins with solid fill">
            <a:extLst>
              <a:ext uri="{FF2B5EF4-FFF2-40B4-BE49-F238E27FC236}">
                <a16:creationId xmlns:a16="http://schemas.microsoft.com/office/drawing/2014/main" id="{F89B2F54-67BD-46BD-AE4F-905EE2E9D4B3}"/>
              </a:ext>
            </a:extLst>
          </p:cNvPr>
          <p:cNvPicPr>
            <a:picLocks noGrp="1" noChangeAspect="1"/>
          </p:cNvPicPr>
          <p:nvPr>
            <p:ph sz="quarter" idx="39"/>
          </p:nvPr>
        </p:nvPicPr>
        <p:blipFill>
          <a:blip r:embed="rId19">
            <a:extLst>
              <a:ext uri="{96DAC541-7B7A-43D3-8B79-37D633B846F1}">
                <asvg:svgBlip xmlns:asvg="http://schemas.microsoft.com/office/drawing/2016/SVG/main" r:embed="rId20"/>
              </a:ext>
            </a:extLst>
          </a:blip>
          <a:stretch>
            <a:fillRect/>
          </a:stretch>
        </p:blipFill>
        <p:spPr>
          <a:xfrm>
            <a:off x="4002043" y="3601065"/>
            <a:ext cx="630325" cy="630325"/>
          </a:xfrm>
        </p:spPr>
      </p:pic>
      <p:sp>
        <p:nvSpPr>
          <p:cNvPr id="37" name="Content Placeholder 36">
            <a:extLst>
              <a:ext uri="{FF2B5EF4-FFF2-40B4-BE49-F238E27FC236}">
                <a16:creationId xmlns:a16="http://schemas.microsoft.com/office/drawing/2014/main" id="{397D715E-6BFD-4079-B489-B53ED5D627F7}"/>
              </a:ext>
            </a:extLst>
          </p:cNvPr>
          <p:cNvSpPr>
            <a:spLocks noGrp="1"/>
          </p:cNvSpPr>
          <p:nvPr>
            <p:ph sz="quarter" idx="35"/>
          </p:nvPr>
        </p:nvSpPr>
        <p:spPr/>
        <p:txBody>
          <a:bodyPr/>
          <a:lstStyle/>
          <a:p>
            <a:pPr>
              <a:spcBef>
                <a:spcPts val="900"/>
              </a:spcBef>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bruik iconen om begrippen visueel en om slide aantrekkelijker te maken.</a:t>
            </a:r>
          </a:p>
          <a:p>
            <a:pPr>
              <a:spcBef>
                <a:spcPts val="900"/>
              </a:spcBef>
            </a:pPr>
            <a:r>
              <a:rPr lang="nl-NL" dirty="0"/>
              <a:t>Bij voorkeur iconen uit onze eigen </a:t>
            </a:r>
            <a:r>
              <a:rPr lang="nl-NL" dirty="0" err="1"/>
              <a:t>library</a:t>
            </a:r>
            <a:r>
              <a:rPr lang="nl-NL" dirty="0"/>
              <a:t> (tenzij het er niet in staat).</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a:spcBef>
                <a:spcPts val="900"/>
              </a:spcBef>
            </a:pPr>
            <a:endParaRPr lang="nl-NL" dirty="0"/>
          </a:p>
        </p:txBody>
      </p:sp>
      <p:sp>
        <p:nvSpPr>
          <p:cNvPr id="35" name="Content Placeholder 34">
            <a:extLst>
              <a:ext uri="{FF2B5EF4-FFF2-40B4-BE49-F238E27FC236}">
                <a16:creationId xmlns:a16="http://schemas.microsoft.com/office/drawing/2014/main" id="{D9DD1F11-AAD9-46FC-B14B-CC0EEB81F0F8}"/>
              </a:ext>
            </a:extLst>
          </p:cNvPr>
          <p:cNvSpPr>
            <a:spLocks noGrp="1"/>
          </p:cNvSpPr>
          <p:nvPr>
            <p:ph sz="quarter" idx="31"/>
          </p:nvPr>
        </p:nvSpPr>
        <p:spPr/>
        <p:txBody>
          <a:bodyPr/>
          <a:lstStyle/>
          <a:p>
            <a:pPr>
              <a:spcBef>
                <a:spcPts val="900"/>
              </a:spcBef>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bruik ronde pijlen met een </a:t>
            </a:r>
            <a:r>
              <a:rPr kumimoji="0" lang="nl-NL" sz="14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dotted</a:t>
            </a: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line om een extra uitlegtekst toe te voegen. </a:t>
            </a:r>
          </a:p>
          <a:p>
            <a:pPr>
              <a:spcBef>
                <a:spcPts val="900"/>
              </a:spcBef>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bruik rechte pijlen om objecten aan elkaar te verbinden.</a:t>
            </a:r>
          </a:p>
          <a:p>
            <a:pPr>
              <a:spcBef>
                <a:spcPts val="900"/>
              </a:spcBef>
            </a:pPr>
            <a:r>
              <a:rPr lang="nl-NL" dirty="0"/>
              <a:t>Kleur pijl: typisch </a:t>
            </a:r>
            <a:r>
              <a:rPr lang="nl-NL" dirty="0" err="1"/>
              <a:t>grey</a:t>
            </a:r>
            <a:r>
              <a:rPr lang="nl-NL" dirty="0"/>
              <a:t> 2.</a:t>
            </a:r>
          </a:p>
        </p:txBody>
      </p:sp>
      <p:sp>
        <p:nvSpPr>
          <p:cNvPr id="41" name="Text Placeholder 40">
            <a:extLst>
              <a:ext uri="{FF2B5EF4-FFF2-40B4-BE49-F238E27FC236}">
                <a16:creationId xmlns:a16="http://schemas.microsoft.com/office/drawing/2014/main" id="{604DDFCC-491D-422A-B12F-75D70A3BCC1A}"/>
              </a:ext>
            </a:extLst>
          </p:cNvPr>
          <p:cNvSpPr>
            <a:spLocks noGrp="1"/>
          </p:cNvSpPr>
          <p:nvPr>
            <p:ph type="body" sz="quarter" idx="41"/>
          </p:nvPr>
        </p:nvSpPr>
        <p:spPr/>
        <p:txBody>
          <a:bodyPr/>
          <a:lstStyle/>
          <a:p>
            <a:pPr marL="0" indent="0">
              <a:buNone/>
            </a:pPr>
            <a:r>
              <a:rPr lang="nl-NL" dirty="0"/>
              <a:t>Overige objecten</a:t>
            </a:r>
          </a:p>
        </p:txBody>
      </p:sp>
      <p:sp>
        <p:nvSpPr>
          <p:cNvPr id="38" name="Text Placeholder 37">
            <a:extLst>
              <a:ext uri="{FF2B5EF4-FFF2-40B4-BE49-F238E27FC236}">
                <a16:creationId xmlns:a16="http://schemas.microsoft.com/office/drawing/2014/main" id="{95A47FAD-8AF3-4B27-926D-49C13C7B6187}"/>
              </a:ext>
            </a:extLst>
          </p:cNvPr>
          <p:cNvSpPr>
            <a:spLocks noGrp="1"/>
          </p:cNvSpPr>
          <p:nvPr>
            <p:ph type="body" sz="quarter" idx="38"/>
          </p:nvPr>
        </p:nvSpPr>
        <p:spPr/>
        <p:txBody>
          <a:bodyPr/>
          <a:lstStyle/>
          <a:p>
            <a:pPr marL="0" indent="0">
              <a:buNone/>
            </a:pPr>
            <a:r>
              <a:rPr lang="nl-NL" dirty="0" err="1"/>
              <a:t>Callout</a:t>
            </a:r>
            <a:r>
              <a:rPr lang="nl-NL" dirty="0"/>
              <a:t> &amp; quotes</a:t>
            </a:r>
          </a:p>
        </p:txBody>
      </p:sp>
      <p:sp>
        <p:nvSpPr>
          <p:cNvPr id="36" name="Text Placeholder 35">
            <a:extLst>
              <a:ext uri="{FF2B5EF4-FFF2-40B4-BE49-F238E27FC236}">
                <a16:creationId xmlns:a16="http://schemas.microsoft.com/office/drawing/2014/main" id="{C8D7D780-ECC7-4DFE-A556-D80C7F694B65}"/>
              </a:ext>
            </a:extLst>
          </p:cNvPr>
          <p:cNvSpPr>
            <a:spLocks noGrp="1"/>
          </p:cNvSpPr>
          <p:nvPr>
            <p:ph type="body" sz="quarter" idx="34"/>
          </p:nvPr>
        </p:nvSpPr>
        <p:spPr/>
        <p:txBody>
          <a:bodyPr/>
          <a:lstStyle/>
          <a:p>
            <a:pPr marL="0" indent="0">
              <a:buNone/>
            </a:pPr>
            <a:r>
              <a:rPr lang="nl-NL" dirty="0"/>
              <a:t>Iconen</a:t>
            </a:r>
          </a:p>
        </p:txBody>
      </p:sp>
      <p:sp>
        <p:nvSpPr>
          <p:cNvPr id="34" name="Text Placeholder 33">
            <a:extLst>
              <a:ext uri="{FF2B5EF4-FFF2-40B4-BE49-F238E27FC236}">
                <a16:creationId xmlns:a16="http://schemas.microsoft.com/office/drawing/2014/main" id="{6DF49956-25C6-4993-8A76-10744C6487FB}"/>
              </a:ext>
            </a:extLst>
          </p:cNvPr>
          <p:cNvSpPr>
            <a:spLocks noGrp="1"/>
          </p:cNvSpPr>
          <p:nvPr>
            <p:ph type="body" sz="quarter" idx="30"/>
          </p:nvPr>
        </p:nvSpPr>
        <p:spPr/>
        <p:txBody>
          <a:bodyPr/>
          <a:lstStyle/>
          <a:p>
            <a:pPr marL="0" indent="0">
              <a:buNone/>
            </a:pPr>
            <a:r>
              <a:rPr lang="nl-NL" dirty="0"/>
              <a:t>Pijlen</a:t>
            </a:r>
          </a:p>
        </p:txBody>
      </p:sp>
      <p:sp>
        <p:nvSpPr>
          <p:cNvPr id="5" name="Slide Number Placeholder 4">
            <a:extLst>
              <a:ext uri="{FF2B5EF4-FFF2-40B4-BE49-F238E27FC236}">
                <a16:creationId xmlns:a16="http://schemas.microsoft.com/office/drawing/2014/main" id="{0BE685CC-D78A-4C0F-83E7-96A36BAF6D29}"/>
              </a:ext>
            </a:extLst>
          </p:cNvPr>
          <p:cNvSpPr>
            <a:spLocks noGrp="1"/>
          </p:cNvSpPr>
          <p:nvPr>
            <p:ph type="sldNum" sz="quarter" idx="12"/>
          </p:nvPr>
        </p:nvSpPr>
        <p:spPr/>
        <p:txBody>
          <a:bodyPr/>
          <a:lstStyle/>
          <a:p>
            <a:fld id="{992CD0B2-8AB2-4C6C-8876-E15753662C9B}" type="slidenum">
              <a:rPr lang="nl-NL" noProof="0" smtClean="0"/>
              <a:pPr/>
              <a:t>18</a:t>
            </a:fld>
            <a:endParaRPr lang="nl-NL" noProof="0"/>
          </a:p>
        </p:txBody>
      </p:sp>
      <p:sp>
        <p:nvSpPr>
          <p:cNvPr id="31" name="Title 30">
            <a:extLst>
              <a:ext uri="{FF2B5EF4-FFF2-40B4-BE49-F238E27FC236}">
                <a16:creationId xmlns:a16="http://schemas.microsoft.com/office/drawing/2014/main" id="{4BB0A1BB-C931-46E3-9C96-9B8348CF1FB8}"/>
              </a:ext>
            </a:extLst>
          </p:cNvPr>
          <p:cNvSpPr>
            <a:spLocks noGrp="1"/>
          </p:cNvSpPr>
          <p:nvPr>
            <p:ph type="title"/>
          </p:nvPr>
        </p:nvSpPr>
        <p:spPr/>
        <p:txBody>
          <a:bodyPr vert="horz"/>
          <a:lstStyle/>
          <a:p>
            <a:r>
              <a:rPr lang="nl-NL" dirty="0"/>
              <a:t>Iconen, pijlen en </a:t>
            </a:r>
            <a:r>
              <a:rPr lang="nl-NL" dirty="0" err="1"/>
              <a:t>callouts</a:t>
            </a:r>
            <a:r>
              <a:rPr lang="nl-NL" dirty="0"/>
              <a:t> kunnen gebruikt worden ter ondersteuning van de boodschap aan de lezer</a:t>
            </a:r>
          </a:p>
        </p:txBody>
      </p:sp>
      <p:pic>
        <p:nvPicPr>
          <p:cNvPr id="42" name="Graphic 41" descr="Schoolhouse">
            <a:extLst>
              <a:ext uri="{FF2B5EF4-FFF2-40B4-BE49-F238E27FC236}">
                <a16:creationId xmlns:a16="http://schemas.microsoft.com/office/drawing/2014/main" id="{2B23F1B3-E3B2-46E8-8B14-DE9774727399}"/>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762120" y="4446303"/>
            <a:ext cx="495549" cy="495549"/>
          </a:xfrm>
          <a:prstGeom prst="rect">
            <a:avLst/>
          </a:prstGeom>
        </p:spPr>
      </p:pic>
      <p:pic>
        <p:nvPicPr>
          <p:cNvPr id="44" name="Graphic 43" descr="Map with pin">
            <a:extLst>
              <a:ext uri="{FF2B5EF4-FFF2-40B4-BE49-F238E27FC236}">
                <a16:creationId xmlns:a16="http://schemas.microsoft.com/office/drawing/2014/main" id="{6AFEE918-0F50-4232-B534-40390388EB9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852654" y="3659196"/>
            <a:ext cx="630325" cy="630325"/>
          </a:xfrm>
          <a:prstGeom prst="rect">
            <a:avLst/>
          </a:prstGeom>
        </p:spPr>
      </p:pic>
      <p:pic>
        <p:nvPicPr>
          <p:cNvPr id="45" name="Graphic 44" descr="Brain">
            <a:extLst>
              <a:ext uri="{FF2B5EF4-FFF2-40B4-BE49-F238E27FC236}">
                <a16:creationId xmlns:a16="http://schemas.microsoft.com/office/drawing/2014/main" id="{C3F062A6-B07F-45AC-880C-7C561CAC7D16}"/>
              </a:ext>
            </a:extLst>
          </p:cNvPr>
          <p:cNvPicPr>
            <a:picLocks noChangeAspect="1"/>
          </p:cNvPicPr>
          <p:nvPr/>
        </p:nvPicPr>
        <p:blipFill>
          <a:blip r:embed="rId25">
            <a:extLst>
              <a:ext uri="{96DAC541-7B7A-43D3-8B79-37D633B846F1}">
                <asvg:svgBlip xmlns:asvg="http://schemas.microsoft.com/office/drawing/2016/SVG/main" r:embed="rId26"/>
              </a:ext>
            </a:extLst>
          </a:blip>
          <a:srcRect/>
          <a:stretch/>
        </p:blipFill>
        <p:spPr>
          <a:xfrm>
            <a:off x="3682846" y="4321626"/>
            <a:ext cx="555758" cy="555758"/>
          </a:xfrm>
          <a:prstGeom prst="rect">
            <a:avLst/>
          </a:prstGeom>
        </p:spPr>
      </p:pic>
      <p:pic>
        <p:nvPicPr>
          <p:cNvPr id="46" name="Graphic 45" descr="Family with girl">
            <a:extLst>
              <a:ext uri="{FF2B5EF4-FFF2-40B4-BE49-F238E27FC236}">
                <a16:creationId xmlns:a16="http://schemas.microsoft.com/office/drawing/2014/main" id="{7B3B37E6-2975-441F-B09C-BD620AEF75D1}"/>
              </a:ext>
            </a:extLst>
          </p:cNvPr>
          <p:cNvPicPr>
            <a:picLocks noChangeAspect="1"/>
          </p:cNvPicPr>
          <p:nvPr/>
        </p:nvPicPr>
        <p:blipFill>
          <a:blip r:embed="rId27">
            <a:extLst>
              <a:ext uri="{96DAC541-7B7A-43D3-8B79-37D633B846F1}">
                <asvg:svgBlip xmlns:asvg="http://schemas.microsoft.com/office/drawing/2016/SVG/main" r:embed="rId28"/>
              </a:ext>
            </a:extLst>
          </a:blip>
          <a:srcRect/>
          <a:stretch/>
        </p:blipFill>
        <p:spPr>
          <a:xfrm>
            <a:off x="4138426" y="5098634"/>
            <a:ext cx="746200" cy="746200"/>
          </a:xfrm>
          <a:prstGeom prst="rect">
            <a:avLst/>
          </a:prstGeom>
        </p:spPr>
      </p:pic>
      <p:sp>
        <p:nvSpPr>
          <p:cNvPr id="49" name="Arc 48">
            <a:extLst>
              <a:ext uri="{FF2B5EF4-FFF2-40B4-BE49-F238E27FC236}">
                <a16:creationId xmlns:a16="http://schemas.microsoft.com/office/drawing/2014/main" id="{0B583D24-61FA-42C6-8406-E72D2F9CB9AC}"/>
              </a:ext>
            </a:extLst>
          </p:cNvPr>
          <p:cNvSpPr/>
          <p:nvPr/>
        </p:nvSpPr>
        <p:spPr>
          <a:xfrm rot="2519719">
            <a:off x="1773388" y="3870245"/>
            <a:ext cx="394261" cy="979174"/>
          </a:xfrm>
          <a:prstGeom prst="arc">
            <a:avLst>
              <a:gd name="adj1" fmla="val 17637532"/>
              <a:gd name="adj2" fmla="val 3432759"/>
            </a:avLst>
          </a:prstGeom>
          <a:noFill/>
          <a:ln w="9525" cap="flat" cmpd="sng" algn="ctr">
            <a:solidFill>
              <a:srgbClr val="6A6A6A"/>
            </a:solidFill>
            <a:prstDash val="dash"/>
            <a:headEnd w="med" len="med"/>
            <a:tailEnd type="triangl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indent="0" algn="ctr">
              <a:buNone/>
            </a:pPr>
            <a:endParaRPr lang="nl-NL" dirty="0"/>
          </a:p>
        </p:txBody>
      </p:sp>
      <p:sp>
        <p:nvSpPr>
          <p:cNvPr id="50" name="TextBox 49">
            <a:extLst>
              <a:ext uri="{FF2B5EF4-FFF2-40B4-BE49-F238E27FC236}">
                <a16:creationId xmlns:a16="http://schemas.microsoft.com/office/drawing/2014/main" id="{866EF84D-2889-4C89-A182-1FE7AE4B4C97}"/>
              </a:ext>
            </a:extLst>
          </p:cNvPr>
          <p:cNvSpPr txBox="1"/>
          <p:nvPr/>
        </p:nvSpPr>
        <p:spPr>
          <a:xfrm>
            <a:off x="1715589" y="3927368"/>
            <a:ext cx="1186614" cy="259301"/>
          </a:xfrm>
          <a:prstGeom prst="rect">
            <a:avLst/>
          </a:prstGeom>
        </p:spPr>
        <p:txBody>
          <a:bodyPr vert="horz" wrap="square" lIns="91440" tIns="45720" rIns="91440" bIns="45720" rtlCol="0">
            <a:noAutofit/>
          </a:bodyPr>
          <a:lstStyle/>
          <a:p>
            <a:pPr marL="0" indent="0" algn="ctr">
              <a:buNone/>
            </a:pPr>
            <a:r>
              <a:rPr lang="nl-NL" sz="1000" dirty="0">
                <a:latin typeface="+mj-lt"/>
              </a:rPr>
              <a:t>Extra uitleg tekst</a:t>
            </a:r>
            <a:endParaRPr lang="nl-NL" sz="1000" noProof="0" dirty="0">
              <a:latin typeface="+mj-lt"/>
            </a:endParaRPr>
          </a:p>
        </p:txBody>
      </p:sp>
      <p:cxnSp>
        <p:nvCxnSpPr>
          <p:cNvPr id="51" name="Straight Arrow Connector 50">
            <a:extLst>
              <a:ext uri="{FF2B5EF4-FFF2-40B4-BE49-F238E27FC236}">
                <a16:creationId xmlns:a16="http://schemas.microsoft.com/office/drawing/2014/main" id="{4A135EE4-3CFC-454D-86F4-85048167D77A}"/>
              </a:ext>
            </a:extLst>
          </p:cNvPr>
          <p:cNvCxnSpPr>
            <a:cxnSpLocks/>
          </p:cNvCxnSpPr>
          <p:nvPr/>
        </p:nvCxnSpPr>
        <p:spPr>
          <a:xfrm>
            <a:off x="1377211" y="4996328"/>
            <a:ext cx="1186614" cy="0"/>
          </a:xfrm>
          <a:prstGeom prst="straightConnector1">
            <a:avLst/>
          </a:prstGeom>
          <a:ln>
            <a:solidFill>
              <a:srgbClr val="6A6A6A"/>
            </a:solidFill>
            <a:tailEnd type="triangle"/>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812ACC4A-9CE4-401B-8515-3BFF78975D03}"/>
              </a:ext>
            </a:extLst>
          </p:cNvPr>
          <p:cNvSpPr/>
          <p:nvPr/>
        </p:nvSpPr>
        <p:spPr>
          <a:xfrm>
            <a:off x="1724536" y="5343525"/>
            <a:ext cx="382089" cy="242686"/>
          </a:xfrm>
          <a:prstGeom prst="rect">
            <a:avLst/>
          </a:prstGeom>
          <a:solidFill>
            <a:srgbClr val="DBDBDB"/>
          </a:solidFill>
          <a:ln w="9525">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marL="0" indent="0" algn="l">
              <a:spcBef>
                <a:spcPts val="750"/>
              </a:spcBef>
              <a:buClr>
                <a:schemeClr val="tx2"/>
              </a:buClr>
              <a:buNone/>
            </a:pPr>
            <a:endParaRPr kumimoji="0" lang="nl-NL" sz="10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endParaRPr>
          </a:p>
        </p:txBody>
      </p:sp>
      <p:sp>
        <p:nvSpPr>
          <p:cNvPr id="53" name="Rectangle 52">
            <a:extLst>
              <a:ext uri="{FF2B5EF4-FFF2-40B4-BE49-F238E27FC236}">
                <a16:creationId xmlns:a16="http://schemas.microsoft.com/office/drawing/2014/main" id="{F9FEDB21-EC35-47D3-8AC9-051CFE13ECA6}"/>
              </a:ext>
            </a:extLst>
          </p:cNvPr>
          <p:cNvSpPr/>
          <p:nvPr/>
        </p:nvSpPr>
        <p:spPr>
          <a:xfrm>
            <a:off x="1724536" y="5665246"/>
            <a:ext cx="382089" cy="242686"/>
          </a:xfrm>
          <a:prstGeom prst="rect">
            <a:avLst/>
          </a:prstGeom>
          <a:solidFill>
            <a:srgbClr val="DBDBDB"/>
          </a:solidFill>
          <a:ln w="9525">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marL="0" indent="0" algn="l">
              <a:spcBef>
                <a:spcPts val="750"/>
              </a:spcBef>
              <a:buClr>
                <a:schemeClr val="tx2"/>
              </a:buClr>
              <a:buNone/>
            </a:pPr>
            <a:endParaRPr kumimoji="0" lang="nl-NL" sz="10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675615A6-81D2-4421-9261-9968ECDACDAC}"/>
              </a:ext>
            </a:extLst>
          </p:cNvPr>
          <p:cNvSpPr/>
          <p:nvPr/>
        </p:nvSpPr>
        <p:spPr>
          <a:xfrm>
            <a:off x="1061100" y="5504386"/>
            <a:ext cx="382089" cy="242686"/>
          </a:xfrm>
          <a:prstGeom prst="rect">
            <a:avLst/>
          </a:prstGeom>
          <a:solidFill>
            <a:srgbClr val="DBDBDB"/>
          </a:solidFill>
          <a:ln w="9525">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marL="0" indent="0" algn="l">
              <a:spcBef>
                <a:spcPts val="750"/>
              </a:spcBef>
              <a:buClr>
                <a:schemeClr val="tx2"/>
              </a:buClr>
              <a:buNone/>
            </a:pPr>
            <a:endParaRPr kumimoji="0" lang="nl-NL" sz="10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endParaRPr>
          </a:p>
        </p:txBody>
      </p:sp>
      <p:cxnSp>
        <p:nvCxnSpPr>
          <p:cNvPr id="56" name="Connector: Elbow 55">
            <a:extLst>
              <a:ext uri="{FF2B5EF4-FFF2-40B4-BE49-F238E27FC236}">
                <a16:creationId xmlns:a16="http://schemas.microsoft.com/office/drawing/2014/main" id="{B10FD45B-F728-4D42-802F-9D82CDE0CFEF}"/>
              </a:ext>
            </a:extLst>
          </p:cNvPr>
          <p:cNvCxnSpPr>
            <a:stCxn id="54" idx="3"/>
            <a:endCxn id="52" idx="1"/>
          </p:cNvCxnSpPr>
          <p:nvPr/>
        </p:nvCxnSpPr>
        <p:spPr>
          <a:xfrm flipV="1">
            <a:off x="1443189" y="5464868"/>
            <a:ext cx="281347" cy="160861"/>
          </a:xfrm>
          <a:prstGeom prst="bentConnector3">
            <a:avLst/>
          </a:prstGeom>
          <a:ln>
            <a:solidFill>
              <a:srgbClr val="6A6A6A"/>
            </a:solidFill>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A046BF69-0B91-4A97-ABBF-E6D1C757060C}"/>
              </a:ext>
            </a:extLst>
          </p:cNvPr>
          <p:cNvCxnSpPr>
            <a:stCxn id="54" idx="3"/>
            <a:endCxn id="53" idx="1"/>
          </p:cNvCxnSpPr>
          <p:nvPr/>
        </p:nvCxnSpPr>
        <p:spPr>
          <a:xfrm>
            <a:off x="1443189" y="5625729"/>
            <a:ext cx="281347" cy="160860"/>
          </a:xfrm>
          <a:prstGeom prst="bentConnector3">
            <a:avLst/>
          </a:prstGeom>
          <a:ln>
            <a:solidFill>
              <a:srgbClr val="6A6A6A"/>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5CF8C1E9-CDAC-4107-B159-BE8D1B3ED3A3}"/>
              </a:ext>
            </a:extLst>
          </p:cNvPr>
          <p:cNvSpPr/>
          <p:nvPr/>
        </p:nvSpPr>
        <p:spPr>
          <a:xfrm>
            <a:off x="658814" y="0"/>
            <a:ext cx="277500" cy="257175"/>
          </a:xfrm>
          <a:prstGeom prst="rect">
            <a:avLst/>
          </a:prstGeom>
          <a:solidFill>
            <a:srgbClr val="808080"/>
          </a:solidFill>
        </p:spPr>
        <p:txBody>
          <a:bodyPr lIns="72000" rIns="72000" rtlCol="0" anchor="t">
            <a:noAutofit/>
          </a:bodyPr>
          <a:lstStyle/>
          <a:p>
            <a:pPr marL="0" indent="0" algn="ctr">
              <a:spcBef>
                <a:spcPts val="750"/>
              </a:spcBef>
              <a:buClr>
                <a:srgbClr val="FF0000"/>
              </a:buClr>
              <a:buNone/>
            </a:pP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61" name="Rectangle 60">
            <a:extLst>
              <a:ext uri="{FF2B5EF4-FFF2-40B4-BE49-F238E27FC236}">
                <a16:creationId xmlns:a16="http://schemas.microsoft.com/office/drawing/2014/main" id="{48C52E3D-68F5-45AC-835A-AF18D7DB5696}"/>
              </a:ext>
            </a:extLst>
          </p:cNvPr>
          <p:cNvSpPr/>
          <p:nvPr/>
        </p:nvSpPr>
        <p:spPr>
          <a:xfrm>
            <a:off x="936314" y="0"/>
            <a:ext cx="3026086" cy="266699"/>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lIns="72000" rIns="72000" rtlCol="0" anchor="ctr">
            <a:noAutofit/>
          </a:bodyPr>
          <a:lstStyle/>
          <a:p>
            <a:pPr marL="0" indent="0">
              <a:spcBef>
                <a:spcPts val="750"/>
              </a:spcBef>
              <a:buClr>
                <a:srgbClr val="FF0000"/>
              </a:buClr>
              <a:buNone/>
              <a:defRP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Inhoud van een slide – Iconen, pijlen en </a:t>
            </a:r>
            <a:r>
              <a:rPr kumimoji="0" lang="nl-NL" sz="1000" b="1" i="0" u="none" strike="noStrike" kern="1200" cap="none" spc="0" normalizeH="0" baseline="0" noProof="0" dirty="0" err="1">
                <a:ln>
                  <a:noFill/>
                </a:ln>
                <a:solidFill>
                  <a:srgbClr val="000000"/>
                </a:solidFill>
                <a:effectLst/>
                <a:uLnTx/>
                <a:uFillTx/>
                <a:latin typeface="Corbel" panose="020B0503020204020204" pitchFamily="34" charset="0"/>
                <a:ea typeface="+mn-ea"/>
                <a:cs typeface="Arial" panose="020B0604020202020204" pitchFamily="34" charset="0"/>
              </a:rPr>
              <a:t>callouts</a:t>
            </a:r>
            <a:endPar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62" name="Speech Bubble: Rectangle 61">
            <a:extLst>
              <a:ext uri="{FF2B5EF4-FFF2-40B4-BE49-F238E27FC236}">
                <a16:creationId xmlns:a16="http://schemas.microsoft.com/office/drawing/2014/main" id="{633DB6C5-9199-4224-8C79-FB3DCD28FED4}"/>
              </a:ext>
            </a:extLst>
          </p:cNvPr>
          <p:cNvSpPr/>
          <p:nvPr/>
        </p:nvSpPr>
        <p:spPr>
          <a:xfrm>
            <a:off x="6697116" y="2512666"/>
            <a:ext cx="1323703" cy="840638"/>
          </a:xfrm>
          <a:prstGeom prst="wedgeRectCallout">
            <a:avLst>
              <a:gd name="adj1" fmla="val -31305"/>
              <a:gd name="adj2" fmla="val 67721"/>
            </a:avLst>
          </a:prstGeom>
          <a:solidFill>
            <a:schemeClr val="bg1">
              <a:lumMod val="95000"/>
            </a:schemeClr>
          </a:solidFill>
          <a:ln>
            <a:solidFill>
              <a:schemeClr val="bg1">
                <a:lumMod val="85000"/>
              </a:schemeClr>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spcBef>
                <a:spcPts val="750"/>
              </a:spcBef>
              <a:buClr>
                <a:srgbClr val="FF0000"/>
              </a:buClr>
              <a:buNone/>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bruik rechte </a:t>
            </a:r>
            <a:r>
              <a:rPr kumimoji="0" lang="nl-NL" sz="10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callouts</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voor extra informatie die als </a:t>
            </a:r>
            <a:r>
              <a:rPr kumimoji="0" lang="nl-NL" sz="10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toelich</a:t>
            </a:r>
            <a:r>
              <a:rPr kumimoji="0" lang="en-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a:t>
            </a:r>
            <a:r>
              <a:rPr kumimoji="0" lang="nl-NL" sz="10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ing</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wordt gegeven.</a:t>
            </a:r>
          </a:p>
        </p:txBody>
      </p:sp>
      <p:sp>
        <p:nvSpPr>
          <p:cNvPr id="63" name="Speech Bubble: Rectangle with Corners Rounded 62">
            <a:extLst>
              <a:ext uri="{FF2B5EF4-FFF2-40B4-BE49-F238E27FC236}">
                <a16:creationId xmlns:a16="http://schemas.microsoft.com/office/drawing/2014/main" id="{877045C2-4837-4B5D-8A38-A4C709F3BE67}"/>
              </a:ext>
            </a:extLst>
          </p:cNvPr>
          <p:cNvSpPr/>
          <p:nvPr/>
        </p:nvSpPr>
        <p:spPr>
          <a:xfrm>
            <a:off x="6359396" y="4061713"/>
            <a:ext cx="2215198" cy="934615"/>
          </a:xfrm>
          <a:prstGeom prst="wedgeRoundRectCallout">
            <a:avLst>
              <a:gd name="adj1" fmla="val -16034"/>
              <a:gd name="adj2" fmla="val 81299"/>
              <a:gd name="adj3" fmla="val 16667"/>
            </a:avLst>
          </a:prstGeom>
          <a:solidFill>
            <a:schemeClr val="bg1">
              <a:lumMod val="95000"/>
            </a:schemeClr>
          </a:solidFill>
          <a:ln>
            <a:solidFill>
              <a:schemeClr val="bg1">
                <a:lumMod val="85000"/>
              </a:schemeClr>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spcBef>
                <a:spcPts val="750"/>
              </a:spcBef>
              <a:buClr>
                <a:srgbClr val="FF0000"/>
              </a:buClr>
              <a:buNone/>
            </a:pPr>
            <a:r>
              <a:rPr kumimoji="0" lang="nl-NL" sz="1000" b="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kumimoji="0" lang="nl-NL" sz="1000" b="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Callouts</a:t>
            </a:r>
            <a:r>
              <a:rPr kumimoji="0" lang="nl-NL" sz="1000" b="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met ronde randen gebruiken we typisch voor interview quotes, waarbij naam en functie geïnterviewde schuingedrukt wordt</a:t>
            </a:r>
            <a:r>
              <a:rPr kumimoji="0" lang="en-NL" sz="1000" b="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kumimoji="0" lang="nl-NL" sz="1000" b="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a:p>
            <a:pPr marL="0" indent="0">
              <a:spcBef>
                <a:spcPts val="750"/>
              </a:spcBef>
              <a:buClr>
                <a:srgbClr val="FF0000"/>
              </a:buClr>
              <a:buNone/>
            </a:pPr>
            <a:r>
              <a:rPr lang="nl-NL" sz="1000" i="1" dirty="0">
                <a:solidFill>
                  <a:srgbClr val="000000"/>
                </a:solidFill>
                <a:latin typeface="Corbel" panose="020B0503020204020204" pitchFamily="34" charset="0"/>
                <a:cs typeface="+mn-cs"/>
              </a:rPr>
              <a:t>Hugo den Breejen, adviseur It’s Public</a:t>
            </a:r>
            <a:endParaRPr kumimoji="0" lang="nl-NL" sz="1000" b="0" i="1"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64" name="Arc 63">
            <a:extLst>
              <a:ext uri="{FF2B5EF4-FFF2-40B4-BE49-F238E27FC236}">
                <a16:creationId xmlns:a16="http://schemas.microsoft.com/office/drawing/2014/main" id="{D510B96F-8F35-42F6-820C-25C140C1D73F}"/>
              </a:ext>
            </a:extLst>
          </p:cNvPr>
          <p:cNvSpPr/>
          <p:nvPr/>
        </p:nvSpPr>
        <p:spPr>
          <a:xfrm rot="1466692">
            <a:off x="9746825" y="2878637"/>
            <a:ext cx="394261" cy="715931"/>
          </a:xfrm>
          <a:prstGeom prst="arc">
            <a:avLst>
              <a:gd name="adj1" fmla="val 17637532"/>
              <a:gd name="adj2" fmla="val 3432759"/>
            </a:avLst>
          </a:prstGeom>
          <a:noFill/>
          <a:ln w="9525" cap="flat" cmpd="sng" algn="ctr">
            <a:solidFill>
              <a:schemeClr val="bg1">
                <a:lumMod val="75000"/>
              </a:schemeClr>
            </a:solidFill>
            <a:prstDash val="dash"/>
            <a:headEnd w="med" len="med"/>
            <a:tailEnd type="triangl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indent="0" algn="ctr">
              <a:buNone/>
            </a:pPr>
            <a:endParaRPr lang="nl-NL" dirty="0"/>
          </a:p>
        </p:txBody>
      </p:sp>
      <p:sp>
        <p:nvSpPr>
          <p:cNvPr id="65" name="Oval 64">
            <a:extLst>
              <a:ext uri="{FF2B5EF4-FFF2-40B4-BE49-F238E27FC236}">
                <a16:creationId xmlns:a16="http://schemas.microsoft.com/office/drawing/2014/main" id="{D39D5D08-1DAD-424F-B70A-6E392901A7A2}"/>
              </a:ext>
            </a:extLst>
          </p:cNvPr>
          <p:cNvSpPr/>
          <p:nvPr>
            <p:custDataLst>
              <p:tags r:id="rId2"/>
            </p:custDataLst>
          </p:nvPr>
        </p:nvSpPr>
        <p:spPr bwMode="auto">
          <a:xfrm>
            <a:off x="9264650" y="3617913"/>
            <a:ext cx="187325" cy="187325"/>
          </a:xfrm>
          <a:prstGeom prst="ellipse">
            <a:avLst/>
          </a:prstGeom>
          <a:solidFill>
            <a:schemeClr val="bg1"/>
          </a:solidFill>
          <a:ln w="9525" algn="ctr">
            <a:solidFill>
              <a:schemeClr val="accent1"/>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6" name="Arc 65">
            <a:extLst>
              <a:ext uri="{FF2B5EF4-FFF2-40B4-BE49-F238E27FC236}">
                <a16:creationId xmlns:a16="http://schemas.microsoft.com/office/drawing/2014/main" id="{0AEB52A2-2DCB-4611-8FF3-EC9FF6F42C8C}"/>
              </a:ext>
            </a:extLst>
          </p:cNvPr>
          <p:cNvSpPr/>
          <p:nvPr>
            <p:custDataLst>
              <p:tags r:id="rId3"/>
            </p:custDataLst>
          </p:nvPr>
        </p:nvSpPr>
        <p:spPr bwMode="gray">
          <a:xfrm>
            <a:off x="9264650" y="3617913"/>
            <a:ext cx="187324" cy="187324"/>
          </a:xfrm>
          <a:prstGeom prst="arc">
            <a:avLst>
              <a:gd name="adj1" fmla="val 16200000"/>
              <a:gd name="adj2" fmla="val 0"/>
            </a:avLst>
          </a:prstGeom>
          <a:solidFill>
            <a:schemeClr val="accent1"/>
          </a:solidFill>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67" name="Oval 66">
            <a:extLst>
              <a:ext uri="{FF2B5EF4-FFF2-40B4-BE49-F238E27FC236}">
                <a16:creationId xmlns:a16="http://schemas.microsoft.com/office/drawing/2014/main" id="{C8376B95-B9BA-4103-BEFB-8747CEB33EBA}"/>
              </a:ext>
            </a:extLst>
          </p:cNvPr>
          <p:cNvSpPr/>
          <p:nvPr>
            <p:custDataLst>
              <p:tags r:id="rId4"/>
            </p:custDataLst>
          </p:nvPr>
        </p:nvSpPr>
        <p:spPr bwMode="auto">
          <a:xfrm>
            <a:off x="10433050" y="3617913"/>
            <a:ext cx="187325" cy="187325"/>
          </a:xfrm>
          <a:prstGeom prst="ellipse">
            <a:avLst/>
          </a:prstGeom>
          <a:solidFill>
            <a:schemeClr val="bg1"/>
          </a:solidFill>
          <a:ln w="9525" algn="ctr">
            <a:solidFill>
              <a:schemeClr val="accent1"/>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8" name="Arc 67">
            <a:extLst>
              <a:ext uri="{FF2B5EF4-FFF2-40B4-BE49-F238E27FC236}">
                <a16:creationId xmlns:a16="http://schemas.microsoft.com/office/drawing/2014/main" id="{D00DBBA5-384B-46FC-BB83-F08FB1D5BB7B}"/>
              </a:ext>
            </a:extLst>
          </p:cNvPr>
          <p:cNvSpPr/>
          <p:nvPr>
            <p:custDataLst>
              <p:tags r:id="rId5"/>
            </p:custDataLst>
          </p:nvPr>
        </p:nvSpPr>
        <p:spPr bwMode="gray">
          <a:xfrm>
            <a:off x="10433050" y="3617913"/>
            <a:ext cx="187325" cy="187324"/>
          </a:xfrm>
          <a:prstGeom prst="arc">
            <a:avLst>
              <a:gd name="adj1" fmla="val 16200000"/>
              <a:gd name="adj2" fmla="val 10800000"/>
            </a:avLst>
          </a:prstGeom>
          <a:solidFill>
            <a:schemeClr val="accent1"/>
          </a:solidFill>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69" name="Oval 68">
            <a:extLst>
              <a:ext uri="{FF2B5EF4-FFF2-40B4-BE49-F238E27FC236}">
                <a16:creationId xmlns:a16="http://schemas.microsoft.com/office/drawing/2014/main" id="{2DE97A24-02F1-4C75-A495-ED543C56F7DE}"/>
              </a:ext>
            </a:extLst>
          </p:cNvPr>
          <p:cNvSpPr/>
          <p:nvPr>
            <p:custDataLst>
              <p:tags r:id="rId6"/>
            </p:custDataLst>
          </p:nvPr>
        </p:nvSpPr>
        <p:spPr bwMode="auto">
          <a:xfrm>
            <a:off x="11017250" y="3617913"/>
            <a:ext cx="187325" cy="187325"/>
          </a:xfrm>
          <a:prstGeom prst="ellipse">
            <a:avLst/>
          </a:prstGeom>
          <a:solidFill>
            <a:schemeClr val="accent1"/>
          </a:solidFill>
          <a:ln w="9525" algn="ctr">
            <a:solidFill>
              <a:schemeClr val="accent1"/>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70" name="Oval 69">
            <a:extLst>
              <a:ext uri="{FF2B5EF4-FFF2-40B4-BE49-F238E27FC236}">
                <a16:creationId xmlns:a16="http://schemas.microsoft.com/office/drawing/2014/main" id="{8FAE0B58-9050-487B-9F09-D7C5A69F076B}"/>
              </a:ext>
            </a:extLst>
          </p:cNvPr>
          <p:cNvSpPr/>
          <p:nvPr>
            <p:custDataLst>
              <p:tags r:id="rId7"/>
            </p:custDataLst>
          </p:nvPr>
        </p:nvSpPr>
        <p:spPr bwMode="auto">
          <a:xfrm>
            <a:off x="9848850" y="3617913"/>
            <a:ext cx="187325" cy="187325"/>
          </a:xfrm>
          <a:prstGeom prst="ellipse">
            <a:avLst/>
          </a:prstGeom>
          <a:solidFill>
            <a:schemeClr val="bg1"/>
          </a:solidFill>
          <a:ln w="9525" algn="ctr">
            <a:solidFill>
              <a:schemeClr val="accent1"/>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71" name="Arc 70">
            <a:extLst>
              <a:ext uri="{FF2B5EF4-FFF2-40B4-BE49-F238E27FC236}">
                <a16:creationId xmlns:a16="http://schemas.microsoft.com/office/drawing/2014/main" id="{0550E2ED-5686-4587-9AC3-D3168CC3ED03}"/>
              </a:ext>
            </a:extLst>
          </p:cNvPr>
          <p:cNvSpPr/>
          <p:nvPr>
            <p:custDataLst>
              <p:tags r:id="rId8"/>
            </p:custDataLst>
          </p:nvPr>
        </p:nvSpPr>
        <p:spPr bwMode="gray">
          <a:xfrm>
            <a:off x="9848850" y="3617913"/>
            <a:ext cx="187325" cy="187324"/>
          </a:xfrm>
          <a:prstGeom prst="arc">
            <a:avLst>
              <a:gd name="adj1" fmla="val 16200000"/>
              <a:gd name="adj2" fmla="val 5400000"/>
            </a:avLst>
          </a:prstGeom>
          <a:solidFill>
            <a:schemeClr val="accent1"/>
          </a:solidFill>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72" name="Oval 71">
            <a:extLst>
              <a:ext uri="{FF2B5EF4-FFF2-40B4-BE49-F238E27FC236}">
                <a16:creationId xmlns:a16="http://schemas.microsoft.com/office/drawing/2014/main" id="{5CB8A7AF-03AD-483B-BD40-42BC55F5569F}"/>
              </a:ext>
            </a:extLst>
          </p:cNvPr>
          <p:cNvSpPr/>
          <p:nvPr>
            <p:custDataLst>
              <p:tags r:id="rId9"/>
            </p:custDataLst>
          </p:nvPr>
        </p:nvSpPr>
        <p:spPr bwMode="auto">
          <a:xfrm>
            <a:off x="9264650" y="4067175"/>
            <a:ext cx="187325" cy="187325"/>
          </a:xfrm>
          <a:prstGeom prst="ellipse">
            <a:avLst/>
          </a:prstGeom>
          <a:solidFill>
            <a:schemeClr val="bg1"/>
          </a:solidFill>
          <a:ln w="9525" algn="ctr">
            <a:solidFill>
              <a:schemeClr val="tx1"/>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73" name="Arc 72">
            <a:extLst>
              <a:ext uri="{FF2B5EF4-FFF2-40B4-BE49-F238E27FC236}">
                <a16:creationId xmlns:a16="http://schemas.microsoft.com/office/drawing/2014/main" id="{D86D49B3-4DE6-496E-983A-808673F4FA71}"/>
              </a:ext>
            </a:extLst>
          </p:cNvPr>
          <p:cNvSpPr/>
          <p:nvPr>
            <p:custDataLst>
              <p:tags r:id="rId10"/>
            </p:custDataLst>
          </p:nvPr>
        </p:nvSpPr>
        <p:spPr bwMode="gray">
          <a:xfrm>
            <a:off x="9264650" y="4067175"/>
            <a:ext cx="187324" cy="187324"/>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74" name="Oval 73">
            <a:extLst>
              <a:ext uri="{FF2B5EF4-FFF2-40B4-BE49-F238E27FC236}">
                <a16:creationId xmlns:a16="http://schemas.microsoft.com/office/drawing/2014/main" id="{634E9087-77B7-41E2-BDD8-71910290E7B0}"/>
              </a:ext>
            </a:extLst>
          </p:cNvPr>
          <p:cNvSpPr/>
          <p:nvPr>
            <p:custDataLst>
              <p:tags r:id="rId11"/>
            </p:custDataLst>
          </p:nvPr>
        </p:nvSpPr>
        <p:spPr bwMode="auto">
          <a:xfrm>
            <a:off x="10433050" y="4067175"/>
            <a:ext cx="187325" cy="187325"/>
          </a:xfrm>
          <a:prstGeom prst="ellipse">
            <a:avLst/>
          </a:prstGeom>
          <a:solidFill>
            <a:schemeClr val="bg1"/>
          </a:solidFill>
          <a:ln w="9525" algn="ctr">
            <a:solidFill>
              <a:schemeClr val="tx1"/>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75" name="Arc 74">
            <a:extLst>
              <a:ext uri="{FF2B5EF4-FFF2-40B4-BE49-F238E27FC236}">
                <a16:creationId xmlns:a16="http://schemas.microsoft.com/office/drawing/2014/main" id="{89FE3BE8-5A5D-4F50-91B8-4F80304B6638}"/>
              </a:ext>
            </a:extLst>
          </p:cNvPr>
          <p:cNvSpPr/>
          <p:nvPr>
            <p:custDataLst>
              <p:tags r:id="rId12"/>
            </p:custDataLst>
          </p:nvPr>
        </p:nvSpPr>
        <p:spPr bwMode="gray">
          <a:xfrm>
            <a:off x="10433051" y="4067175"/>
            <a:ext cx="187324" cy="187325"/>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76" name="Oval 75">
            <a:extLst>
              <a:ext uri="{FF2B5EF4-FFF2-40B4-BE49-F238E27FC236}">
                <a16:creationId xmlns:a16="http://schemas.microsoft.com/office/drawing/2014/main" id="{D5D9949F-94C0-4CB9-B676-89CF290C1A36}"/>
              </a:ext>
            </a:extLst>
          </p:cNvPr>
          <p:cNvSpPr/>
          <p:nvPr>
            <p:custDataLst>
              <p:tags r:id="rId13"/>
            </p:custDataLst>
          </p:nvPr>
        </p:nvSpPr>
        <p:spPr bwMode="auto">
          <a:xfrm>
            <a:off x="11017250" y="4067175"/>
            <a:ext cx="187325" cy="187325"/>
          </a:xfrm>
          <a:prstGeom prst="ellipse">
            <a:avLst/>
          </a:prstGeom>
          <a:solidFill>
            <a:schemeClr val="tx1"/>
          </a:solidFill>
          <a:ln w="9525" algn="ctr">
            <a:solidFill>
              <a:schemeClr val="tx1"/>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77" name="Oval 76">
            <a:extLst>
              <a:ext uri="{FF2B5EF4-FFF2-40B4-BE49-F238E27FC236}">
                <a16:creationId xmlns:a16="http://schemas.microsoft.com/office/drawing/2014/main" id="{60C0BEC8-BB9C-4113-AB1F-6603F85DAE51}"/>
              </a:ext>
            </a:extLst>
          </p:cNvPr>
          <p:cNvSpPr/>
          <p:nvPr>
            <p:custDataLst>
              <p:tags r:id="rId14"/>
            </p:custDataLst>
          </p:nvPr>
        </p:nvSpPr>
        <p:spPr bwMode="auto">
          <a:xfrm>
            <a:off x="9848850" y="4067175"/>
            <a:ext cx="187325" cy="187325"/>
          </a:xfrm>
          <a:prstGeom prst="ellipse">
            <a:avLst/>
          </a:prstGeom>
          <a:solidFill>
            <a:schemeClr val="bg1"/>
          </a:solidFill>
          <a:ln w="9525" algn="ctr">
            <a:solidFill>
              <a:schemeClr val="tx1"/>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78" name="Arc 77">
            <a:extLst>
              <a:ext uri="{FF2B5EF4-FFF2-40B4-BE49-F238E27FC236}">
                <a16:creationId xmlns:a16="http://schemas.microsoft.com/office/drawing/2014/main" id="{4370A56E-4BCC-4EE7-8AAB-10B3A9D768C8}"/>
              </a:ext>
            </a:extLst>
          </p:cNvPr>
          <p:cNvSpPr/>
          <p:nvPr>
            <p:custDataLst>
              <p:tags r:id="rId15"/>
            </p:custDataLst>
          </p:nvPr>
        </p:nvSpPr>
        <p:spPr bwMode="gray">
          <a:xfrm>
            <a:off x="9848850" y="4067175"/>
            <a:ext cx="187325" cy="187324"/>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2" name="Freeform: Shape 1">
            <a:extLst>
              <a:ext uri="{FF2B5EF4-FFF2-40B4-BE49-F238E27FC236}">
                <a16:creationId xmlns:a16="http://schemas.microsoft.com/office/drawing/2014/main" id="{D4287615-C106-4529-8C62-4830FAF135D5}"/>
              </a:ext>
            </a:extLst>
          </p:cNvPr>
          <p:cNvSpPr/>
          <p:nvPr/>
        </p:nvSpPr>
        <p:spPr>
          <a:xfrm>
            <a:off x="923731" y="4216005"/>
            <a:ext cx="690465" cy="253358"/>
          </a:xfrm>
          <a:custGeom>
            <a:avLst/>
            <a:gdLst>
              <a:gd name="connsiteX0" fmla="*/ 0 w 690465"/>
              <a:gd name="connsiteY0" fmla="*/ 253358 h 253358"/>
              <a:gd name="connsiteX1" fmla="*/ 354563 w 690465"/>
              <a:gd name="connsiteY1" fmla="*/ 1432 h 253358"/>
              <a:gd name="connsiteX2" fmla="*/ 690465 w 690465"/>
              <a:gd name="connsiteY2" fmla="*/ 169383 h 253358"/>
            </a:gdLst>
            <a:ahLst/>
            <a:cxnLst>
              <a:cxn ang="0">
                <a:pos x="connsiteX0" y="connsiteY0"/>
              </a:cxn>
              <a:cxn ang="0">
                <a:pos x="connsiteX1" y="connsiteY1"/>
              </a:cxn>
              <a:cxn ang="0">
                <a:pos x="connsiteX2" y="connsiteY2"/>
              </a:cxn>
            </a:cxnLst>
            <a:rect l="l" t="t" r="r" b="b"/>
            <a:pathLst>
              <a:path w="690465" h="253358">
                <a:moveTo>
                  <a:pt x="0" y="253358"/>
                </a:moveTo>
                <a:cubicBezTo>
                  <a:pt x="119743" y="134393"/>
                  <a:pt x="239486" y="15428"/>
                  <a:pt x="354563" y="1432"/>
                </a:cubicBezTo>
                <a:cubicBezTo>
                  <a:pt x="469640" y="-12564"/>
                  <a:pt x="580052" y="78409"/>
                  <a:pt x="690465" y="169383"/>
                </a:cubicBezTo>
              </a:path>
            </a:pathLst>
          </a:custGeom>
          <a:noFill/>
          <a:ln w="9525" cap="flat" cmpd="sng" algn="ctr">
            <a:solidFill>
              <a:srgbClr val="6A6A6A"/>
            </a:solidFill>
            <a:prstDash val="dash"/>
            <a:headEnd w="med" len="med"/>
            <a:tailEnd type="triangl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indent="0" algn="ctr">
              <a:buNone/>
            </a:pPr>
            <a:endParaRPr lang="nl-NL">
              <a:solidFill>
                <a:schemeClr val="tx1"/>
              </a:solidFill>
              <a:latin typeface="+mn-lt"/>
            </a:endParaRPr>
          </a:p>
        </p:txBody>
      </p:sp>
      <p:sp>
        <p:nvSpPr>
          <p:cNvPr id="47" name="Content Placeholder 39">
            <a:extLst>
              <a:ext uri="{FF2B5EF4-FFF2-40B4-BE49-F238E27FC236}">
                <a16:creationId xmlns:a16="http://schemas.microsoft.com/office/drawing/2014/main" id="{924122D9-7485-468A-83C4-66DBF18BBCF5}"/>
              </a:ext>
            </a:extLst>
          </p:cNvPr>
          <p:cNvSpPr txBox="1">
            <a:spLocks/>
          </p:cNvSpPr>
          <p:nvPr/>
        </p:nvSpPr>
        <p:spPr>
          <a:xfrm>
            <a:off x="9018748" y="4413242"/>
            <a:ext cx="2505600" cy="4284000"/>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spcBef>
                <a:spcPts val="900"/>
              </a:spcBef>
            </a:pPr>
            <a:r>
              <a:rPr lang="nl-NL" dirty="0">
                <a:latin typeface="+mj-lt"/>
              </a:rPr>
              <a:t>Gebruik het handje om aan te geven dat er een hyperlink is.</a:t>
            </a:r>
          </a:p>
          <a:p>
            <a:pPr>
              <a:spcBef>
                <a:spcPts val="900"/>
              </a:spcBef>
            </a:pPr>
            <a:endParaRPr lang="nl-NL" dirty="0"/>
          </a:p>
        </p:txBody>
      </p:sp>
      <p:sp>
        <p:nvSpPr>
          <p:cNvPr id="55" name="Freeform: Shape 54">
            <a:extLst>
              <a:ext uri="{FF2B5EF4-FFF2-40B4-BE49-F238E27FC236}">
                <a16:creationId xmlns:a16="http://schemas.microsoft.com/office/drawing/2014/main" id="{C8E0F369-B404-4593-B564-E650E4055AE6}"/>
              </a:ext>
            </a:extLst>
          </p:cNvPr>
          <p:cNvSpPr/>
          <p:nvPr/>
        </p:nvSpPr>
        <p:spPr>
          <a:xfrm>
            <a:off x="9758523" y="5182435"/>
            <a:ext cx="367978" cy="470636"/>
          </a:xfrm>
          <a:custGeom>
            <a:avLst/>
            <a:gdLst>
              <a:gd name="connsiteX0" fmla="*/ 1222310 w 1222310"/>
              <a:gd name="connsiteY0" fmla="*/ 1045029 h 1045029"/>
              <a:gd name="connsiteX1" fmla="*/ 858417 w 1222310"/>
              <a:gd name="connsiteY1" fmla="*/ 503853 h 1045029"/>
              <a:gd name="connsiteX2" fmla="*/ 223935 w 1222310"/>
              <a:gd name="connsiteY2" fmla="*/ 279919 h 1045029"/>
              <a:gd name="connsiteX3" fmla="*/ 0 w 1222310"/>
              <a:gd name="connsiteY3" fmla="*/ 0 h 1045029"/>
            </a:gdLst>
            <a:ahLst/>
            <a:cxnLst>
              <a:cxn ang="0">
                <a:pos x="connsiteX0" y="connsiteY0"/>
              </a:cxn>
              <a:cxn ang="0">
                <a:pos x="connsiteX1" y="connsiteY1"/>
              </a:cxn>
              <a:cxn ang="0">
                <a:pos x="connsiteX2" y="connsiteY2"/>
              </a:cxn>
              <a:cxn ang="0">
                <a:pos x="connsiteX3" y="connsiteY3"/>
              </a:cxn>
            </a:cxnLst>
            <a:rect l="l" t="t" r="r" b="b"/>
            <a:pathLst>
              <a:path w="1222310" h="1045029">
                <a:moveTo>
                  <a:pt x="1222310" y="1045029"/>
                </a:moveTo>
                <a:cubicBezTo>
                  <a:pt x="1123561" y="838200"/>
                  <a:pt x="1024813" y="631371"/>
                  <a:pt x="858417" y="503853"/>
                </a:cubicBezTo>
                <a:cubicBezTo>
                  <a:pt x="692021" y="376335"/>
                  <a:pt x="367004" y="363894"/>
                  <a:pt x="223935" y="279919"/>
                </a:cubicBezTo>
                <a:cubicBezTo>
                  <a:pt x="80865" y="195943"/>
                  <a:pt x="40432" y="97971"/>
                  <a:pt x="0" y="0"/>
                </a:cubicBezTo>
              </a:path>
            </a:pathLst>
          </a:custGeom>
          <a:noFill/>
          <a:ln w="28575">
            <a:solidFill>
              <a:schemeClr val="accent1"/>
            </a:solidFill>
            <a:prstDash val="sysDot"/>
            <a:headEnd type="none" w="med" len="med"/>
            <a:tailEnd type="triangle" w="med" len="me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LID4096" dirty="0"/>
          </a:p>
        </p:txBody>
      </p:sp>
      <p:pic>
        <p:nvPicPr>
          <p:cNvPr id="57" name="Graphic 56" descr="Right pointing backhand index">
            <a:extLst>
              <a:ext uri="{FF2B5EF4-FFF2-40B4-BE49-F238E27FC236}">
                <a16:creationId xmlns:a16="http://schemas.microsoft.com/office/drawing/2014/main" id="{584ADD6C-793E-4016-B9F0-DD62176ED582}"/>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rot="16200000">
            <a:off x="10038819" y="5675203"/>
            <a:ext cx="465458" cy="465458"/>
          </a:xfrm>
          <a:prstGeom prst="rect">
            <a:avLst/>
          </a:prstGeom>
        </p:spPr>
      </p:pic>
    </p:spTree>
    <p:extLst>
      <p:ext uri="{BB962C8B-B14F-4D97-AF65-F5344CB8AC3E}">
        <p14:creationId xmlns:p14="http://schemas.microsoft.com/office/powerpoint/2010/main" val="9936826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76C0C9-EAD5-420C-8F25-1BBA936189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8" name="Object 7" hidden="1">
                        <a:extLst>
                          <a:ext uri="{FF2B5EF4-FFF2-40B4-BE49-F238E27FC236}">
                            <a16:creationId xmlns:a16="http://schemas.microsoft.com/office/drawing/2014/main" id="{4676C0C9-EAD5-420C-8F25-1BBA936189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Content Placeholder 15">
            <a:extLst>
              <a:ext uri="{FF2B5EF4-FFF2-40B4-BE49-F238E27FC236}">
                <a16:creationId xmlns:a16="http://schemas.microsoft.com/office/drawing/2014/main" id="{4FA05F2D-F969-4CC5-BAA6-C19D69B975CB}"/>
              </a:ext>
            </a:extLst>
          </p:cNvPr>
          <p:cNvSpPr>
            <a:spLocks noGrp="1"/>
          </p:cNvSpPr>
          <p:nvPr>
            <p:ph sz="quarter" idx="40"/>
          </p:nvPr>
        </p:nvSpPr>
        <p:spPr/>
        <p:txBody>
          <a:bodyPr/>
          <a:lstStyle/>
          <a:p>
            <a:endParaRPr lang="nl-NL"/>
          </a:p>
        </p:txBody>
      </p:sp>
      <p:sp>
        <p:nvSpPr>
          <p:cNvPr id="15" name="Content Placeholder 14">
            <a:extLst>
              <a:ext uri="{FF2B5EF4-FFF2-40B4-BE49-F238E27FC236}">
                <a16:creationId xmlns:a16="http://schemas.microsoft.com/office/drawing/2014/main" id="{466A6ADF-E0E3-49EA-8CE4-3ECB484B793B}"/>
              </a:ext>
            </a:extLst>
          </p:cNvPr>
          <p:cNvSpPr>
            <a:spLocks noGrp="1"/>
          </p:cNvSpPr>
          <p:nvPr>
            <p:ph sz="quarter" idx="39"/>
          </p:nvPr>
        </p:nvSpPr>
        <p:spPr/>
        <p:txBody>
          <a:bodyPr/>
          <a:lstStyle/>
          <a:p>
            <a:endParaRPr lang="nl-NL"/>
          </a:p>
        </p:txBody>
      </p:sp>
      <p:sp>
        <p:nvSpPr>
          <p:cNvPr id="13" name="Content Placeholder 12">
            <a:extLst>
              <a:ext uri="{FF2B5EF4-FFF2-40B4-BE49-F238E27FC236}">
                <a16:creationId xmlns:a16="http://schemas.microsoft.com/office/drawing/2014/main" id="{9CCFF4CC-D2E9-4F18-97CE-1712642B59E2}"/>
              </a:ext>
            </a:extLst>
          </p:cNvPr>
          <p:cNvSpPr>
            <a:spLocks noGrp="1"/>
          </p:cNvSpPr>
          <p:nvPr>
            <p:ph sz="quarter" idx="35"/>
          </p:nvPr>
        </p:nvSpPr>
        <p:spPr/>
        <p:txBody>
          <a:bodyPr/>
          <a:lstStyle/>
          <a:p>
            <a:endParaRPr lang="nl-NL"/>
          </a:p>
        </p:txBody>
      </p:sp>
      <p:sp>
        <p:nvSpPr>
          <p:cNvPr id="18" name="Text Placeholder 17">
            <a:extLst>
              <a:ext uri="{FF2B5EF4-FFF2-40B4-BE49-F238E27FC236}">
                <a16:creationId xmlns:a16="http://schemas.microsoft.com/office/drawing/2014/main" id="{F66BAA34-C1DF-4979-987D-CE368CF7C537}"/>
              </a:ext>
            </a:extLst>
          </p:cNvPr>
          <p:cNvSpPr>
            <a:spLocks noGrp="1"/>
          </p:cNvSpPr>
          <p:nvPr>
            <p:ph type="body" sz="quarter" idx="42"/>
          </p:nvPr>
        </p:nvSpPr>
        <p:spPr/>
        <p:txBody>
          <a:bodyPr/>
          <a:lstStyle/>
          <a:p>
            <a:pPr marL="0" indent="0">
              <a:buNone/>
            </a:pPr>
            <a:endParaRPr lang="nl-NL" dirty="0"/>
          </a:p>
        </p:txBody>
      </p:sp>
      <p:sp>
        <p:nvSpPr>
          <p:cNvPr id="14" name="Text Placeholder 13">
            <a:extLst>
              <a:ext uri="{FF2B5EF4-FFF2-40B4-BE49-F238E27FC236}">
                <a16:creationId xmlns:a16="http://schemas.microsoft.com/office/drawing/2014/main" id="{BE8F011C-2C64-4650-924D-41F8B93D01E3}"/>
              </a:ext>
            </a:extLst>
          </p:cNvPr>
          <p:cNvSpPr>
            <a:spLocks noGrp="1"/>
          </p:cNvSpPr>
          <p:nvPr>
            <p:ph type="body" sz="quarter" idx="38"/>
          </p:nvPr>
        </p:nvSpPr>
        <p:spPr/>
        <p:txBody>
          <a:bodyPr/>
          <a:lstStyle/>
          <a:p>
            <a:pPr marL="0" indent="0">
              <a:buNone/>
            </a:pPr>
            <a:endParaRPr lang="nl-NL" dirty="0"/>
          </a:p>
        </p:txBody>
      </p:sp>
      <p:sp>
        <p:nvSpPr>
          <p:cNvPr id="12" name="Text Placeholder 11">
            <a:extLst>
              <a:ext uri="{FF2B5EF4-FFF2-40B4-BE49-F238E27FC236}">
                <a16:creationId xmlns:a16="http://schemas.microsoft.com/office/drawing/2014/main" id="{8E19197A-2EAD-438D-A7D7-7355EC0DD927}"/>
              </a:ext>
            </a:extLst>
          </p:cNvPr>
          <p:cNvSpPr>
            <a:spLocks noGrp="1"/>
          </p:cNvSpPr>
          <p:nvPr>
            <p:ph type="body" sz="quarter" idx="34"/>
          </p:nvPr>
        </p:nvSpPr>
        <p:spPr/>
        <p:txBody>
          <a:bodyPr/>
          <a:lstStyle/>
          <a:p>
            <a:pPr marL="0" indent="0">
              <a:buNone/>
            </a:pPr>
            <a:endParaRPr lang="nl-NL" dirty="0"/>
          </a:p>
        </p:txBody>
      </p:sp>
      <p:sp>
        <p:nvSpPr>
          <p:cNvPr id="11" name="Text Placeholder 10">
            <a:extLst>
              <a:ext uri="{FF2B5EF4-FFF2-40B4-BE49-F238E27FC236}">
                <a16:creationId xmlns:a16="http://schemas.microsoft.com/office/drawing/2014/main" id="{CB8D0F02-3D6D-48DD-BA80-CBF6B6C73102}"/>
              </a:ext>
            </a:extLst>
          </p:cNvPr>
          <p:cNvSpPr>
            <a:spLocks noGrp="1"/>
          </p:cNvSpPr>
          <p:nvPr>
            <p:ph type="body" sz="quarter" idx="30"/>
          </p:nvPr>
        </p:nvSpPr>
        <p:spPr/>
        <p:txBody>
          <a:bodyPr/>
          <a:lstStyle/>
          <a:p>
            <a:pPr marL="0" indent="0">
              <a:buNone/>
            </a:pPr>
            <a:r>
              <a:rPr lang="nl-NL" dirty="0"/>
              <a:t>Plak een screenshot in via ‘paste special </a:t>
            </a:r>
            <a:r>
              <a:rPr lang="nl-NL" dirty="0">
                <a:sym typeface="Wingdings" panose="05000000000000000000" pitchFamily="2" charset="2"/>
              </a:rPr>
              <a:t> </a:t>
            </a:r>
            <a:r>
              <a:rPr lang="nl-NL" dirty="0" err="1">
                <a:sym typeface="Wingdings" panose="05000000000000000000" pitchFamily="2" charset="2"/>
              </a:rPr>
              <a:t>enhanced</a:t>
            </a:r>
            <a:r>
              <a:rPr lang="nl-NL" dirty="0">
                <a:sym typeface="Wingdings" panose="05000000000000000000" pitchFamily="2" charset="2"/>
              </a:rPr>
              <a:t> metafile</a:t>
            </a:r>
            <a:r>
              <a:rPr lang="nl-NL" dirty="0"/>
              <a:t>’</a:t>
            </a:r>
          </a:p>
        </p:txBody>
      </p:sp>
      <p:sp>
        <p:nvSpPr>
          <p:cNvPr id="5" name="Slide Number Placeholder 4">
            <a:extLst>
              <a:ext uri="{FF2B5EF4-FFF2-40B4-BE49-F238E27FC236}">
                <a16:creationId xmlns:a16="http://schemas.microsoft.com/office/drawing/2014/main" id="{788E8101-6FC7-469D-B453-7FAD52F74189}"/>
              </a:ext>
            </a:extLst>
          </p:cNvPr>
          <p:cNvSpPr>
            <a:spLocks noGrp="1"/>
          </p:cNvSpPr>
          <p:nvPr>
            <p:ph type="sldNum" sz="quarter" idx="12"/>
          </p:nvPr>
        </p:nvSpPr>
        <p:spPr/>
        <p:txBody>
          <a:bodyPr/>
          <a:lstStyle/>
          <a:p>
            <a:fld id="{992CD0B2-8AB2-4C6C-8876-E15753662C9B}" type="slidenum">
              <a:rPr lang="nl-NL" noProof="0" smtClean="0"/>
              <a:pPr/>
              <a:t>19</a:t>
            </a:fld>
            <a:endParaRPr lang="nl-NL" noProof="0"/>
          </a:p>
        </p:txBody>
      </p:sp>
      <p:sp>
        <p:nvSpPr>
          <p:cNvPr id="7" name="Title 6">
            <a:extLst>
              <a:ext uri="{FF2B5EF4-FFF2-40B4-BE49-F238E27FC236}">
                <a16:creationId xmlns:a16="http://schemas.microsoft.com/office/drawing/2014/main" id="{C7E43028-2F0A-46D5-8099-4C3F4187F129}"/>
              </a:ext>
            </a:extLst>
          </p:cNvPr>
          <p:cNvSpPr>
            <a:spLocks noGrp="1"/>
          </p:cNvSpPr>
          <p:nvPr>
            <p:ph type="title"/>
          </p:nvPr>
        </p:nvSpPr>
        <p:spPr/>
        <p:txBody>
          <a:bodyPr vert="horz"/>
          <a:lstStyle/>
          <a:p>
            <a:r>
              <a:rPr lang="nl-NL" dirty="0"/>
              <a:t>Tips</a:t>
            </a:r>
          </a:p>
        </p:txBody>
      </p:sp>
      <p:pic>
        <p:nvPicPr>
          <p:cNvPr id="20" name="Picture 19">
            <a:extLst>
              <a:ext uri="{FF2B5EF4-FFF2-40B4-BE49-F238E27FC236}">
                <a16:creationId xmlns:a16="http://schemas.microsoft.com/office/drawing/2014/main" id="{62CF4942-B1FB-47D4-A946-43028A77A576}"/>
              </a:ext>
            </a:extLst>
          </p:cNvPr>
          <p:cNvPicPr>
            <a:picLocks noChangeAspect="1"/>
          </p:cNvPicPr>
          <p:nvPr/>
        </p:nvPicPr>
        <p:blipFill>
          <a:blip r:embed="rId5"/>
          <a:stretch>
            <a:fillRect/>
          </a:stretch>
        </p:blipFill>
        <p:spPr>
          <a:xfrm>
            <a:off x="904875" y="2252930"/>
            <a:ext cx="2628900" cy="1587894"/>
          </a:xfrm>
          <a:prstGeom prst="rect">
            <a:avLst/>
          </a:prstGeom>
        </p:spPr>
      </p:pic>
    </p:spTree>
    <p:extLst>
      <p:ext uri="{BB962C8B-B14F-4D97-AF65-F5344CB8AC3E}">
        <p14:creationId xmlns:p14="http://schemas.microsoft.com/office/powerpoint/2010/main" val="21615783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FC056E-C603-49D0-9A53-86B87F45CE5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5" name="Object 4" hidden="1">
                        <a:extLst>
                          <a:ext uri="{FF2B5EF4-FFF2-40B4-BE49-F238E27FC236}">
                            <a16:creationId xmlns:a16="http://schemas.microsoft.com/office/drawing/2014/main" id="{6FFC056E-C603-49D0-9A53-86B87F45CE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6A81FF59-6D35-4D96-BC5D-6317D6FF7143}"/>
              </a:ext>
            </a:extLst>
          </p:cNvPr>
          <p:cNvSpPr>
            <a:spLocks noGrp="1"/>
          </p:cNvSpPr>
          <p:nvPr>
            <p:ph sz="quarter" idx="31"/>
          </p:nvPr>
        </p:nvSpPr>
        <p:spPr/>
        <p:txBody>
          <a:bodyPr/>
          <a:lstStyle/>
          <a:p>
            <a:pPr marL="0" indent="0">
              <a:lnSpc>
                <a:spcPct val="100000"/>
              </a:lnSpc>
              <a:buNone/>
            </a:pPr>
            <a:r>
              <a:rPr lang="nl-NL" dirty="0">
                <a:solidFill>
                  <a:srgbClr val="000000"/>
                </a:solidFill>
              </a:rPr>
              <a:t>Het doel van dit document is tweeledig:</a:t>
            </a:r>
          </a:p>
          <a:p>
            <a:pPr>
              <a:lnSpc>
                <a:spcPct val="100000"/>
              </a:lnSpc>
            </a:pPr>
            <a:r>
              <a:rPr lang="nl-NL" dirty="0">
                <a:solidFill>
                  <a:srgbClr val="000000"/>
                </a:solidFill>
              </a:rPr>
              <a:t>Definiëren van standaard stijlkeuzes van It’s Public, zodat de documenten een uniforme uitstraling hebben.</a:t>
            </a:r>
          </a:p>
          <a:p>
            <a:pPr>
              <a:lnSpc>
                <a:spcPct val="100000"/>
              </a:lnSpc>
            </a:pPr>
            <a:r>
              <a:rPr lang="nl-NL" dirty="0">
                <a:solidFill>
                  <a:srgbClr val="000000"/>
                </a:solidFill>
              </a:rPr>
              <a:t>Uitleggen van deze stijlkeuzes aan (nieuwe) medewerkers.</a:t>
            </a:r>
          </a:p>
          <a:p>
            <a:pPr lvl="1">
              <a:lnSpc>
                <a:spcPct val="100000"/>
              </a:lnSpc>
            </a:pPr>
            <a:endParaRPr lang="nl-NL" dirty="0">
              <a:solidFill>
                <a:srgbClr val="000000"/>
              </a:solidFill>
            </a:endParaRPr>
          </a:p>
          <a:p>
            <a:pPr marL="0" indent="0">
              <a:lnSpc>
                <a:spcPct val="100000"/>
              </a:lnSpc>
              <a:buNone/>
            </a:pPr>
            <a:r>
              <a:rPr lang="nl-NL" dirty="0">
                <a:solidFill>
                  <a:srgbClr val="000000"/>
                </a:solidFill>
              </a:rPr>
              <a:t>Het is de bedoeling dat de </a:t>
            </a:r>
            <a:r>
              <a:rPr lang="nl-NL" b="1" dirty="0">
                <a:solidFill>
                  <a:srgbClr val="000000"/>
                </a:solidFill>
              </a:rPr>
              <a:t>standaard stijlkeuzes </a:t>
            </a:r>
            <a:r>
              <a:rPr lang="nl-NL" dirty="0">
                <a:solidFill>
                  <a:srgbClr val="000000"/>
                </a:solidFill>
              </a:rPr>
              <a:t>normaalgesproken gehanteerd worden, al kan er </a:t>
            </a:r>
            <a:r>
              <a:rPr lang="nl-NL" b="1" dirty="0">
                <a:solidFill>
                  <a:srgbClr val="000000"/>
                </a:solidFill>
              </a:rPr>
              <a:t>bij</a:t>
            </a:r>
            <a:r>
              <a:rPr lang="nl-NL" dirty="0">
                <a:solidFill>
                  <a:srgbClr val="000000"/>
                </a:solidFill>
              </a:rPr>
              <a:t> </a:t>
            </a:r>
            <a:r>
              <a:rPr lang="nl-NL" b="1" dirty="0">
                <a:solidFill>
                  <a:srgbClr val="000000"/>
                </a:solidFill>
              </a:rPr>
              <a:t>uitzondering worden afgeweken</a:t>
            </a:r>
            <a:r>
              <a:rPr lang="nl-NL" dirty="0">
                <a:solidFill>
                  <a:srgbClr val="000000"/>
                </a:solidFill>
              </a:rPr>
              <a:t>.</a:t>
            </a:r>
            <a:br>
              <a:rPr lang="nl-NL" dirty="0">
                <a:solidFill>
                  <a:srgbClr val="000000"/>
                </a:solidFill>
              </a:rPr>
            </a:br>
            <a:r>
              <a:rPr lang="nl-NL" dirty="0">
                <a:solidFill>
                  <a:srgbClr val="000000"/>
                </a:solidFill>
              </a:rPr>
              <a:t>Denk altijd na of de boodschap beter overkomt als er wordt afgeweken (bijv. afhankelijk van doelgroep).</a:t>
            </a:r>
          </a:p>
          <a:p>
            <a:pPr>
              <a:lnSpc>
                <a:spcPct val="100000"/>
              </a:lnSpc>
            </a:pPr>
            <a:endParaRPr lang="nl-NL" dirty="0">
              <a:solidFill>
                <a:srgbClr val="000000"/>
              </a:solidFill>
            </a:endParaRPr>
          </a:p>
          <a:p>
            <a:pPr marL="0" indent="0">
              <a:lnSpc>
                <a:spcPct val="100000"/>
              </a:lnSpc>
              <a:buNone/>
            </a:pPr>
            <a:r>
              <a:rPr lang="nl-NL" dirty="0">
                <a:solidFill>
                  <a:srgbClr val="000000"/>
                </a:solidFill>
              </a:rPr>
              <a:t>De opbouw van dit document bestaat uit twee delen:</a:t>
            </a:r>
          </a:p>
          <a:p>
            <a:pPr marL="180363" lvl="1" indent="-179388">
              <a:lnSpc>
                <a:spcPct val="100000"/>
              </a:lnSpc>
              <a:buFont typeface="+mj-lt"/>
              <a:buAutoNum type="arabicPeriod"/>
            </a:pPr>
            <a:r>
              <a:rPr lang="nl-NL" dirty="0">
                <a:solidFill>
                  <a:srgbClr val="000000"/>
                </a:solidFill>
              </a:rPr>
              <a:t>Samenvatting stijlkeuzes It’s Public.</a:t>
            </a:r>
          </a:p>
          <a:p>
            <a:pPr marL="180363" lvl="1" indent="-179388">
              <a:lnSpc>
                <a:spcPct val="100000"/>
              </a:lnSpc>
              <a:buFont typeface="+mj-lt"/>
              <a:buAutoNum type="arabicPeriod"/>
            </a:pPr>
            <a:r>
              <a:rPr lang="nl-NL" dirty="0">
                <a:solidFill>
                  <a:srgbClr val="000000"/>
                </a:solidFill>
              </a:rPr>
              <a:t>Voorbeelden van goede slides (ter inspiratie van mogelijkheden).</a:t>
            </a:r>
          </a:p>
        </p:txBody>
      </p:sp>
      <p:sp>
        <p:nvSpPr>
          <p:cNvPr id="7" name="Text Placeholder 6">
            <a:extLst>
              <a:ext uri="{FF2B5EF4-FFF2-40B4-BE49-F238E27FC236}">
                <a16:creationId xmlns:a16="http://schemas.microsoft.com/office/drawing/2014/main" id="{44ECA86D-1C08-44F9-A9C0-E06912043DBD}"/>
              </a:ext>
            </a:extLst>
          </p:cNvPr>
          <p:cNvSpPr>
            <a:spLocks noGrp="1"/>
          </p:cNvSpPr>
          <p:nvPr>
            <p:ph type="body" sz="quarter" idx="20"/>
          </p:nvPr>
        </p:nvSpPr>
        <p:spPr/>
        <p:txBody>
          <a:bodyPr/>
          <a:lstStyle/>
          <a:p>
            <a:endParaRPr lang="nl-NL"/>
          </a:p>
        </p:txBody>
      </p:sp>
      <p:sp>
        <p:nvSpPr>
          <p:cNvPr id="4" name="Slide Number Placeholder 3">
            <a:extLst>
              <a:ext uri="{FF2B5EF4-FFF2-40B4-BE49-F238E27FC236}">
                <a16:creationId xmlns:a16="http://schemas.microsoft.com/office/drawing/2014/main" id="{8D7568D1-5295-4895-89E5-367A64BC495D}"/>
              </a:ext>
            </a:extLst>
          </p:cNvPr>
          <p:cNvSpPr>
            <a:spLocks noGrp="1"/>
          </p:cNvSpPr>
          <p:nvPr>
            <p:ph type="sldNum" sz="quarter" idx="12"/>
          </p:nvPr>
        </p:nvSpPr>
        <p:spPr/>
        <p:txBody>
          <a:bodyPr/>
          <a:lstStyle/>
          <a:p>
            <a:fld id="{992CD0B2-8AB2-4C6C-8876-E15753662C9B}" type="slidenum">
              <a:rPr lang="nl-NL" noProof="0" smtClean="0">
                <a:solidFill>
                  <a:srgbClr val="000000"/>
                </a:solidFill>
              </a:rPr>
              <a:pPr/>
              <a:t>2</a:t>
            </a:fld>
            <a:endParaRPr lang="nl-NL" noProof="0" dirty="0">
              <a:solidFill>
                <a:srgbClr val="000000"/>
              </a:solidFill>
            </a:endParaRPr>
          </a:p>
        </p:txBody>
      </p:sp>
      <p:sp>
        <p:nvSpPr>
          <p:cNvPr id="6" name="Text Placeholder 5">
            <a:extLst>
              <a:ext uri="{FF2B5EF4-FFF2-40B4-BE49-F238E27FC236}">
                <a16:creationId xmlns:a16="http://schemas.microsoft.com/office/drawing/2014/main" id="{99C4E924-29E7-49A1-B603-61F53369F845}"/>
              </a:ext>
            </a:extLst>
          </p:cNvPr>
          <p:cNvSpPr>
            <a:spLocks noGrp="1"/>
          </p:cNvSpPr>
          <p:nvPr>
            <p:ph type="body" sz="quarter" idx="14"/>
          </p:nvPr>
        </p:nvSpPr>
        <p:spPr/>
        <p:txBody>
          <a:bodyPr/>
          <a:lstStyle/>
          <a:p>
            <a:endParaRPr lang="nl-NL"/>
          </a:p>
        </p:txBody>
      </p:sp>
      <p:sp>
        <p:nvSpPr>
          <p:cNvPr id="3" name="Title 2">
            <a:extLst>
              <a:ext uri="{FF2B5EF4-FFF2-40B4-BE49-F238E27FC236}">
                <a16:creationId xmlns:a16="http://schemas.microsoft.com/office/drawing/2014/main" id="{7E6838AA-436E-4D8C-9622-95770F1B3FEB}"/>
              </a:ext>
            </a:extLst>
          </p:cNvPr>
          <p:cNvSpPr>
            <a:spLocks noGrp="1"/>
          </p:cNvSpPr>
          <p:nvPr>
            <p:ph type="title"/>
          </p:nvPr>
        </p:nvSpPr>
        <p:spPr/>
        <p:txBody>
          <a:bodyPr vert="horz" lIns="0" tIns="0" rIns="0" bIns="0" rtlCol="0" anchor="b">
            <a:noAutofit/>
          </a:bodyPr>
          <a:lstStyle/>
          <a:p>
            <a:r>
              <a:rPr lang="en-NL" dirty="0"/>
              <a:t>Context en doel</a:t>
            </a:r>
            <a:endParaRPr lang="nl-NL" dirty="0"/>
          </a:p>
        </p:txBody>
      </p:sp>
    </p:spTree>
    <p:extLst>
      <p:ext uri="{BB962C8B-B14F-4D97-AF65-F5344CB8AC3E}">
        <p14:creationId xmlns:p14="http://schemas.microsoft.com/office/powerpoint/2010/main" val="41705604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56690C6-5841-429F-9AAD-1661B56B21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5" name="Object 4" hidden="1">
                        <a:extLst>
                          <a:ext uri="{FF2B5EF4-FFF2-40B4-BE49-F238E27FC236}">
                            <a16:creationId xmlns:a16="http://schemas.microsoft.com/office/drawing/2014/main" id="{856690C6-5841-429F-9AAD-1661B56B21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0FB0D78A-5CCC-4524-8027-2149E749CA34}"/>
              </a:ext>
            </a:extLst>
          </p:cNvPr>
          <p:cNvSpPr>
            <a:spLocks noGrp="1"/>
          </p:cNvSpPr>
          <p:nvPr>
            <p:ph type="body" sz="quarter" idx="33"/>
          </p:nvPr>
        </p:nvSpPr>
        <p:spPr>
          <a:xfrm>
            <a:off x="919697" y="3580270"/>
            <a:ext cx="9878845" cy="576000"/>
          </a:xfrm>
          <a:solidFill>
            <a:schemeClr val="bg1">
              <a:lumMod val="95000"/>
            </a:schemeClr>
          </a:solidFill>
        </p:spPr>
        <p:txBody>
          <a:bodyPr/>
          <a:lstStyle/>
          <a:p>
            <a:r>
              <a:rPr lang="nl-NL" dirty="0"/>
              <a:t>Inhoud van een slide</a:t>
            </a:r>
          </a:p>
        </p:txBody>
      </p:sp>
      <p:sp>
        <p:nvSpPr>
          <p:cNvPr id="19" name="Text Placeholder 13">
            <a:extLst>
              <a:ext uri="{FF2B5EF4-FFF2-40B4-BE49-F238E27FC236}">
                <a16:creationId xmlns:a16="http://schemas.microsoft.com/office/drawing/2014/main" id="{E2D8A881-83EB-44C1-8398-11E4FBA494EE}"/>
              </a:ext>
            </a:extLst>
          </p:cNvPr>
          <p:cNvSpPr txBox="1">
            <a:spLocks/>
          </p:cNvSpPr>
          <p:nvPr/>
        </p:nvSpPr>
        <p:spPr>
          <a:xfrm>
            <a:off x="919697" y="3580270"/>
            <a:ext cx="9878845" cy="576000"/>
          </a:xfrm>
          <a:prstGeom prst="rect">
            <a:avLst/>
          </a:prstGeom>
          <a:solidFill>
            <a:schemeClr val="bg1">
              <a:lumMod val="95000"/>
            </a:schemeClr>
          </a:solidFill>
        </p:spPr>
        <p:txBody>
          <a:bodyPr vert="horz" lIns="72000" tIns="72000" rIns="72000" bIns="72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6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Vormgeving van een slide</a:t>
            </a:r>
          </a:p>
        </p:txBody>
      </p:sp>
      <p:sp>
        <p:nvSpPr>
          <p:cNvPr id="13" name="Text Placeholder 12">
            <a:extLst>
              <a:ext uri="{FF2B5EF4-FFF2-40B4-BE49-F238E27FC236}">
                <a16:creationId xmlns:a16="http://schemas.microsoft.com/office/drawing/2014/main" id="{BB1A9526-5595-42E2-A462-2919B01FB0B0}"/>
              </a:ext>
            </a:extLst>
          </p:cNvPr>
          <p:cNvSpPr>
            <a:spLocks noGrp="1"/>
          </p:cNvSpPr>
          <p:nvPr>
            <p:ph type="body" sz="quarter" idx="32"/>
          </p:nvPr>
        </p:nvSpPr>
        <p:spPr>
          <a:xfrm>
            <a:off x="919697" y="2922893"/>
            <a:ext cx="9878845" cy="576000"/>
          </a:xfrm>
          <a:solidFill>
            <a:schemeClr val="bg1">
              <a:lumMod val="95000"/>
            </a:schemeClr>
          </a:solidFill>
          <a:ln>
            <a:solidFill>
              <a:schemeClr val="bg1">
                <a:lumMod val="95000"/>
              </a:schemeClr>
            </a:solidFill>
          </a:ln>
        </p:spPr>
        <p:txBody>
          <a:bodyPr/>
          <a:lstStyle/>
          <a:p>
            <a:r>
              <a:rPr lang="nl-NL" dirty="0"/>
              <a:t>Kleurgebruik</a:t>
            </a:r>
          </a:p>
        </p:txBody>
      </p:sp>
      <p:sp>
        <p:nvSpPr>
          <p:cNvPr id="18" name="Text Placeholder 12">
            <a:extLst>
              <a:ext uri="{FF2B5EF4-FFF2-40B4-BE49-F238E27FC236}">
                <a16:creationId xmlns:a16="http://schemas.microsoft.com/office/drawing/2014/main" id="{344569D1-37E1-4246-9202-BD583DED1296}"/>
              </a:ext>
            </a:extLst>
          </p:cNvPr>
          <p:cNvSpPr txBox="1">
            <a:spLocks/>
          </p:cNvSpPr>
          <p:nvPr/>
        </p:nvSpPr>
        <p:spPr>
          <a:xfrm>
            <a:off x="919697" y="2922893"/>
            <a:ext cx="9878845" cy="576000"/>
          </a:xfrm>
          <a:prstGeom prst="rect">
            <a:avLst/>
          </a:prstGeom>
          <a:solidFill>
            <a:schemeClr val="bg1">
              <a:lumMod val="95000"/>
            </a:schemeClr>
          </a:solidFill>
          <a:ln>
            <a:solidFill>
              <a:schemeClr val="bg1">
                <a:lumMod val="95000"/>
              </a:schemeClr>
            </a:solidFill>
          </a:ln>
        </p:spPr>
        <p:txBody>
          <a:bodyPr vert="horz" lIns="72000" tIns="72000" rIns="72000" bIns="72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600" b="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Kleurgebruik</a:t>
            </a:r>
          </a:p>
        </p:txBody>
      </p:sp>
      <p:sp>
        <p:nvSpPr>
          <p:cNvPr id="28" name="Text Placeholder 14">
            <a:hlinkClick r:id="rId5" action="ppaction://hlinksldjump"/>
            <a:extLst>
              <a:ext uri="{FF2B5EF4-FFF2-40B4-BE49-F238E27FC236}">
                <a16:creationId xmlns:a16="http://schemas.microsoft.com/office/drawing/2014/main" id="{2A74F24E-613B-4B9F-A950-BF274672F553}"/>
              </a:ext>
            </a:extLst>
          </p:cNvPr>
          <p:cNvSpPr txBox="1">
            <a:spLocks/>
          </p:cNvSpPr>
          <p:nvPr/>
        </p:nvSpPr>
        <p:spPr>
          <a:xfrm>
            <a:off x="919697" y="4825988"/>
            <a:ext cx="9878845" cy="576000"/>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6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dirty="0"/>
          </a:p>
        </p:txBody>
      </p:sp>
      <p:sp>
        <p:nvSpPr>
          <p:cNvPr id="15" name="Text Placeholder 14">
            <a:extLst>
              <a:ext uri="{FF2B5EF4-FFF2-40B4-BE49-F238E27FC236}">
                <a16:creationId xmlns:a16="http://schemas.microsoft.com/office/drawing/2014/main" id="{D5470B0E-E0BA-4C96-9123-F281EAC76F50}"/>
              </a:ext>
            </a:extLst>
          </p:cNvPr>
          <p:cNvSpPr>
            <a:spLocks noGrp="1"/>
          </p:cNvSpPr>
          <p:nvPr>
            <p:ph type="body" sz="quarter" idx="34"/>
          </p:nvPr>
        </p:nvSpPr>
        <p:spPr>
          <a:xfrm>
            <a:off x="919697" y="4203129"/>
            <a:ext cx="9878845" cy="576000"/>
          </a:xfrm>
          <a:solidFill>
            <a:schemeClr val="bg1">
              <a:lumMod val="95000"/>
            </a:schemeClr>
          </a:solidFill>
        </p:spPr>
        <p:txBody>
          <a:bodyPr/>
          <a:lstStyle/>
          <a:p>
            <a:r>
              <a:rPr lang="nl-NL" dirty="0"/>
              <a:t>Inhoud van een slide</a:t>
            </a:r>
          </a:p>
        </p:txBody>
      </p:sp>
      <p:sp>
        <p:nvSpPr>
          <p:cNvPr id="22" name="Text Placeholder 14">
            <a:hlinkClick r:id="rId6" action="ppaction://hlinksldjump"/>
            <a:extLst>
              <a:ext uri="{FF2B5EF4-FFF2-40B4-BE49-F238E27FC236}">
                <a16:creationId xmlns:a16="http://schemas.microsoft.com/office/drawing/2014/main" id="{9FC4B9F3-A817-49F0-ADF5-5113FF6EC2E2}"/>
              </a:ext>
            </a:extLst>
          </p:cNvPr>
          <p:cNvSpPr txBox="1">
            <a:spLocks/>
          </p:cNvSpPr>
          <p:nvPr/>
        </p:nvSpPr>
        <p:spPr>
          <a:xfrm>
            <a:off x="919697" y="4203129"/>
            <a:ext cx="9878845" cy="576000"/>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6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dirty="0"/>
          </a:p>
        </p:txBody>
      </p:sp>
      <p:sp>
        <p:nvSpPr>
          <p:cNvPr id="23" name="Text Placeholder 14">
            <a:hlinkClick r:id="rId7" action="ppaction://hlinksldjump"/>
            <a:extLst>
              <a:ext uri="{FF2B5EF4-FFF2-40B4-BE49-F238E27FC236}">
                <a16:creationId xmlns:a16="http://schemas.microsoft.com/office/drawing/2014/main" id="{7B2B792D-0C24-482C-B283-3A96A57E3CE2}"/>
              </a:ext>
            </a:extLst>
          </p:cNvPr>
          <p:cNvSpPr txBox="1">
            <a:spLocks/>
          </p:cNvSpPr>
          <p:nvPr/>
        </p:nvSpPr>
        <p:spPr>
          <a:xfrm>
            <a:off x="919697" y="3580270"/>
            <a:ext cx="9878845" cy="576000"/>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6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dirty="0"/>
          </a:p>
        </p:txBody>
      </p:sp>
      <p:sp>
        <p:nvSpPr>
          <p:cNvPr id="24" name="Text Placeholder 14">
            <a:hlinkClick r:id="rId8" action="ppaction://hlinksldjump"/>
            <a:extLst>
              <a:ext uri="{FF2B5EF4-FFF2-40B4-BE49-F238E27FC236}">
                <a16:creationId xmlns:a16="http://schemas.microsoft.com/office/drawing/2014/main" id="{7F1D1AD6-D4E7-4E5A-B411-B40FE1E81E36}"/>
              </a:ext>
            </a:extLst>
          </p:cNvPr>
          <p:cNvSpPr txBox="1">
            <a:spLocks/>
          </p:cNvSpPr>
          <p:nvPr/>
        </p:nvSpPr>
        <p:spPr>
          <a:xfrm>
            <a:off x="919697" y="2918567"/>
            <a:ext cx="9878845" cy="576000"/>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6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dirty="0"/>
          </a:p>
        </p:txBody>
      </p:sp>
      <p:sp>
        <p:nvSpPr>
          <p:cNvPr id="12" name="Text Placeholder 11">
            <a:extLst>
              <a:ext uri="{FF2B5EF4-FFF2-40B4-BE49-F238E27FC236}">
                <a16:creationId xmlns:a16="http://schemas.microsoft.com/office/drawing/2014/main" id="{07D6D8A3-8AA3-4045-9A82-471260F6CD06}"/>
              </a:ext>
            </a:extLst>
          </p:cNvPr>
          <p:cNvSpPr>
            <a:spLocks noGrp="1"/>
          </p:cNvSpPr>
          <p:nvPr>
            <p:ph type="body" sz="quarter" idx="31"/>
          </p:nvPr>
        </p:nvSpPr>
        <p:spPr/>
        <p:txBody>
          <a:bodyPr/>
          <a:lstStyle/>
          <a:p>
            <a:r>
              <a:rPr lang="nl-NL" dirty="0"/>
              <a:t>Elementen van een </a:t>
            </a:r>
            <a:r>
              <a:rPr lang="nl-NL" dirty="0" err="1"/>
              <a:t>Powerpoint</a:t>
            </a:r>
            <a:r>
              <a:rPr lang="nl-NL" dirty="0"/>
              <a:t> slide</a:t>
            </a:r>
          </a:p>
        </p:txBody>
      </p:sp>
      <p:sp>
        <p:nvSpPr>
          <p:cNvPr id="2" name="Slide Number Placeholder 1">
            <a:extLst>
              <a:ext uri="{FF2B5EF4-FFF2-40B4-BE49-F238E27FC236}">
                <a16:creationId xmlns:a16="http://schemas.microsoft.com/office/drawing/2014/main" id="{A90A51BC-1EF9-4207-8E13-A274773F8535}"/>
              </a:ext>
            </a:extLst>
          </p:cNvPr>
          <p:cNvSpPr>
            <a:spLocks noGrp="1"/>
          </p:cNvSpPr>
          <p:nvPr>
            <p:ph type="sldNum" sz="quarter" idx="4294967295"/>
          </p:nvPr>
        </p:nvSpPr>
        <p:spPr>
          <a:xfrm>
            <a:off x="11168063" y="6684963"/>
            <a:ext cx="1023937" cy="163512"/>
          </a:xfrm>
        </p:spPr>
        <p:txBody>
          <a:bodyPr/>
          <a:lstStyle/>
          <a:p>
            <a:fld id="{992CD0B2-8AB2-4C6C-8876-E15753662C9B}" type="slidenum">
              <a:rPr lang="nl-NL" noProof="0" smtClean="0"/>
              <a:pPr/>
              <a:t>3</a:t>
            </a:fld>
            <a:endParaRPr lang="nl-NL" noProof="0" dirty="0"/>
          </a:p>
        </p:txBody>
      </p:sp>
      <p:sp>
        <p:nvSpPr>
          <p:cNvPr id="25" name="Text Placeholder 14">
            <a:hlinkClick r:id="rId9" action="ppaction://hlinksldjump"/>
            <a:extLst>
              <a:ext uri="{FF2B5EF4-FFF2-40B4-BE49-F238E27FC236}">
                <a16:creationId xmlns:a16="http://schemas.microsoft.com/office/drawing/2014/main" id="{636ED80D-D644-4842-9376-21D059B51121}"/>
              </a:ext>
            </a:extLst>
          </p:cNvPr>
          <p:cNvSpPr txBox="1">
            <a:spLocks/>
          </p:cNvSpPr>
          <p:nvPr/>
        </p:nvSpPr>
        <p:spPr>
          <a:xfrm>
            <a:off x="919697" y="2295708"/>
            <a:ext cx="9878845" cy="576000"/>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6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dirty="0"/>
          </a:p>
        </p:txBody>
      </p:sp>
      <p:sp>
        <p:nvSpPr>
          <p:cNvPr id="26" name="Text Placeholder 14">
            <a:hlinkClick r:id="rId5" action="ppaction://hlinksldjump"/>
            <a:extLst>
              <a:ext uri="{FF2B5EF4-FFF2-40B4-BE49-F238E27FC236}">
                <a16:creationId xmlns:a16="http://schemas.microsoft.com/office/drawing/2014/main" id="{4B517093-BC34-4356-AAD5-45AC3782115A}"/>
              </a:ext>
            </a:extLst>
          </p:cNvPr>
          <p:cNvSpPr txBox="1">
            <a:spLocks/>
          </p:cNvSpPr>
          <p:nvPr/>
        </p:nvSpPr>
        <p:spPr>
          <a:xfrm>
            <a:off x="919697" y="4825988"/>
            <a:ext cx="9878845" cy="576000"/>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6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dirty="0"/>
          </a:p>
        </p:txBody>
      </p:sp>
      <p:sp>
        <p:nvSpPr>
          <p:cNvPr id="27" name="Text Placeholder 14">
            <a:extLst>
              <a:ext uri="{FF2B5EF4-FFF2-40B4-BE49-F238E27FC236}">
                <a16:creationId xmlns:a16="http://schemas.microsoft.com/office/drawing/2014/main" id="{691DD817-6A0E-47A7-B1C2-BF0D748A3AD0}"/>
              </a:ext>
            </a:extLst>
          </p:cNvPr>
          <p:cNvSpPr txBox="1">
            <a:spLocks/>
          </p:cNvSpPr>
          <p:nvPr/>
        </p:nvSpPr>
        <p:spPr>
          <a:xfrm>
            <a:off x="919697" y="4825988"/>
            <a:ext cx="9878845" cy="576000"/>
          </a:xfrm>
          <a:prstGeom prst="rect">
            <a:avLst/>
          </a:prstGeom>
          <a:solidFill>
            <a:schemeClr val="bg1">
              <a:lumMod val="95000"/>
            </a:schemeClr>
          </a:solidFill>
        </p:spPr>
        <p:txBody>
          <a:bodyPr vert="horz" lIns="72000" tIns="72000" rIns="72000" bIns="72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6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Tips</a:t>
            </a:r>
          </a:p>
        </p:txBody>
      </p:sp>
    </p:spTree>
    <p:extLst>
      <p:ext uri="{BB962C8B-B14F-4D97-AF65-F5344CB8AC3E}">
        <p14:creationId xmlns:p14="http://schemas.microsoft.com/office/powerpoint/2010/main" val="33127957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7C225F2F-0792-4D6E-9C21-4CB5B578EB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3" name="Object 22" hidden="1">
                        <a:extLst>
                          <a:ext uri="{FF2B5EF4-FFF2-40B4-BE49-F238E27FC236}">
                            <a16:creationId xmlns:a16="http://schemas.microsoft.com/office/drawing/2014/main" id="{7C225F2F-0792-4D6E-9C21-4CB5B578EB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Text Placeholder 19">
            <a:extLst>
              <a:ext uri="{FF2B5EF4-FFF2-40B4-BE49-F238E27FC236}">
                <a16:creationId xmlns:a16="http://schemas.microsoft.com/office/drawing/2014/main" id="{65303A3B-FAC7-40BC-B2A6-0DE1A85B0E76}"/>
              </a:ext>
            </a:extLst>
          </p:cNvPr>
          <p:cNvSpPr>
            <a:spLocks noGrp="1"/>
          </p:cNvSpPr>
          <p:nvPr>
            <p:ph type="body" sz="quarter" idx="20"/>
          </p:nvPr>
        </p:nvSpPr>
        <p:spPr/>
        <p:txBody>
          <a:bodyPr lIns="36000" tIns="36000" rIns="36000" bIns="36000"/>
          <a:lstStyle/>
          <a:p>
            <a:r>
              <a:rPr lang="nl-NL" dirty="0">
                <a:solidFill>
                  <a:schemeClr val="accent6"/>
                </a:solidFill>
              </a:rPr>
              <a:t>Titelslide</a:t>
            </a:r>
          </a:p>
        </p:txBody>
      </p:sp>
      <p:sp>
        <p:nvSpPr>
          <p:cNvPr id="5" name="Footer Placeholder 4">
            <a:extLst>
              <a:ext uri="{FF2B5EF4-FFF2-40B4-BE49-F238E27FC236}">
                <a16:creationId xmlns:a16="http://schemas.microsoft.com/office/drawing/2014/main" id="{217666D1-2BB1-43D1-A5B6-65F4671FD742}"/>
              </a:ext>
            </a:extLst>
          </p:cNvPr>
          <p:cNvSpPr>
            <a:spLocks noGrp="1"/>
          </p:cNvSpPr>
          <p:nvPr>
            <p:ph type="ftr" sz="quarter" idx="3"/>
          </p:nvPr>
        </p:nvSpPr>
        <p:spPr/>
        <p:txBody>
          <a:bodyPr/>
          <a:lstStyle/>
          <a:p>
            <a:r>
              <a:rPr lang="nl-NL"/>
              <a:t>Bron: </a:t>
            </a:r>
            <a:endParaRPr lang="nl-NL" dirty="0"/>
          </a:p>
        </p:txBody>
      </p:sp>
      <p:sp>
        <p:nvSpPr>
          <p:cNvPr id="4" name="Slide Number Placeholder 3">
            <a:extLst>
              <a:ext uri="{FF2B5EF4-FFF2-40B4-BE49-F238E27FC236}">
                <a16:creationId xmlns:a16="http://schemas.microsoft.com/office/drawing/2014/main" id="{E693C301-048A-4C0E-B7F1-2C1B36494F4B}"/>
              </a:ext>
            </a:extLst>
          </p:cNvPr>
          <p:cNvSpPr>
            <a:spLocks noGrp="1"/>
          </p:cNvSpPr>
          <p:nvPr>
            <p:ph type="sldNum" sz="quarter" idx="12"/>
          </p:nvPr>
        </p:nvSpPr>
        <p:spPr/>
        <p:txBody>
          <a:bodyPr/>
          <a:lstStyle/>
          <a:p>
            <a:fld id="{992CD0B2-8AB2-4C6C-8876-E15753662C9B}" type="slidenum">
              <a:rPr lang="nl-NL" noProof="0" smtClean="0"/>
              <a:pPr/>
              <a:t>4</a:t>
            </a:fld>
            <a:endParaRPr lang="nl-NL" noProof="0" dirty="0"/>
          </a:p>
        </p:txBody>
      </p:sp>
      <p:sp>
        <p:nvSpPr>
          <p:cNvPr id="31" name="Text Placeholder 30">
            <a:extLst>
              <a:ext uri="{FF2B5EF4-FFF2-40B4-BE49-F238E27FC236}">
                <a16:creationId xmlns:a16="http://schemas.microsoft.com/office/drawing/2014/main" id="{3FF4BDE2-2D52-4E85-A78A-DC73CB2D11F4}"/>
              </a:ext>
            </a:extLst>
          </p:cNvPr>
          <p:cNvSpPr>
            <a:spLocks noGrp="1"/>
          </p:cNvSpPr>
          <p:nvPr>
            <p:ph type="body" sz="quarter" idx="14"/>
          </p:nvPr>
        </p:nvSpPr>
        <p:spPr/>
        <p:txBody>
          <a:bodyPr/>
          <a:lstStyle/>
          <a:p>
            <a:r>
              <a:rPr lang="nl-NL" dirty="0">
                <a:solidFill>
                  <a:schemeClr val="accent6"/>
                </a:solidFill>
              </a:rPr>
              <a:t>Standaardelementen van document</a:t>
            </a:r>
          </a:p>
        </p:txBody>
      </p:sp>
      <p:sp>
        <p:nvSpPr>
          <p:cNvPr id="3" name="Title 2">
            <a:extLst>
              <a:ext uri="{FF2B5EF4-FFF2-40B4-BE49-F238E27FC236}">
                <a16:creationId xmlns:a16="http://schemas.microsoft.com/office/drawing/2014/main" id="{33A4CF2C-1664-44E0-83CC-53716A07C86F}"/>
              </a:ext>
            </a:extLst>
          </p:cNvPr>
          <p:cNvSpPr>
            <a:spLocks noGrp="1"/>
          </p:cNvSpPr>
          <p:nvPr>
            <p:ph type="title"/>
          </p:nvPr>
        </p:nvSpPr>
        <p:spPr/>
        <p:txBody>
          <a:bodyPr vert="horz" lIns="0" tIns="0" rIns="0" bIns="0" rtlCol="0" anchor="b">
            <a:noAutofit/>
          </a:bodyPr>
          <a:lstStyle/>
          <a:p>
            <a:r>
              <a:rPr lang="nl-NL" dirty="0"/>
              <a:t>Elk document bevat een aantal standaardslides</a:t>
            </a:r>
          </a:p>
        </p:txBody>
      </p:sp>
      <p:sp>
        <p:nvSpPr>
          <p:cNvPr id="11" name="Rectangle 10">
            <a:extLst>
              <a:ext uri="{FF2B5EF4-FFF2-40B4-BE49-F238E27FC236}">
                <a16:creationId xmlns:a16="http://schemas.microsoft.com/office/drawing/2014/main" id="{78F683B3-B317-4902-B898-DCC667561384}"/>
              </a:ext>
            </a:extLst>
          </p:cNvPr>
          <p:cNvSpPr/>
          <p:nvPr/>
        </p:nvSpPr>
        <p:spPr>
          <a:xfrm>
            <a:off x="936314" y="0"/>
            <a:ext cx="3401346" cy="266699"/>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lIns="72000" rIns="72000" rtlCol="0" anchor="ctr">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lementen van een PowerPoint slide – Opbouw document</a:t>
            </a:r>
          </a:p>
        </p:txBody>
      </p:sp>
      <p:sp>
        <p:nvSpPr>
          <p:cNvPr id="12" name="Rectangle 11">
            <a:extLst>
              <a:ext uri="{FF2B5EF4-FFF2-40B4-BE49-F238E27FC236}">
                <a16:creationId xmlns:a16="http://schemas.microsoft.com/office/drawing/2014/main" id="{016661A4-D140-4C79-898E-028A2CCB5ABD}"/>
              </a:ext>
            </a:extLst>
          </p:cNvPr>
          <p:cNvSpPr/>
          <p:nvPr/>
        </p:nvSpPr>
        <p:spPr>
          <a:xfrm>
            <a:off x="658814" y="0"/>
            <a:ext cx="277500" cy="257175"/>
          </a:xfrm>
          <a:prstGeom prst="rect">
            <a:avLst/>
          </a:prstGeom>
          <a:solidFill>
            <a:srgbClr val="808080"/>
          </a:solidFill>
        </p:spPr>
        <p:txBody>
          <a:bodyPr lIns="72000" rIns="72000" rtlCol="0" anchor="t">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13" name="Picture 12">
            <a:extLst>
              <a:ext uri="{FF2B5EF4-FFF2-40B4-BE49-F238E27FC236}">
                <a16:creationId xmlns:a16="http://schemas.microsoft.com/office/drawing/2014/main" id="{742B9FF1-CE58-45C0-8E59-9FA53815596F}"/>
              </a:ext>
            </a:extLst>
          </p:cNvPr>
          <p:cNvPicPr>
            <a:picLocks noChangeAspect="1"/>
          </p:cNvPicPr>
          <p:nvPr/>
        </p:nvPicPr>
        <p:blipFill>
          <a:blip r:embed="rId5"/>
          <a:srcRect/>
          <a:stretch/>
        </p:blipFill>
        <p:spPr>
          <a:xfrm>
            <a:off x="666748" y="1970504"/>
            <a:ext cx="3517200" cy="1978424"/>
          </a:xfrm>
          <a:prstGeom prst="rect">
            <a:avLst/>
          </a:prstGeom>
          <a:ln>
            <a:solidFill>
              <a:schemeClr val="bg1">
                <a:lumMod val="75000"/>
              </a:schemeClr>
            </a:solidFill>
          </a:ln>
        </p:spPr>
      </p:pic>
      <p:pic>
        <p:nvPicPr>
          <p:cNvPr id="2" name="Picture 1">
            <a:extLst>
              <a:ext uri="{FF2B5EF4-FFF2-40B4-BE49-F238E27FC236}">
                <a16:creationId xmlns:a16="http://schemas.microsoft.com/office/drawing/2014/main" id="{5ED6A0CA-9DF2-4769-AD10-4D442C161802}"/>
              </a:ext>
            </a:extLst>
          </p:cNvPr>
          <p:cNvPicPr>
            <a:picLocks noChangeAspect="1"/>
          </p:cNvPicPr>
          <p:nvPr/>
        </p:nvPicPr>
        <p:blipFill>
          <a:blip r:embed="rId6"/>
          <a:srcRect/>
          <a:stretch/>
        </p:blipFill>
        <p:spPr>
          <a:xfrm>
            <a:off x="4363597" y="1970696"/>
            <a:ext cx="3517198" cy="1978424"/>
          </a:xfrm>
          <a:prstGeom prst="rect">
            <a:avLst/>
          </a:prstGeom>
          <a:ln>
            <a:solidFill>
              <a:schemeClr val="bg1">
                <a:lumMod val="75000"/>
              </a:schemeClr>
            </a:solidFill>
          </a:ln>
        </p:spPr>
      </p:pic>
      <p:sp>
        <p:nvSpPr>
          <p:cNvPr id="37" name="Speech Bubble: Rectangle 36">
            <a:extLst>
              <a:ext uri="{FF2B5EF4-FFF2-40B4-BE49-F238E27FC236}">
                <a16:creationId xmlns:a16="http://schemas.microsoft.com/office/drawing/2014/main" id="{E7CCB19C-61EB-4037-889B-B1AF0198EE27}"/>
              </a:ext>
            </a:extLst>
          </p:cNvPr>
          <p:cNvSpPr/>
          <p:nvPr/>
        </p:nvSpPr>
        <p:spPr>
          <a:xfrm>
            <a:off x="1124730" y="4150103"/>
            <a:ext cx="2880000" cy="1238250"/>
          </a:xfrm>
          <a:prstGeom prst="wedgeRectCallout">
            <a:avLst>
              <a:gd name="adj1" fmla="val -39684"/>
              <a:gd name="adj2" fmla="val -89039"/>
            </a:avLst>
          </a:prstGeom>
          <a:solidFill>
            <a:schemeClr val="bg1">
              <a:lumMod val="95000"/>
            </a:schemeClr>
          </a:solidFill>
          <a:ln w="9525">
            <a:solidFill>
              <a:schemeClr val="bg1">
                <a:lumMod val="85000"/>
              </a:schemeClr>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Bef>
                <a:spcPts val="600"/>
              </a:spcBef>
              <a:buClr>
                <a:schemeClr val="tx2"/>
              </a:buClr>
            </a:pPr>
            <a:r>
              <a:rPr kumimoji="0" lang="nl-NL" sz="1000" b="0" i="0" u="none" strike="noStrike" kern="1200" cap="none" spc="0" normalizeH="0" baseline="0" noProof="0" dirty="0">
                <a:ln>
                  <a:noFill/>
                </a:ln>
                <a:effectLst/>
                <a:uLnTx/>
                <a:uFillTx/>
                <a:latin typeface="Corbel" panose="020B0503020204020204" pitchFamily="34" charset="0"/>
                <a:ea typeface="+mn-ea"/>
                <a:cs typeface="+mn-cs"/>
              </a:rPr>
              <a:t>De </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voorpagina</a:t>
            </a:r>
            <a:r>
              <a:rPr kumimoji="0" lang="nl-NL" sz="1000" b="0" i="0" u="none" strike="noStrike" kern="1200" cap="none" spc="0" normalizeH="0" baseline="0" noProof="0" dirty="0">
                <a:ln>
                  <a:noFill/>
                </a:ln>
                <a:effectLst/>
                <a:uLnTx/>
                <a:uFillTx/>
                <a:latin typeface="Corbel" panose="020B0503020204020204" pitchFamily="34" charset="0"/>
                <a:ea typeface="+mn-ea"/>
                <a:cs typeface="+mn-cs"/>
              </a:rPr>
              <a:t> beschrijft het document of geeft een pakkende titel. Er zijn details te vermelden in de </a:t>
            </a:r>
            <a:r>
              <a:rPr kumimoji="0" lang="nl-NL" sz="1000" b="0" i="0" u="none" strike="noStrike" kern="1200" cap="none" spc="0" normalizeH="0" baseline="0" noProof="0" dirty="0" err="1">
                <a:ln>
                  <a:noFill/>
                </a:ln>
                <a:effectLst/>
                <a:uLnTx/>
                <a:uFillTx/>
                <a:latin typeface="Corbel" panose="020B0503020204020204" pitchFamily="34" charset="0"/>
                <a:ea typeface="+mn-ea"/>
                <a:cs typeface="+mn-cs"/>
              </a:rPr>
              <a:t>subtekst</a:t>
            </a:r>
            <a:r>
              <a:rPr kumimoji="0" lang="nl-NL" sz="1000" b="0" i="0" u="none" strike="noStrike" kern="1200" cap="none" spc="0" normalizeH="0" baseline="0" noProof="0" dirty="0">
                <a:ln>
                  <a:noFill/>
                </a:ln>
                <a:effectLst/>
                <a:uLnTx/>
                <a:uFillTx/>
                <a:latin typeface="Corbel" panose="020B0503020204020204" pitchFamily="34" charset="0"/>
                <a:ea typeface="+mn-ea"/>
                <a:cs typeface="+mn-cs"/>
              </a:rPr>
              <a:t>.</a:t>
            </a:r>
          </a:p>
          <a:p>
            <a:pPr>
              <a:spcBef>
                <a:spcPts val="600"/>
              </a:spcBef>
              <a:buClr>
                <a:schemeClr val="tx2"/>
              </a:buClr>
            </a:pPr>
            <a:r>
              <a:rPr kumimoji="0" lang="nl-NL" sz="1000" b="0" i="0" u="none" strike="noStrike" kern="1200" cap="none" spc="0" normalizeH="0" baseline="0" noProof="0" dirty="0">
                <a:ln>
                  <a:noFill/>
                </a:ln>
                <a:effectLst/>
                <a:uLnTx/>
                <a:uFillTx/>
                <a:latin typeface="Corbel" panose="020B0503020204020204" pitchFamily="34" charset="0"/>
                <a:ea typeface="+mn-ea"/>
                <a:cs typeface="+mn-cs"/>
              </a:rPr>
              <a:t>Er zijn verschillende </a:t>
            </a:r>
            <a:r>
              <a:rPr kumimoji="0" lang="nl-NL" sz="1000" b="0" i="0" u="none" strike="noStrike" kern="1200" cap="none" spc="0" normalizeH="0" baseline="0" noProof="0" dirty="0" err="1">
                <a:ln>
                  <a:noFill/>
                </a:ln>
                <a:effectLst/>
                <a:uLnTx/>
                <a:uFillTx/>
                <a:latin typeface="Corbel" panose="020B0503020204020204" pitchFamily="34" charset="0"/>
                <a:ea typeface="+mn-ea"/>
                <a:cs typeface="+mn-cs"/>
              </a:rPr>
              <a:t>layouts</a:t>
            </a:r>
            <a:r>
              <a:rPr kumimoji="0" lang="nl-NL" sz="1000" b="0" i="0" u="none" strike="noStrike" kern="1200" cap="none" spc="0" normalizeH="0" baseline="0" noProof="0" dirty="0">
                <a:ln>
                  <a:noFill/>
                </a:ln>
                <a:effectLst/>
                <a:uLnTx/>
                <a:uFillTx/>
                <a:latin typeface="Corbel" panose="020B0503020204020204" pitchFamily="34" charset="0"/>
                <a:ea typeface="+mn-ea"/>
                <a:cs typeface="+mn-cs"/>
              </a:rPr>
              <a:t> mogelijk, bijv. met of zonder foto (zie templates).</a:t>
            </a:r>
          </a:p>
        </p:txBody>
      </p:sp>
      <p:sp>
        <p:nvSpPr>
          <p:cNvPr id="38" name="Speech Bubble: Rectangle 37">
            <a:extLst>
              <a:ext uri="{FF2B5EF4-FFF2-40B4-BE49-F238E27FC236}">
                <a16:creationId xmlns:a16="http://schemas.microsoft.com/office/drawing/2014/main" id="{B3724A4C-8B5E-4148-8FD2-51D29894375A}"/>
              </a:ext>
            </a:extLst>
          </p:cNvPr>
          <p:cNvSpPr/>
          <p:nvPr/>
        </p:nvSpPr>
        <p:spPr>
          <a:xfrm>
            <a:off x="4805079" y="4150103"/>
            <a:ext cx="2880000" cy="1597086"/>
          </a:xfrm>
          <a:prstGeom prst="wedgeRectCallout">
            <a:avLst>
              <a:gd name="adj1" fmla="val -37700"/>
              <a:gd name="adj2" fmla="val -84960"/>
            </a:avLst>
          </a:prstGeom>
          <a:solidFill>
            <a:schemeClr val="bg1">
              <a:lumMod val="95000"/>
            </a:schemeClr>
          </a:solidFill>
          <a:ln w="9525">
            <a:solidFill>
              <a:schemeClr val="bg1">
                <a:lumMod val="85000"/>
              </a:schemeClr>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spcBef>
                <a:spcPts val="750"/>
              </a:spcBef>
              <a:buClr>
                <a:schemeClr val="tx2"/>
              </a:buCl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De </a:t>
            </a: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chtergrond-slide</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beschrijft de context, het doel en soms opbouw van de presentatie. </a:t>
            </a:r>
          </a:p>
          <a:p>
            <a:pPr>
              <a:spcBef>
                <a:spcPts val="750"/>
              </a:spcBef>
              <a:buClr>
                <a:schemeClr val="tx2"/>
              </a:buCl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Waarom leest de lezer dit? Wat wil je bereiken aan eind van presentatie (bijv. ter besluit of kennisgeving)?</a:t>
            </a:r>
          </a:p>
          <a:p>
            <a:pPr>
              <a:spcBef>
                <a:spcPts val="750"/>
              </a:spcBef>
              <a:buClr>
                <a:schemeClr val="tx2"/>
              </a:buCl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Opdrachtgevers hebben vaak meerdere problemen waar ze tegelijkertijd aan werken en korte schets van context helpt om discussie te plaatsen.</a:t>
            </a:r>
          </a:p>
        </p:txBody>
      </p:sp>
      <p:pic>
        <p:nvPicPr>
          <p:cNvPr id="29" name="Picture 28">
            <a:extLst>
              <a:ext uri="{FF2B5EF4-FFF2-40B4-BE49-F238E27FC236}">
                <a16:creationId xmlns:a16="http://schemas.microsoft.com/office/drawing/2014/main" id="{403CE8AE-2465-4764-9118-A85913FB8E1F}"/>
              </a:ext>
            </a:extLst>
          </p:cNvPr>
          <p:cNvPicPr>
            <a:picLocks noChangeAspect="1"/>
          </p:cNvPicPr>
          <p:nvPr/>
        </p:nvPicPr>
        <p:blipFill>
          <a:blip r:embed="rId7"/>
          <a:srcRect/>
          <a:stretch/>
        </p:blipFill>
        <p:spPr>
          <a:xfrm>
            <a:off x="8008052" y="1959645"/>
            <a:ext cx="3531214" cy="1986307"/>
          </a:xfrm>
          <a:prstGeom prst="rect">
            <a:avLst/>
          </a:prstGeom>
          <a:ln>
            <a:solidFill>
              <a:schemeClr val="bg1">
                <a:lumMod val="75000"/>
              </a:schemeClr>
            </a:solidFill>
          </a:ln>
        </p:spPr>
      </p:pic>
      <p:sp>
        <p:nvSpPr>
          <p:cNvPr id="30" name="Speech Bubble: Rectangle 29">
            <a:extLst>
              <a:ext uri="{FF2B5EF4-FFF2-40B4-BE49-F238E27FC236}">
                <a16:creationId xmlns:a16="http://schemas.microsoft.com/office/drawing/2014/main" id="{B9AF4699-C308-491F-912D-6979CBD30548}"/>
              </a:ext>
            </a:extLst>
          </p:cNvPr>
          <p:cNvSpPr/>
          <p:nvPr/>
        </p:nvSpPr>
        <p:spPr>
          <a:xfrm>
            <a:off x="8485428" y="4150103"/>
            <a:ext cx="2880000" cy="1822789"/>
          </a:xfrm>
          <a:prstGeom prst="wedgeRectCallout">
            <a:avLst>
              <a:gd name="adj1" fmla="val -41875"/>
              <a:gd name="adj2" fmla="val -75289"/>
            </a:avLst>
          </a:prstGeom>
          <a:solidFill>
            <a:schemeClr val="bg1">
              <a:lumMod val="95000"/>
            </a:schemeClr>
          </a:solidFill>
          <a:ln>
            <a:solidFill>
              <a:schemeClr val="bg1">
                <a:lumMod val="85000"/>
              </a:schemeClr>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fontAlgn="auto">
              <a:spcBef>
                <a:spcPts val="600"/>
              </a:spcBef>
              <a:spcAft>
                <a:spcPts val="0"/>
              </a:spcAft>
              <a:buClr>
                <a:schemeClr val="tx2"/>
              </a:buClr>
            </a:pPr>
            <a:r>
              <a:rPr lang="nl-NL" sz="1000" dirty="0"/>
              <a:t>De agenda of inhoud wordt gebruikt om structuur binnen document aan te geven. Het kan handig zijn om de agenda te herhalen bij begin van nieuw hoofdstuk.</a:t>
            </a:r>
          </a:p>
          <a:p>
            <a:pPr fontAlgn="auto">
              <a:spcBef>
                <a:spcPts val="600"/>
              </a:spcBef>
              <a:spcAft>
                <a:spcPts val="0"/>
              </a:spcAft>
              <a:buClr>
                <a:schemeClr val="tx2"/>
              </a:buClr>
            </a:pPr>
            <a:r>
              <a:rPr lang="nl-NL" sz="1000" dirty="0"/>
              <a:t>Bij zeer korte documenten is er geen inhoudsopgave benodigd, of is er keuze om inhoudsopgave wel aan begin op te nemen, maar niet te herhalen.</a:t>
            </a:r>
          </a:p>
          <a:p>
            <a:pPr fontAlgn="auto">
              <a:spcBef>
                <a:spcPts val="600"/>
              </a:spcBef>
              <a:spcAft>
                <a:spcPts val="0"/>
              </a:spcAft>
              <a:buClr>
                <a:schemeClr val="tx2"/>
              </a:buClr>
            </a:pPr>
            <a:r>
              <a:rPr lang="nl-NL" sz="1000" dirty="0"/>
              <a:t>Bij grote documenten kan het wenselijk zijn om hyperlinks te gebruiken voor navigatie binnen de presentatie.</a:t>
            </a:r>
          </a:p>
        </p:txBody>
      </p:sp>
    </p:spTree>
    <p:extLst>
      <p:ext uri="{BB962C8B-B14F-4D97-AF65-F5344CB8AC3E}">
        <p14:creationId xmlns:p14="http://schemas.microsoft.com/office/powerpoint/2010/main" val="14083592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846812-4457-43B7-B537-86A558C97F8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53846812-4457-43B7-B537-86A558C97F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88AAD70F-073A-4046-9A63-3EAA7EF0E0C5}"/>
              </a:ext>
            </a:extLst>
          </p:cNvPr>
          <p:cNvSpPr>
            <a:spLocks noGrp="1"/>
          </p:cNvSpPr>
          <p:nvPr>
            <p:ph type="ftr" sz="quarter" idx="3"/>
          </p:nvPr>
        </p:nvSpPr>
        <p:spPr/>
        <p:txBody>
          <a:bodyPr/>
          <a:lstStyle/>
          <a:p>
            <a:r>
              <a:rPr lang="nl-NL" dirty="0"/>
              <a:t>Bron: “Nederland groeit”, CBS (2020); “Lang rapport”, Kamer van Koophandel (2019); Interviews met 5 schooldirecteuren; It’s Public analyse</a:t>
            </a:r>
          </a:p>
        </p:txBody>
      </p:sp>
      <p:sp>
        <p:nvSpPr>
          <p:cNvPr id="4" name="Slide Number Placeholder 3">
            <a:extLst>
              <a:ext uri="{FF2B5EF4-FFF2-40B4-BE49-F238E27FC236}">
                <a16:creationId xmlns:a16="http://schemas.microsoft.com/office/drawing/2014/main" id="{750F95F5-F191-4F0B-BFF8-425DCE291F3B}"/>
              </a:ext>
            </a:extLst>
          </p:cNvPr>
          <p:cNvSpPr>
            <a:spLocks noGrp="1"/>
          </p:cNvSpPr>
          <p:nvPr>
            <p:ph type="sldNum" sz="quarter" idx="12"/>
          </p:nvPr>
        </p:nvSpPr>
        <p:spPr/>
        <p:txBody>
          <a:bodyPr/>
          <a:lstStyle/>
          <a:p>
            <a:fld id="{992CD0B2-8AB2-4C6C-8876-E15753662C9B}" type="slidenum">
              <a:rPr lang="nl-NL" noProof="0" smtClean="0"/>
              <a:pPr/>
              <a:t>5</a:t>
            </a:fld>
            <a:endParaRPr lang="nl-NL" noProof="0" dirty="0"/>
          </a:p>
        </p:txBody>
      </p:sp>
      <p:sp>
        <p:nvSpPr>
          <p:cNvPr id="7" name="Text Placeholder 6">
            <a:extLst>
              <a:ext uri="{FF2B5EF4-FFF2-40B4-BE49-F238E27FC236}">
                <a16:creationId xmlns:a16="http://schemas.microsoft.com/office/drawing/2014/main" id="{C3FF1629-4AFA-42C6-BAB0-03D94F89C881}"/>
              </a:ext>
            </a:extLst>
          </p:cNvPr>
          <p:cNvSpPr>
            <a:spLocks noGrp="1"/>
          </p:cNvSpPr>
          <p:nvPr>
            <p:ph type="body" sz="quarter" idx="14"/>
          </p:nvPr>
        </p:nvSpPr>
        <p:spPr/>
        <p:txBody>
          <a:bodyPr/>
          <a:lstStyle/>
          <a:p>
            <a:r>
              <a:rPr lang="nl-NL" dirty="0"/>
              <a:t>Beschrijving van standaard-elementen op slide, It’s Public huisstijl, mei 2021</a:t>
            </a:r>
          </a:p>
        </p:txBody>
      </p:sp>
      <p:sp>
        <p:nvSpPr>
          <p:cNvPr id="3" name="Title 2">
            <a:extLst>
              <a:ext uri="{FF2B5EF4-FFF2-40B4-BE49-F238E27FC236}">
                <a16:creationId xmlns:a16="http://schemas.microsoft.com/office/drawing/2014/main" id="{2AF4E918-3F6C-4E8D-A564-4A19F7D15188}"/>
              </a:ext>
            </a:extLst>
          </p:cNvPr>
          <p:cNvSpPr>
            <a:spLocks noGrp="1"/>
          </p:cNvSpPr>
          <p:nvPr>
            <p:ph type="title"/>
          </p:nvPr>
        </p:nvSpPr>
        <p:spPr/>
        <p:txBody>
          <a:bodyPr vert="horz"/>
          <a:lstStyle/>
          <a:p>
            <a:r>
              <a:rPr lang="nl-NL" dirty="0"/>
              <a:t>Iedere slide heeft een aantal standaard (‘verplichte’) elementen</a:t>
            </a:r>
          </a:p>
        </p:txBody>
      </p:sp>
      <p:sp>
        <p:nvSpPr>
          <p:cNvPr id="11" name="Rectangle 10">
            <a:extLst>
              <a:ext uri="{FF2B5EF4-FFF2-40B4-BE49-F238E27FC236}">
                <a16:creationId xmlns:a16="http://schemas.microsoft.com/office/drawing/2014/main" id="{6BFAF48E-6EBD-4313-8801-389885F29DA6}"/>
              </a:ext>
            </a:extLst>
          </p:cNvPr>
          <p:cNvSpPr/>
          <p:nvPr/>
        </p:nvSpPr>
        <p:spPr>
          <a:xfrm>
            <a:off x="658814" y="0"/>
            <a:ext cx="277500" cy="257175"/>
          </a:xfrm>
          <a:prstGeom prst="rect">
            <a:avLst/>
          </a:prstGeom>
          <a:solidFill>
            <a:srgbClr val="808080"/>
          </a:solidFill>
        </p:spPr>
        <p:txBody>
          <a:bodyPr lIns="72000" rIns="72000" rtlCol="0" anchor="t">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8" name="Speech Bubble: Rectangle 17">
            <a:extLst>
              <a:ext uri="{FF2B5EF4-FFF2-40B4-BE49-F238E27FC236}">
                <a16:creationId xmlns:a16="http://schemas.microsoft.com/office/drawing/2014/main" id="{62B4A6E7-3A08-4DC8-8E4E-56DA3D142511}"/>
              </a:ext>
            </a:extLst>
          </p:cNvPr>
          <p:cNvSpPr/>
          <p:nvPr/>
        </p:nvSpPr>
        <p:spPr>
          <a:xfrm>
            <a:off x="4337659" y="35164"/>
            <a:ext cx="6713517" cy="737876"/>
          </a:xfrm>
          <a:prstGeom prst="wedgeRectCallout">
            <a:avLst>
              <a:gd name="adj1" fmla="val -52700"/>
              <a:gd name="adj2" fmla="val 49666"/>
            </a:avLst>
          </a:prstGeom>
          <a:solidFill>
            <a:schemeClr val="bg1">
              <a:lumMod val="95000"/>
            </a:schemeClr>
          </a:solidFill>
          <a:ln w="9525">
            <a:solidFill>
              <a:schemeClr val="bg1">
                <a:lumMod val="85000"/>
              </a:schemeClr>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spcBef>
                <a:spcPts val="300"/>
              </a:spcBef>
              <a:buClr>
                <a:schemeClr val="tx2"/>
              </a:buClr>
            </a:pPr>
            <a:r>
              <a:rPr lang="nl-NL" sz="1000" dirty="0"/>
              <a:t>In de </a:t>
            </a:r>
            <a:r>
              <a:rPr lang="nl-NL" sz="1000" b="1" dirty="0"/>
              <a:t>titel</a:t>
            </a:r>
            <a:r>
              <a:rPr lang="nl-NL" sz="1000" dirty="0"/>
              <a:t> van een slide staat de belangrijkste conclusie van de slide. Gebruik bij voorkeur leesbare ‘actietitels’ (goedlopende zinnen), waarbij je de zin voluit schrijft (en geen werkwoorden of lidwoorden weg laat) om leesbaarheid te vergroten.</a:t>
            </a:r>
          </a:p>
          <a:p>
            <a:pPr>
              <a:spcBef>
                <a:spcPts val="300"/>
              </a:spcBef>
              <a:buClr>
                <a:schemeClr val="tx2"/>
              </a:buClr>
            </a:pPr>
            <a:r>
              <a:rPr lang="nl-NL" sz="1000" dirty="0"/>
              <a:t>Bij uitzondering kun je een beschrijvende titel gebruiken (ter vervanging van de subtitel, die is er dan niet).</a:t>
            </a:r>
          </a:p>
        </p:txBody>
      </p:sp>
      <p:sp>
        <p:nvSpPr>
          <p:cNvPr id="19" name="Speech Bubble: Rectangle 18">
            <a:extLst>
              <a:ext uri="{FF2B5EF4-FFF2-40B4-BE49-F238E27FC236}">
                <a16:creationId xmlns:a16="http://schemas.microsoft.com/office/drawing/2014/main" id="{DF482A99-341A-4B81-A4F1-540046415172}"/>
              </a:ext>
            </a:extLst>
          </p:cNvPr>
          <p:cNvSpPr/>
          <p:nvPr/>
        </p:nvSpPr>
        <p:spPr>
          <a:xfrm>
            <a:off x="1935217" y="5155267"/>
            <a:ext cx="6486888" cy="1145680"/>
          </a:xfrm>
          <a:prstGeom prst="wedgeRectCallout">
            <a:avLst>
              <a:gd name="adj1" fmla="val -34806"/>
              <a:gd name="adj2" fmla="val 68780"/>
            </a:avLst>
          </a:prstGeom>
          <a:solidFill>
            <a:schemeClr val="bg1">
              <a:lumMod val="95000"/>
            </a:schemeClr>
          </a:solidFill>
          <a:ln w="9525">
            <a:solidFill>
              <a:schemeClr val="bg1">
                <a:lumMod val="85000"/>
              </a:schemeClr>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spcBef>
                <a:spcPts val="750"/>
              </a:spcBef>
              <a:buClr>
                <a:schemeClr val="tx2"/>
              </a:buClr>
            </a:pPr>
            <a:r>
              <a:rPr lang="nl-NL" sz="1000" dirty="0"/>
              <a:t>Zet altijd de naam van de bron/rapport, de publicerende instantie (bijv. CBS) en het jaartal neer.</a:t>
            </a:r>
          </a:p>
          <a:p>
            <a:pPr>
              <a:spcBef>
                <a:spcPts val="750"/>
              </a:spcBef>
              <a:buClr>
                <a:schemeClr val="tx2"/>
              </a:buClr>
            </a:pPr>
            <a:r>
              <a:rPr lang="nl-NL" sz="1000" dirty="0"/>
              <a:t>Aan het einde van bron schrijf je “It’s Public analyse” (tenzij er echt geen analyse aan te pas is gekomen).</a:t>
            </a:r>
          </a:p>
          <a:p>
            <a:pPr>
              <a:spcBef>
                <a:spcPts val="750"/>
              </a:spcBef>
              <a:buClr>
                <a:schemeClr val="tx2"/>
              </a:buClr>
            </a:pPr>
            <a:r>
              <a:rPr lang="nl-NL" sz="1000" dirty="0"/>
              <a:t>Verschillende bronnen worden met puntkomma gescheiden (niet komma’s).</a:t>
            </a:r>
          </a:p>
          <a:p>
            <a:pPr>
              <a:spcBef>
                <a:spcPts val="750"/>
              </a:spcBef>
              <a:buClr>
                <a:schemeClr val="tx2"/>
              </a:buClr>
            </a:pPr>
            <a:r>
              <a:rPr lang="nl-NL" sz="1000" dirty="0"/>
              <a:t>Mocht je veel verschillende bronnen, waarbij precieze bron niet uit maakt of al duidelijk is op slide (bijv. screenshots van allerlei krantenkoppen), dan kun je opteren voor “</a:t>
            </a:r>
            <a:r>
              <a:rPr lang="nl-NL" sz="1000" dirty="0" err="1"/>
              <a:t>press</a:t>
            </a:r>
            <a:r>
              <a:rPr lang="nl-NL" sz="1000" dirty="0"/>
              <a:t> search” of “bureauonderzoek” als bron.</a:t>
            </a:r>
          </a:p>
        </p:txBody>
      </p:sp>
      <p:sp>
        <p:nvSpPr>
          <p:cNvPr id="22" name="Speech Bubble: Rectangle 21">
            <a:extLst>
              <a:ext uri="{FF2B5EF4-FFF2-40B4-BE49-F238E27FC236}">
                <a16:creationId xmlns:a16="http://schemas.microsoft.com/office/drawing/2014/main" id="{0446AB2C-7ED5-4840-BBAC-A55CAAA177D5}"/>
              </a:ext>
            </a:extLst>
          </p:cNvPr>
          <p:cNvSpPr/>
          <p:nvPr/>
        </p:nvSpPr>
        <p:spPr>
          <a:xfrm>
            <a:off x="1344123" y="1955324"/>
            <a:ext cx="5390052" cy="663497"/>
          </a:xfrm>
          <a:prstGeom prst="wedgeRectCallout">
            <a:avLst>
              <a:gd name="adj1" fmla="val -37794"/>
              <a:gd name="adj2" fmla="val -115216"/>
            </a:avLst>
          </a:prstGeom>
          <a:solidFill>
            <a:schemeClr val="bg1">
              <a:lumMod val="95000"/>
            </a:schemeClr>
          </a:solidFill>
          <a:ln w="9525">
            <a:solidFill>
              <a:schemeClr val="bg1">
                <a:lumMod val="85000"/>
              </a:schemeClr>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spcBef>
                <a:spcPts val="750"/>
              </a:spcBef>
              <a:buClr>
                <a:schemeClr val="tx2"/>
              </a:buClr>
            </a:pPr>
            <a:r>
              <a:rPr lang="nl-NL" sz="1000" dirty="0"/>
              <a:t>De </a:t>
            </a:r>
            <a:r>
              <a:rPr lang="nl-NL" sz="1000" b="1" dirty="0"/>
              <a:t>subtitel</a:t>
            </a:r>
            <a:r>
              <a:rPr lang="nl-NL" sz="1000" dirty="0"/>
              <a:t> beschrijft feitelijk wat er op de slide staat. Elke slide heeft een subtitel, tenzij er een </a:t>
            </a:r>
            <a:r>
              <a:rPr lang="nl-NL" sz="1000" dirty="0" err="1"/>
              <a:t>dubbeling</a:t>
            </a:r>
            <a:r>
              <a:rPr lang="nl-NL" sz="1000" dirty="0"/>
              <a:t> met de hoofdtitel of sub-subtitel ontstaat (zie uitleg bij ‘titel’ bovenaan).</a:t>
            </a:r>
          </a:p>
          <a:p>
            <a:pPr>
              <a:spcBef>
                <a:spcPts val="750"/>
              </a:spcBef>
              <a:buClr>
                <a:schemeClr val="tx2"/>
              </a:buClr>
            </a:pPr>
            <a:r>
              <a:rPr lang="nl-NL" sz="1000" dirty="0"/>
              <a:t>Zie slide 7 voor uitleg over conventies omtrent schrijfwijze subtitels.</a:t>
            </a:r>
          </a:p>
        </p:txBody>
      </p:sp>
      <p:sp>
        <p:nvSpPr>
          <p:cNvPr id="24" name="Rectangle 23">
            <a:extLst>
              <a:ext uri="{FF2B5EF4-FFF2-40B4-BE49-F238E27FC236}">
                <a16:creationId xmlns:a16="http://schemas.microsoft.com/office/drawing/2014/main" id="{28D934A3-11A4-45C9-ABA1-74FDC7609E6A}"/>
              </a:ext>
            </a:extLst>
          </p:cNvPr>
          <p:cNvSpPr/>
          <p:nvPr/>
        </p:nvSpPr>
        <p:spPr>
          <a:xfrm>
            <a:off x="936314" y="0"/>
            <a:ext cx="3401346" cy="266699"/>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lIns="72000" rIns="72000" rtlCol="0" anchor="ctr">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lementen van een PowerPoint slide – Opbouw slide</a:t>
            </a:r>
          </a:p>
        </p:txBody>
      </p:sp>
      <p:sp>
        <p:nvSpPr>
          <p:cNvPr id="21" name="Text Placeholder 12">
            <a:extLst>
              <a:ext uri="{FF2B5EF4-FFF2-40B4-BE49-F238E27FC236}">
                <a16:creationId xmlns:a16="http://schemas.microsoft.com/office/drawing/2014/main" id="{FAB364F8-8907-4063-9D98-F22C091801A1}"/>
              </a:ext>
            </a:extLst>
          </p:cNvPr>
          <p:cNvSpPr txBox="1">
            <a:spLocks/>
          </p:cNvSpPr>
          <p:nvPr/>
        </p:nvSpPr>
        <p:spPr>
          <a:xfrm>
            <a:off x="819150" y="13811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noProof="0" dirty="0">
                <a:solidFill>
                  <a:schemeClr val="tx1"/>
                </a:solidFill>
                <a:latin typeface="Corbel" panose="020B0503020204020204" pitchFamily="34" charset="0"/>
                <a:ea typeface="+mn-ea"/>
                <a:cs typeface="+mn-cs"/>
              </a:defRPr>
            </a:lvl1pPr>
            <a:lvl2pPr marL="180000" indent="-18000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6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0000"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20000" indent="-18000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Tree>
    <p:extLst>
      <p:ext uri="{BB962C8B-B14F-4D97-AF65-F5344CB8AC3E}">
        <p14:creationId xmlns:p14="http://schemas.microsoft.com/office/powerpoint/2010/main" val="17365443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799217D8-03C0-49A1-B7B5-166E49C5276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5" name="Object 24" hidden="1">
                        <a:extLst>
                          <a:ext uri="{FF2B5EF4-FFF2-40B4-BE49-F238E27FC236}">
                            <a16:creationId xmlns:a16="http://schemas.microsoft.com/office/drawing/2014/main" id="{799217D8-03C0-49A1-B7B5-166E49C527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Content Placeholder 21">
            <a:extLst>
              <a:ext uri="{FF2B5EF4-FFF2-40B4-BE49-F238E27FC236}">
                <a16:creationId xmlns:a16="http://schemas.microsoft.com/office/drawing/2014/main" id="{10783C1B-4885-4ACA-97BD-FFCFDB06F788}"/>
              </a:ext>
            </a:extLst>
          </p:cNvPr>
          <p:cNvSpPr>
            <a:spLocks noGrp="1"/>
          </p:cNvSpPr>
          <p:nvPr>
            <p:ph sz="quarter" idx="35"/>
          </p:nvPr>
        </p:nvSpPr>
        <p:spPr>
          <a:ln>
            <a:solidFill>
              <a:schemeClr val="bg1">
                <a:lumMod val="95000"/>
              </a:schemeClr>
            </a:solidFill>
          </a:ln>
        </p:spPr>
        <p:txBody>
          <a:bodyPr/>
          <a:lstStyle/>
          <a:p>
            <a:pPr marL="0" indent="0">
              <a:buNone/>
            </a:pPr>
            <a:r>
              <a:rPr lang="nl-NL" dirty="0"/>
              <a:t> </a:t>
            </a:r>
          </a:p>
        </p:txBody>
      </p:sp>
      <p:sp>
        <p:nvSpPr>
          <p:cNvPr id="14" name="Content Placeholder 13">
            <a:extLst>
              <a:ext uri="{FF2B5EF4-FFF2-40B4-BE49-F238E27FC236}">
                <a16:creationId xmlns:a16="http://schemas.microsoft.com/office/drawing/2014/main" id="{ED94EF93-1671-4469-8272-1A3D7F5CE68D}"/>
              </a:ext>
            </a:extLst>
          </p:cNvPr>
          <p:cNvSpPr>
            <a:spLocks noGrp="1"/>
          </p:cNvSpPr>
          <p:nvPr>
            <p:ph sz="quarter" idx="31"/>
          </p:nvPr>
        </p:nvSpPr>
        <p:spPr>
          <a:noFill/>
          <a:ln>
            <a:solidFill>
              <a:schemeClr val="bg1">
                <a:lumMod val="95000"/>
              </a:schemeClr>
            </a:solidFill>
          </a:ln>
          <a:extLst>
            <a:ext uri="{909E8E84-426E-40DD-AFC4-6F175D3DCCD1}">
              <a14:hiddenFill xmlns:a14="http://schemas.microsoft.com/office/drawing/2010/main">
                <a:solidFill>
                  <a:schemeClr val="bg1">
                    <a:lumMod val="95000"/>
                  </a:schemeClr>
                </a:solidFill>
              </a14:hiddenFill>
            </a:ext>
          </a:extLst>
        </p:spPr>
        <p:txBody>
          <a:bodyPr/>
          <a:lstStyle/>
          <a:p>
            <a:pPr marL="0" marR="0" lvl="1" indent="0" algn="l" defTabSz="685800" rtl="0" eaLnBrk="1" fontAlgn="auto" latinLnBrk="0" hangingPunct="1">
              <a:lnSpc>
                <a:spcPct val="90000"/>
              </a:lnSpc>
              <a:spcBef>
                <a:spcPts val="375"/>
              </a:spcBef>
              <a:spcAft>
                <a:spcPts val="0"/>
              </a:spcAft>
              <a:buClr>
                <a:srgbClr val="5CD89F"/>
              </a:buClr>
              <a:buSzTx/>
              <a:buNone/>
              <a:tabLst/>
              <a:defRPr/>
            </a:pPr>
            <a:endParaRPr kumimoji="0" lang="nl-NL" sz="1200" b="0" i="0" u="none" strike="noStrike" kern="1200" cap="none" spc="0" normalizeH="0" baseline="0" noProof="0" dirty="0">
              <a:ln>
                <a:noFill/>
              </a:ln>
              <a:solidFill>
                <a:srgbClr val="5C5C5C"/>
              </a:solidFill>
              <a:effectLst/>
              <a:uLnTx/>
              <a:uFillTx/>
              <a:latin typeface="Corbel" panose="020B0503020204020204" pitchFamily="34" charset="0"/>
              <a:ea typeface="+mn-ea"/>
              <a:cs typeface="+mn-cs"/>
            </a:endParaRPr>
          </a:p>
          <a:p>
            <a:pPr marL="0" lvl="1" indent="0">
              <a:buNone/>
            </a:pPr>
            <a:endParaRPr lang="nl-NL" dirty="0"/>
          </a:p>
        </p:txBody>
      </p:sp>
      <p:sp>
        <p:nvSpPr>
          <p:cNvPr id="23" name="Text Placeholder 22">
            <a:extLst>
              <a:ext uri="{FF2B5EF4-FFF2-40B4-BE49-F238E27FC236}">
                <a16:creationId xmlns:a16="http://schemas.microsoft.com/office/drawing/2014/main" id="{367F2DCA-B430-4200-9D2E-04940BEB6F43}"/>
              </a:ext>
            </a:extLst>
          </p:cNvPr>
          <p:cNvSpPr>
            <a:spLocks noGrp="1"/>
          </p:cNvSpPr>
          <p:nvPr>
            <p:ph type="body" sz="quarter" idx="34"/>
          </p:nvPr>
        </p:nvSpPr>
        <p:spPr/>
        <p:txBody>
          <a:bodyPr/>
          <a:lstStyle/>
          <a:p>
            <a:r>
              <a:rPr lang="nl-NL" dirty="0"/>
              <a:t>[Specifieke subtitel bij rechter helft bladzijde]</a:t>
            </a:r>
          </a:p>
        </p:txBody>
      </p:sp>
      <p:sp>
        <p:nvSpPr>
          <p:cNvPr id="17" name="Text Placeholder 16">
            <a:extLst>
              <a:ext uri="{FF2B5EF4-FFF2-40B4-BE49-F238E27FC236}">
                <a16:creationId xmlns:a16="http://schemas.microsoft.com/office/drawing/2014/main" id="{919C7AB4-7C48-43E8-A8C1-A281EE529341}"/>
              </a:ext>
            </a:extLst>
          </p:cNvPr>
          <p:cNvSpPr>
            <a:spLocks noGrp="1"/>
          </p:cNvSpPr>
          <p:nvPr>
            <p:ph type="body" sz="quarter" idx="30"/>
          </p:nvPr>
        </p:nvSpPr>
        <p:spPr/>
        <p:txBody>
          <a:bodyPr/>
          <a:lstStyle/>
          <a:p>
            <a:r>
              <a:rPr lang="nl-NL" dirty="0"/>
              <a:t>[Specifieke subtitel bij linker helft bladzijde]</a:t>
            </a:r>
          </a:p>
        </p:txBody>
      </p:sp>
      <p:sp>
        <p:nvSpPr>
          <p:cNvPr id="15" name="Text Placeholder 14">
            <a:extLst>
              <a:ext uri="{FF2B5EF4-FFF2-40B4-BE49-F238E27FC236}">
                <a16:creationId xmlns:a16="http://schemas.microsoft.com/office/drawing/2014/main" id="{E15BA119-1A56-404A-BD86-C385B6E92F91}"/>
              </a:ext>
            </a:extLst>
          </p:cNvPr>
          <p:cNvSpPr>
            <a:spLocks noGrp="1"/>
          </p:cNvSpPr>
          <p:nvPr>
            <p:ph type="body" sz="quarter" idx="20"/>
          </p:nvPr>
        </p:nvSpPr>
        <p:spPr/>
        <p:txBody>
          <a:bodyPr/>
          <a:lstStyle/>
          <a:p>
            <a:r>
              <a:rPr lang="nl-NL" dirty="0"/>
              <a:t>Probeer het gebruik van </a:t>
            </a:r>
            <a:r>
              <a:rPr lang="nl-NL" dirty="0" err="1"/>
              <a:t>disclaimers</a:t>
            </a:r>
            <a:r>
              <a:rPr lang="nl-NL" dirty="0"/>
              <a:t> wel te beperken; als je niet oppast zet je op iedere slide dat het ‘indicatief</a:t>
            </a:r>
            <a:r>
              <a:rPr lang="nl-NL"/>
              <a:t>’ is</a:t>
            </a:r>
            <a:endParaRPr lang="nl-NL" dirty="0"/>
          </a:p>
        </p:txBody>
      </p:sp>
      <p:sp>
        <p:nvSpPr>
          <p:cNvPr id="5" name="Footer Placeholder 4">
            <a:extLst>
              <a:ext uri="{FF2B5EF4-FFF2-40B4-BE49-F238E27FC236}">
                <a16:creationId xmlns:a16="http://schemas.microsoft.com/office/drawing/2014/main" id="{88AAD70F-073A-4046-9A63-3EAA7EF0E0C5}"/>
              </a:ext>
            </a:extLst>
          </p:cNvPr>
          <p:cNvSpPr>
            <a:spLocks noGrp="1"/>
          </p:cNvSpPr>
          <p:nvPr>
            <p:ph type="ftr" sz="quarter" idx="3"/>
          </p:nvPr>
        </p:nvSpPr>
        <p:spPr/>
        <p:txBody>
          <a:bodyPr/>
          <a:lstStyle/>
          <a:p>
            <a:r>
              <a:rPr lang="nl-NL" dirty="0"/>
              <a:t>Bron: CBS 2020; It’s Public analyse </a:t>
            </a:r>
          </a:p>
        </p:txBody>
      </p:sp>
      <p:sp>
        <p:nvSpPr>
          <p:cNvPr id="4" name="Slide Number Placeholder 3">
            <a:extLst>
              <a:ext uri="{FF2B5EF4-FFF2-40B4-BE49-F238E27FC236}">
                <a16:creationId xmlns:a16="http://schemas.microsoft.com/office/drawing/2014/main" id="{750F95F5-F191-4F0B-BFF8-425DCE291F3B}"/>
              </a:ext>
            </a:extLst>
          </p:cNvPr>
          <p:cNvSpPr>
            <a:spLocks noGrp="1"/>
          </p:cNvSpPr>
          <p:nvPr>
            <p:ph type="sldNum" sz="quarter" idx="12"/>
          </p:nvPr>
        </p:nvSpPr>
        <p:spPr/>
        <p:txBody>
          <a:bodyPr/>
          <a:lstStyle/>
          <a:p>
            <a:fld id="{992CD0B2-8AB2-4C6C-8876-E15753662C9B}" type="slidenum">
              <a:rPr lang="nl-NL" noProof="0" smtClean="0"/>
              <a:pPr/>
              <a:t>6</a:t>
            </a:fld>
            <a:endParaRPr lang="nl-NL" noProof="0" dirty="0"/>
          </a:p>
        </p:txBody>
      </p:sp>
      <p:sp>
        <p:nvSpPr>
          <p:cNvPr id="13" name="Text Placeholder 12">
            <a:extLst>
              <a:ext uri="{FF2B5EF4-FFF2-40B4-BE49-F238E27FC236}">
                <a16:creationId xmlns:a16="http://schemas.microsoft.com/office/drawing/2014/main" id="{1E5EE27E-E93F-4ED8-8F4E-4CADD90AAECD}"/>
              </a:ext>
            </a:extLst>
          </p:cNvPr>
          <p:cNvSpPr>
            <a:spLocks noGrp="1"/>
          </p:cNvSpPr>
          <p:nvPr>
            <p:ph type="body" sz="quarter" idx="14"/>
          </p:nvPr>
        </p:nvSpPr>
        <p:spPr/>
        <p:txBody>
          <a:bodyPr/>
          <a:lstStyle/>
          <a:p>
            <a:r>
              <a:rPr lang="nl-NL" dirty="0"/>
              <a:t>[Dit is algemene subtitel die de hele pagina beschrijft]</a:t>
            </a:r>
          </a:p>
        </p:txBody>
      </p:sp>
      <p:sp>
        <p:nvSpPr>
          <p:cNvPr id="3" name="Title 2">
            <a:extLst>
              <a:ext uri="{FF2B5EF4-FFF2-40B4-BE49-F238E27FC236}">
                <a16:creationId xmlns:a16="http://schemas.microsoft.com/office/drawing/2014/main" id="{2AF4E918-3F6C-4E8D-A564-4A19F7D15188}"/>
              </a:ext>
            </a:extLst>
          </p:cNvPr>
          <p:cNvSpPr>
            <a:spLocks noGrp="1"/>
          </p:cNvSpPr>
          <p:nvPr>
            <p:ph type="title"/>
          </p:nvPr>
        </p:nvSpPr>
        <p:spPr/>
        <p:txBody>
          <a:bodyPr vert="horz"/>
          <a:lstStyle/>
          <a:p>
            <a:r>
              <a:rPr lang="nl-NL" dirty="0"/>
              <a:t>Er zijn ook een aantal optionele slide-elementen</a:t>
            </a:r>
          </a:p>
        </p:txBody>
      </p:sp>
      <p:sp>
        <p:nvSpPr>
          <p:cNvPr id="11" name="Rectangle 10">
            <a:extLst>
              <a:ext uri="{FF2B5EF4-FFF2-40B4-BE49-F238E27FC236}">
                <a16:creationId xmlns:a16="http://schemas.microsoft.com/office/drawing/2014/main" id="{6BFAF48E-6EBD-4313-8801-389885F29DA6}"/>
              </a:ext>
            </a:extLst>
          </p:cNvPr>
          <p:cNvSpPr/>
          <p:nvPr/>
        </p:nvSpPr>
        <p:spPr>
          <a:xfrm>
            <a:off x="658814" y="0"/>
            <a:ext cx="277500" cy="257175"/>
          </a:xfrm>
          <a:prstGeom prst="rect">
            <a:avLst/>
          </a:prstGeom>
          <a:solidFill>
            <a:srgbClr val="808080"/>
          </a:solidFill>
        </p:spPr>
        <p:txBody>
          <a:bodyPr lIns="72000" rIns="72000" rtlCol="0" anchor="t">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Speech Bubble: Rectangle 11">
            <a:extLst>
              <a:ext uri="{FF2B5EF4-FFF2-40B4-BE49-F238E27FC236}">
                <a16:creationId xmlns:a16="http://schemas.microsoft.com/office/drawing/2014/main" id="{F8CE2605-1F9A-4E59-BD7C-FADB54A3347C}"/>
              </a:ext>
            </a:extLst>
          </p:cNvPr>
          <p:cNvSpPr/>
          <p:nvPr/>
        </p:nvSpPr>
        <p:spPr>
          <a:xfrm>
            <a:off x="1485623" y="320295"/>
            <a:ext cx="4837175" cy="422405"/>
          </a:xfrm>
          <a:prstGeom prst="wedgeRectCallout">
            <a:avLst>
              <a:gd name="adj1" fmla="val -33249"/>
              <a:gd name="adj2" fmla="val -68079"/>
            </a:avLst>
          </a:prstGeom>
          <a:solidFill>
            <a:schemeClr val="bg1">
              <a:lumMod val="95000"/>
            </a:schemeClr>
          </a:solidFill>
          <a:ln w="9525">
            <a:solidFill>
              <a:schemeClr val="bg1">
                <a:lumMod val="85000"/>
              </a:schemeClr>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marL="0" indent="0">
              <a:spcBef>
                <a:spcPts val="750"/>
              </a:spcBef>
              <a:buClr>
                <a:schemeClr val="tx2"/>
              </a:buClr>
              <a:buNone/>
            </a:pPr>
            <a:r>
              <a:rPr lang="nl-NL" sz="1000" dirty="0"/>
              <a:t>Je kunt een </a:t>
            </a:r>
            <a:r>
              <a:rPr lang="nl-NL" sz="1000" b="1" dirty="0"/>
              <a:t>tracer</a:t>
            </a:r>
            <a:r>
              <a:rPr lang="nl-NL" sz="1000" dirty="0"/>
              <a:t> (evt. met hyperlink) gebruiken in ingewikkelde documenten, zodat de lezer altijd weet waar in het document deze zich bevindt (kan ook evt. met icoontjes).</a:t>
            </a:r>
          </a:p>
        </p:txBody>
      </p:sp>
      <p:sp>
        <p:nvSpPr>
          <p:cNvPr id="19" name="Speech Bubble: Rectangle 18">
            <a:extLst>
              <a:ext uri="{FF2B5EF4-FFF2-40B4-BE49-F238E27FC236}">
                <a16:creationId xmlns:a16="http://schemas.microsoft.com/office/drawing/2014/main" id="{DF482A99-341A-4B81-A4F1-540046415172}"/>
              </a:ext>
            </a:extLst>
          </p:cNvPr>
          <p:cNvSpPr/>
          <p:nvPr/>
        </p:nvSpPr>
        <p:spPr>
          <a:xfrm>
            <a:off x="986297" y="5921558"/>
            <a:ext cx="5250924" cy="422405"/>
          </a:xfrm>
          <a:prstGeom prst="wedgeRectCallout">
            <a:avLst>
              <a:gd name="adj1" fmla="val -43279"/>
              <a:gd name="adj2" fmla="val 80137"/>
            </a:avLst>
          </a:prstGeom>
          <a:solidFill>
            <a:schemeClr val="bg1">
              <a:lumMod val="95000"/>
            </a:schemeClr>
          </a:solidFill>
          <a:ln w="9525">
            <a:solidFill>
              <a:schemeClr val="bg1">
                <a:lumMod val="85000"/>
              </a:schemeClr>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marL="0" indent="0">
              <a:spcBef>
                <a:spcPts val="750"/>
              </a:spcBef>
              <a:buClr>
                <a:schemeClr val="tx2"/>
              </a:buClr>
              <a:buNone/>
            </a:pPr>
            <a:r>
              <a:rPr lang="nl-NL" sz="1000" dirty="0"/>
              <a:t>Een </a:t>
            </a:r>
            <a:r>
              <a:rPr lang="nl-NL" sz="1000" b="1" dirty="0"/>
              <a:t>voetnoot</a:t>
            </a:r>
            <a:r>
              <a:rPr lang="nl-NL" sz="1000" dirty="0"/>
              <a:t> kan gebruikt worden om extra details toe te lichten, die je wel wil vermelden, maar  niet noodzakelijkerwijs in de hoofdteksten wil verwerken.</a:t>
            </a:r>
          </a:p>
        </p:txBody>
      </p:sp>
      <p:sp>
        <p:nvSpPr>
          <p:cNvPr id="26" name="Speech Bubble: Rectangle 25">
            <a:extLst>
              <a:ext uri="{FF2B5EF4-FFF2-40B4-BE49-F238E27FC236}">
                <a16:creationId xmlns:a16="http://schemas.microsoft.com/office/drawing/2014/main" id="{F791B564-8765-4F7C-BEC8-AC0F341CBC98}"/>
              </a:ext>
            </a:extLst>
          </p:cNvPr>
          <p:cNvSpPr/>
          <p:nvPr/>
        </p:nvSpPr>
        <p:spPr>
          <a:xfrm>
            <a:off x="2322023" y="2203298"/>
            <a:ext cx="3164377" cy="1735585"/>
          </a:xfrm>
          <a:prstGeom prst="wedgeRectCallout">
            <a:avLst>
              <a:gd name="adj1" fmla="val -37191"/>
              <a:gd name="adj2" fmla="val -63467"/>
            </a:avLst>
          </a:prstGeom>
          <a:solidFill>
            <a:schemeClr val="bg1">
              <a:lumMod val="95000"/>
            </a:schemeClr>
          </a:solidFill>
          <a:ln w="9525">
            <a:solidFill>
              <a:schemeClr val="bg1">
                <a:lumMod val="85000"/>
              </a:schemeClr>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spcBef>
                <a:spcPts val="750"/>
              </a:spcBef>
              <a:buClr>
                <a:schemeClr val="tx2"/>
              </a:buClr>
            </a:pPr>
            <a:r>
              <a:rPr lang="nl-NL" sz="1000" dirty="0"/>
              <a:t>Afhankelijk van de gekozen pagina-indeling, kunnen er meerdere</a:t>
            </a:r>
            <a:r>
              <a:rPr lang="nl-NL" sz="1000" b="1" dirty="0"/>
              <a:t> ‘sub-subtitels’ </a:t>
            </a:r>
            <a:r>
              <a:rPr lang="nl-NL" sz="1000" dirty="0"/>
              <a:t>worden getoond.</a:t>
            </a:r>
          </a:p>
          <a:p>
            <a:pPr>
              <a:spcBef>
                <a:spcPts val="750"/>
              </a:spcBef>
              <a:buClr>
                <a:schemeClr val="tx2"/>
              </a:buClr>
            </a:pPr>
            <a:r>
              <a:rPr lang="nl-NL" sz="1000" dirty="0"/>
              <a:t>De sub-subtitel kan als beschrijvend worden gebruikt (bijv. links: kosten in Amsterdam; rechts Rotterdam), maar ook als extra actietitels (bijv. </a:t>
            </a:r>
            <a:r>
              <a:rPr lang="nl-NL" sz="1000" dirty="0" err="1"/>
              <a:t>subconclusies</a:t>
            </a:r>
            <a:r>
              <a:rPr lang="nl-NL" sz="1000" dirty="0"/>
              <a:t> tellen op tot hoofdconclusie van titel pagina).</a:t>
            </a:r>
          </a:p>
          <a:p>
            <a:pPr>
              <a:spcBef>
                <a:spcPts val="750"/>
              </a:spcBef>
              <a:buClr>
                <a:schemeClr val="tx2"/>
              </a:buClr>
            </a:pPr>
            <a:r>
              <a:rPr lang="nl-NL" sz="1000" dirty="0"/>
              <a:t>Het is een vrije keuze of je bij gebruik van beschrijvende </a:t>
            </a:r>
            <a:r>
              <a:rPr lang="nl-NL" sz="1000" dirty="0" err="1"/>
              <a:t>subsubtitels</a:t>
            </a:r>
            <a:r>
              <a:rPr lang="nl-NL" sz="1000" dirty="0"/>
              <a:t> ook nog een ‘algemene’ subtitel toont of deze laat vervallen (het kan ‘dubbel’ zijn).</a:t>
            </a:r>
          </a:p>
        </p:txBody>
      </p:sp>
      <p:sp>
        <p:nvSpPr>
          <p:cNvPr id="24" name="Rectangle 23">
            <a:extLst>
              <a:ext uri="{FF2B5EF4-FFF2-40B4-BE49-F238E27FC236}">
                <a16:creationId xmlns:a16="http://schemas.microsoft.com/office/drawing/2014/main" id="{28D934A3-11A4-45C9-ABA1-74FDC7609E6A}"/>
              </a:ext>
            </a:extLst>
          </p:cNvPr>
          <p:cNvSpPr/>
          <p:nvPr/>
        </p:nvSpPr>
        <p:spPr>
          <a:xfrm>
            <a:off x="936314" y="0"/>
            <a:ext cx="3401346" cy="266699"/>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lIns="72000" rIns="72000" rtlCol="0" anchor="ctr">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lementen van een PowerPoint slide – Opbouw slide</a:t>
            </a:r>
          </a:p>
        </p:txBody>
      </p:sp>
      <p:sp>
        <p:nvSpPr>
          <p:cNvPr id="6" name="Rectangle 5">
            <a:extLst>
              <a:ext uri="{FF2B5EF4-FFF2-40B4-BE49-F238E27FC236}">
                <a16:creationId xmlns:a16="http://schemas.microsoft.com/office/drawing/2014/main" id="{9B712930-DAFE-45AE-AF57-73ECE17A363C}"/>
              </a:ext>
            </a:extLst>
          </p:cNvPr>
          <p:cNvSpPr/>
          <p:nvPr/>
        </p:nvSpPr>
        <p:spPr>
          <a:xfrm>
            <a:off x="10424160" y="1203211"/>
            <a:ext cx="1105061" cy="305456"/>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en-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NDICATIEF</a:t>
            </a:r>
            <a:endPar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27" name="Speech Bubble: Rectangle 26">
            <a:extLst>
              <a:ext uri="{FF2B5EF4-FFF2-40B4-BE49-F238E27FC236}">
                <a16:creationId xmlns:a16="http://schemas.microsoft.com/office/drawing/2014/main" id="{3912F86B-138C-4C23-BAAE-B531CE25E94C}"/>
              </a:ext>
            </a:extLst>
          </p:cNvPr>
          <p:cNvSpPr/>
          <p:nvPr/>
        </p:nvSpPr>
        <p:spPr>
          <a:xfrm>
            <a:off x="8974183" y="2167915"/>
            <a:ext cx="2402637" cy="940496"/>
          </a:xfrm>
          <a:prstGeom prst="wedgeRectCallout">
            <a:avLst>
              <a:gd name="adj1" fmla="val 29355"/>
              <a:gd name="adj2" fmla="val -120206"/>
            </a:avLst>
          </a:prstGeom>
          <a:solidFill>
            <a:schemeClr val="bg1">
              <a:lumMod val="95000"/>
            </a:schemeClr>
          </a:solidFill>
          <a:ln w="9525">
            <a:solidFill>
              <a:schemeClr val="bg1">
                <a:lumMod val="85000"/>
              </a:schemeClr>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spcBef>
                <a:spcPts val="750"/>
              </a:spcBef>
              <a:buClr>
                <a:schemeClr val="tx2"/>
              </a:buClr>
            </a:pPr>
            <a:r>
              <a:rPr lang="nl-NL" sz="1000" dirty="0"/>
              <a:t>Een </a:t>
            </a:r>
            <a:r>
              <a:rPr lang="nl-NL" sz="1000" b="1" dirty="0"/>
              <a:t>disclaimer</a:t>
            </a:r>
            <a:r>
              <a:rPr lang="nl-NL" sz="1000" dirty="0"/>
              <a:t> vertelt de lezer iets over de waarde van de getoonde informatie.</a:t>
            </a:r>
          </a:p>
          <a:p>
            <a:pPr>
              <a:spcBef>
                <a:spcPts val="750"/>
              </a:spcBef>
              <a:buClr>
                <a:schemeClr val="tx2"/>
              </a:buClr>
            </a:pPr>
            <a:r>
              <a:rPr lang="nl-NL" sz="1000" dirty="0"/>
              <a:t>Typisch gebruikte </a:t>
            </a:r>
            <a:r>
              <a:rPr lang="nl-NL" sz="1000" dirty="0" err="1"/>
              <a:t>disclaimers</a:t>
            </a:r>
            <a:r>
              <a:rPr lang="nl-NL" sz="1000" dirty="0"/>
              <a:t> zijn ‘Indicatief’, ‘Concept’ &amp; ‘Conceptueel’1), ‘(In)schatting’.</a:t>
            </a:r>
          </a:p>
        </p:txBody>
      </p:sp>
      <p:sp>
        <p:nvSpPr>
          <p:cNvPr id="30" name="Rectangle 29">
            <a:extLst>
              <a:ext uri="{FF2B5EF4-FFF2-40B4-BE49-F238E27FC236}">
                <a16:creationId xmlns:a16="http://schemas.microsoft.com/office/drawing/2014/main" id="{6DA017DC-412E-4F3C-8E93-F57D6E143865}"/>
              </a:ext>
            </a:extLst>
          </p:cNvPr>
          <p:cNvSpPr/>
          <p:nvPr/>
        </p:nvSpPr>
        <p:spPr>
          <a:xfrm>
            <a:off x="5404340" y="0"/>
            <a:ext cx="1383321" cy="230556"/>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ERTROUWELIJK</a:t>
            </a:r>
          </a:p>
        </p:txBody>
      </p:sp>
      <p:sp>
        <p:nvSpPr>
          <p:cNvPr id="31" name="Speech Bubble: Rectangle 30">
            <a:extLst>
              <a:ext uri="{FF2B5EF4-FFF2-40B4-BE49-F238E27FC236}">
                <a16:creationId xmlns:a16="http://schemas.microsoft.com/office/drawing/2014/main" id="{8FBEDD5B-D67E-4DB9-B14B-97C78E9F1171}"/>
              </a:ext>
            </a:extLst>
          </p:cNvPr>
          <p:cNvSpPr/>
          <p:nvPr/>
        </p:nvSpPr>
        <p:spPr>
          <a:xfrm>
            <a:off x="6969546" y="96514"/>
            <a:ext cx="4837175" cy="422405"/>
          </a:xfrm>
          <a:prstGeom prst="wedgeRectCallout">
            <a:avLst>
              <a:gd name="adj1" fmla="val -52743"/>
              <a:gd name="adj2" fmla="val -43275"/>
            </a:avLst>
          </a:prstGeom>
          <a:solidFill>
            <a:schemeClr val="bg1">
              <a:lumMod val="95000"/>
            </a:schemeClr>
          </a:solidFill>
          <a:ln w="9525">
            <a:solidFill>
              <a:schemeClr val="bg1">
                <a:lumMod val="85000"/>
              </a:schemeClr>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marL="0" indent="0">
              <a:spcBef>
                <a:spcPts val="750"/>
              </a:spcBef>
              <a:buClr>
                <a:schemeClr val="tx2"/>
              </a:buClr>
              <a:buNone/>
            </a:pPr>
            <a:r>
              <a:rPr lang="nl-NL" sz="1000" dirty="0"/>
              <a:t>In sommige documenten is het wenselijk om op íedere pagina te vermelden dat het </a:t>
            </a:r>
            <a:r>
              <a:rPr lang="nl-NL" sz="1000" b="1" dirty="0"/>
              <a:t>vertrouwelijk</a:t>
            </a:r>
            <a:r>
              <a:rPr lang="nl-NL" sz="1000" dirty="0"/>
              <a:t> is. Voeg dan een </a:t>
            </a:r>
            <a:r>
              <a:rPr lang="nl-NL" sz="1000" dirty="0" err="1"/>
              <a:t>tekstbox</a:t>
            </a:r>
            <a:r>
              <a:rPr lang="nl-NL" sz="1000" dirty="0"/>
              <a:t> toe in de slide master.</a:t>
            </a:r>
          </a:p>
        </p:txBody>
      </p:sp>
    </p:spTree>
    <p:extLst>
      <p:ext uri="{BB962C8B-B14F-4D97-AF65-F5344CB8AC3E}">
        <p14:creationId xmlns:p14="http://schemas.microsoft.com/office/powerpoint/2010/main" val="17784084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8D29B0-9171-4FA9-8E0F-68D1BF6344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4E8D29B0-9171-4FA9-8E0F-68D1BF6344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BF7D79BF-713C-46E9-9A0A-8176C328C13E}"/>
              </a:ext>
            </a:extLst>
          </p:cNvPr>
          <p:cNvSpPr>
            <a:spLocks noGrp="1"/>
          </p:cNvSpPr>
          <p:nvPr>
            <p:ph type="body" sz="quarter" idx="20"/>
          </p:nvPr>
        </p:nvSpPr>
        <p:spPr/>
        <p:txBody>
          <a:bodyPr/>
          <a:lstStyle/>
          <a:p>
            <a:endParaRPr lang="nl-NL"/>
          </a:p>
        </p:txBody>
      </p:sp>
      <p:sp>
        <p:nvSpPr>
          <p:cNvPr id="20" name="Footer Placeholder 4">
            <a:extLst>
              <a:ext uri="{FF2B5EF4-FFF2-40B4-BE49-F238E27FC236}">
                <a16:creationId xmlns:a16="http://schemas.microsoft.com/office/drawing/2014/main" id="{F57274A0-1FC7-4C5D-A705-7EFFD9A73E39}"/>
              </a:ext>
            </a:extLst>
          </p:cNvPr>
          <p:cNvSpPr>
            <a:spLocks noGrp="1"/>
          </p:cNvSpPr>
          <p:nvPr>
            <p:ph type="ftr" sz="quarter" idx="3"/>
          </p:nvPr>
        </p:nvSpPr>
        <p:spPr/>
        <p:txBody>
          <a:bodyPr/>
          <a:lstStyle/>
          <a:p>
            <a:r>
              <a:rPr lang="nl-NL" dirty="0"/>
              <a:t>Bron: It’s Public PowerPoint template</a:t>
            </a:r>
          </a:p>
        </p:txBody>
      </p:sp>
      <p:sp>
        <p:nvSpPr>
          <p:cNvPr id="4" name="Slide Number Placeholder 3">
            <a:extLst>
              <a:ext uri="{FF2B5EF4-FFF2-40B4-BE49-F238E27FC236}">
                <a16:creationId xmlns:a16="http://schemas.microsoft.com/office/drawing/2014/main" id="{ED27DC26-5133-43D9-937E-9C7C21E00500}"/>
              </a:ext>
            </a:extLst>
          </p:cNvPr>
          <p:cNvSpPr>
            <a:spLocks noGrp="1"/>
          </p:cNvSpPr>
          <p:nvPr>
            <p:ph type="sldNum" sz="quarter" idx="12"/>
          </p:nvPr>
        </p:nvSpPr>
        <p:spPr/>
        <p:txBody>
          <a:bodyPr/>
          <a:lstStyle/>
          <a:p>
            <a:fld id="{992CD0B2-8AB2-4C6C-8876-E15753662C9B}" type="slidenum">
              <a:rPr lang="nl-NL" noProof="0" smtClean="0">
                <a:solidFill>
                  <a:srgbClr val="000000"/>
                </a:solidFill>
              </a:rPr>
              <a:pPr/>
              <a:t>7</a:t>
            </a:fld>
            <a:endParaRPr lang="nl-NL" noProof="0" dirty="0">
              <a:solidFill>
                <a:srgbClr val="000000"/>
              </a:solidFill>
            </a:endParaRPr>
          </a:p>
        </p:txBody>
      </p:sp>
      <p:sp>
        <p:nvSpPr>
          <p:cNvPr id="7" name="Text Placeholder 6">
            <a:extLst>
              <a:ext uri="{FF2B5EF4-FFF2-40B4-BE49-F238E27FC236}">
                <a16:creationId xmlns:a16="http://schemas.microsoft.com/office/drawing/2014/main" id="{6F59E965-E39A-4B35-B0F9-EC58B3AEEE21}"/>
              </a:ext>
            </a:extLst>
          </p:cNvPr>
          <p:cNvSpPr>
            <a:spLocks noGrp="1"/>
          </p:cNvSpPr>
          <p:nvPr>
            <p:ph type="body" sz="quarter" idx="14"/>
          </p:nvPr>
        </p:nvSpPr>
        <p:spPr/>
        <p:txBody>
          <a:bodyPr/>
          <a:lstStyle/>
          <a:p>
            <a:r>
              <a:rPr lang="nl-NL" dirty="0">
                <a:solidFill>
                  <a:srgbClr val="000000"/>
                </a:solidFill>
              </a:rPr>
              <a:t>Voorbeelden van standaard </a:t>
            </a:r>
            <a:r>
              <a:rPr lang="nl-NL" dirty="0" err="1">
                <a:solidFill>
                  <a:srgbClr val="000000"/>
                </a:solidFill>
              </a:rPr>
              <a:t>layouts</a:t>
            </a:r>
            <a:r>
              <a:rPr lang="nl-NL" dirty="0">
                <a:solidFill>
                  <a:srgbClr val="000000"/>
                </a:solidFill>
              </a:rPr>
              <a:t> van slides uit It’s Public template</a:t>
            </a:r>
          </a:p>
        </p:txBody>
      </p:sp>
      <p:sp>
        <p:nvSpPr>
          <p:cNvPr id="3" name="Title 2">
            <a:extLst>
              <a:ext uri="{FF2B5EF4-FFF2-40B4-BE49-F238E27FC236}">
                <a16:creationId xmlns:a16="http://schemas.microsoft.com/office/drawing/2014/main" id="{E6D25686-E7EB-4B65-8F44-916DB39A6D95}"/>
              </a:ext>
            </a:extLst>
          </p:cNvPr>
          <p:cNvSpPr>
            <a:spLocks noGrp="1"/>
          </p:cNvSpPr>
          <p:nvPr>
            <p:ph type="title"/>
          </p:nvPr>
        </p:nvSpPr>
        <p:spPr/>
        <p:txBody>
          <a:bodyPr vert="horz" lIns="36000" tIns="36000" rIns="36000" bIns="36000" rtlCol="0" anchor="b">
            <a:noAutofit/>
          </a:bodyPr>
          <a:lstStyle/>
          <a:p>
            <a:r>
              <a:rPr lang="nl-NL" dirty="0"/>
              <a:t>Er zijn verschillende standaard </a:t>
            </a:r>
            <a:r>
              <a:rPr lang="nl-NL" dirty="0" err="1"/>
              <a:t>layouts</a:t>
            </a:r>
            <a:r>
              <a:rPr lang="nl-NL" dirty="0"/>
              <a:t> waar je uit kunt kiezen</a:t>
            </a:r>
          </a:p>
        </p:txBody>
      </p:sp>
      <p:sp>
        <p:nvSpPr>
          <p:cNvPr id="10" name="Rectangle 9">
            <a:extLst>
              <a:ext uri="{FF2B5EF4-FFF2-40B4-BE49-F238E27FC236}">
                <a16:creationId xmlns:a16="http://schemas.microsoft.com/office/drawing/2014/main" id="{98D754F6-1E41-4E1F-A0AA-577EC38AFA18}"/>
              </a:ext>
            </a:extLst>
          </p:cNvPr>
          <p:cNvSpPr/>
          <p:nvPr/>
        </p:nvSpPr>
        <p:spPr>
          <a:xfrm>
            <a:off x="936314" y="0"/>
            <a:ext cx="3026086" cy="266699"/>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lIns="72000" rIns="72000" rtlCol="0" anchor="ctr">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lementen van een PowerPoint slide – Opbouw slide</a:t>
            </a:r>
          </a:p>
        </p:txBody>
      </p:sp>
      <p:sp>
        <p:nvSpPr>
          <p:cNvPr id="11" name="Rectangle 10">
            <a:extLst>
              <a:ext uri="{FF2B5EF4-FFF2-40B4-BE49-F238E27FC236}">
                <a16:creationId xmlns:a16="http://schemas.microsoft.com/office/drawing/2014/main" id="{EC128892-D641-490A-B914-C746434A573C}"/>
              </a:ext>
            </a:extLst>
          </p:cNvPr>
          <p:cNvSpPr/>
          <p:nvPr/>
        </p:nvSpPr>
        <p:spPr>
          <a:xfrm>
            <a:off x="658814" y="0"/>
            <a:ext cx="277500" cy="257175"/>
          </a:xfrm>
          <a:prstGeom prst="rect">
            <a:avLst/>
          </a:prstGeom>
          <a:solidFill>
            <a:srgbClr val="808080"/>
          </a:solidFill>
        </p:spPr>
        <p:txBody>
          <a:bodyPr lIns="72000" rIns="72000" rtlCol="0" anchor="t">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pic>
        <p:nvPicPr>
          <p:cNvPr id="6" name="Picture 5">
            <a:extLst>
              <a:ext uri="{FF2B5EF4-FFF2-40B4-BE49-F238E27FC236}">
                <a16:creationId xmlns:a16="http://schemas.microsoft.com/office/drawing/2014/main" id="{4B85D284-0811-4CBF-9265-771C88AF9D97}"/>
              </a:ext>
            </a:extLst>
          </p:cNvPr>
          <p:cNvPicPr>
            <a:picLocks noChangeAspect="1"/>
          </p:cNvPicPr>
          <p:nvPr/>
        </p:nvPicPr>
        <p:blipFill>
          <a:blip r:embed="rId5"/>
          <a:srcRect/>
          <a:stretch/>
        </p:blipFill>
        <p:spPr>
          <a:xfrm>
            <a:off x="1448673" y="1823750"/>
            <a:ext cx="4574355" cy="4299894"/>
          </a:xfrm>
          <a:prstGeom prst="rect">
            <a:avLst/>
          </a:prstGeom>
          <a:ln w="9525">
            <a:solidFill>
              <a:schemeClr val="tx1"/>
            </a:solidFill>
          </a:ln>
        </p:spPr>
      </p:pic>
    </p:spTree>
    <p:extLst>
      <p:ext uri="{BB962C8B-B14F-4D97-AF65-F5344CB8AC3E}">
        <p14:creationId xmlns:p14="http://schemas.microsoft.com/office/powerpoint/2010/main" val="17765173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58BC3E1-E4C8-4445-A4E8-485E59AD64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9" name="Object 8" hidden="1">
                        <a:extLst>
                          <a:ext uri="{FF2B5EF4-FFF2-40B4-BE49-F238E27FC236}">
                            <a16:creationId xmlns:a16="http://schemas.microsoft.com/office/drawing/2014/main" id="{E58BC3E1-E4C8-4445-A4E8-485E59AD64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39E4D3F3-C82D-4F3C-B704-E478BF2E48CC}"/>
              </a:ext>
            </a:extLst>
          </p:cNvPr>
          <p:cNvSpPr>
            <a:spLocks noGrp="1"/>
          </p:cNvSpPr>
          <p:nvPr>
            <p:ph type="body" sz="quarter" idx="20"/>
          </p:nvPr>
        </p:nvSpPr>
        <p:spPr/>
        <p:txBody>
          <a:bodyPr/>
          <a:lstStyle/>
          <a:p>
            <a:endParaRPr lang="nl-NL"/>
          </a:p>
        </p:txBody>
      </p:sp>
      <p:sp>
        <p:nvSpPr>
          <p:cNvPr id="4" name="Footer Placeholder 3">
            <a:extLst>
              <a:ext uri="{FF2B5EF4-FFF2-40B4-BE49-F238E27FC236}">
                <a16:creationId xmlns:a16="http://schemas.microsoft.com/office/drawing/2014/main" id="{753BBEEA-B286-4FCE-863E-5B21B04D573D}"/>
              </a:ext>
            </a:extLst>
          </p:cNvPr>
          <p:cNvSpPr>
            <a:spLocks noGrp="1"/>
          </p:cNvSpPr>
          <p:nvPr>
            <p:ph type="ftr" sz="quarter" idx="3"/>
          </p:nvPr>
        </p:nvSpPr>
        <p:spPr/>
        <p:txBody>
          <a:bodyPr/>
          <a:lstStyle/>
          <a:p>
            <a:r>
              <a:rPr lang="nl-NL" noProof="0"/>
              <a:t>Bron: </a:t>
            </a:r>
          </a:p>
        </p:txBody>
      </p:sp>
      <p:sp>
        <p:nvSpPr>
          <p:cNvPr id="5" name="Slide Number Placeholder 4">
            <a:extLst>
              <a:ext uri="{FF2B5EF4-FFF2-40B4-BE49-F238E27FC236}">
                <a16:creationId xmlns:a16="http://schemas.microsoft.com/office/drawing/2014/main" id="{72E55C8D-9F4F-42A6-BD5E-517BA7DE1C8F}"/>
              </a:ext>
            </a:extLst>
          </p:cNvPr>
          <p:cNvSpPr>
            <a:spLocks noGrp="1"/>
          </p:cNvSpPr>
          <p:nvPr>
            <p:ph type="sldNum" sz="quarter" idx="12"/>
          </p:nvPr>
        </p:nvSpPr>
        <p:spPr/>
        <p:txBody>
          <a:bodyPr/>
          <a:lstStyle/>
          <a:p>
            <a:fld id="{992CD0B2-8AB2-4C6C-8876-E15753662C9B}" type="slidenum">
              <a:rPr lang="nl-NL" noProof="0" smtClean="0"/>
              <a:pPr/>
              <a:t>8</a:t>
            </a:fld>
            <a:endParaRPr lang="nl-NL" noProof="0"/>
          </a:p>
        </p:txBody>
      </p:sp>
      <p:sp>
        <p:nvSpPr>
          <p:cNvPr id="6" name="Text Placeholder 5">
            <a:extLst>
              <a:ext uri="{FF2B5EF4-FFF2-40B4-BE49-F238E27FC236}">
                <a16:creationId xmlns:a16="http://schemas.microsoft.com/office/drawing/2014/main" id="{966D363A-80B5-4A1D-A346-A54D8E54D5AE}"/>
              </a:ext>
            </a:extLst>
          </p:cNvPr>
          <p:cNvSpPr>
            <a:spLocks noGrp="1"/>
          </p:cNvSpPr>
          <p:nvPr>
            <p:ph type="body" sz="quarter" idx="14"/>
          </p:nvPr>
        </p:nvSpPr>
        <p:spPr/>
        <p:txBody>
          <a:bodyPr/>
          <a:lstStyle/>
          <a:p>
            <a:endParaRPr lang="nl-NL"/>
          </a:p>
        </p:txBody>
      </p:sp>
      <p:sp>
        <p:nvSpPr>
          <p:cNvPr id="7" name="Title 6">
            <a:extLst>
              <a:ext uri="{FF2B5EF4-FFF2-40B4-BE49-F238E27FC236}">
                <a16:creationId xmlns:a16="http://schemas.microsoft.com/office/drawing/2014/main" id="{9E12ABA4-5A27-40A6-91ED-31D3AD0BC8D9}"/>
              </a:ext>
            </a:extLst>
          </p:cNvPr>
          <p:cNvSpPr>
            <a:spLocks noGrp="1"/>
          </p:cNvSpPr>
          <p:nvPr>
            <p:ph type="title"/>
          </p:nvPr>
        </p:nvSpPr>
        <p:spPr/>
        <p:txBody>
          <a:bodyPr vert="horz"/>
          <a:lstStyle/>
          <a:p>
            <a:r>
              <a:rPr lang="nl-NL" dirty="0"/>
              <a:t>Blijf bij het maken van een slide binnen de rasterlijnen</a:t>
            </a:r>
          </a:p>
        </p:txBody>
      </p:sp>
      <p:sp>
        <p:nvSpPr>
          <p:cNvPr id="10" name="Rectangle 9">
            <a:extLst>
              <a:ext uri="{FF2B5EF4-FFF2-40B4-BE49-F238E27FC236}">
                <a16:creationId xmlns:a16="http://schemas.microsoft.com/office/drawing/2014/main" id="{8E9EDC3F-7DEA-4E18-BE4D-A80EFDB3B623}"/>
              </a:ext>
            </a:extLst>
          </p:cNvPr>
          <p:cNvSpPr/>
          <p:nvPr/>
        </p:nvSpPr>
        <p:spPr>
          <a:xfrm>
            <a:off x="936313" y="0"/>
            <a:ext cx="3962857" cy="266699"/>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lIns="72000" rIns="72000" rtlCol="0" anchor="ctr">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lementen van een PowerPoint slide – Rasterlijnen</a:t>
            </a:r>
          </a:p>
        </p:txBody>
      </p:sp>
      <p:sp>
        <p:nvSpPr>
          <p:cNvPr id="11" name="Rectangle 10">
            <a:extLst>
              <a:ext uri="{FF2B5EF4-FFF2-40B4-BE49-F238E27FC236}">
                <a16:creationId xmlns:a16="http://schemas.microsoft.com/office/drawing/2014/main" id="{BE6200AA-40DD-4F8B-81AB-7E07B7703E23}"/>
              </a:ext>
            </a:extLst>
          </p:cNvPr>
          <p:cNvSpPr/>
          <p:nvPr/>
        </p:nvSpPr>
        <p:spPr>
          <a:xfrm>
            <a:off x="658814" y="0"/>
            <a:ext cx="277500" cy="257175"/>
          </a:xfrm>
          <a:prstGeom prst="rect">
            <a:avLst/>
          </a:prstGeom>
          <a:solidFill>
            <a:srgbClr val="808080"/>
          </a:solidFill>
        </p:spPr>
        <p:txBody>
          <a:bodyPr lIns="72000" rIns="72000" rtlCol="0" anchor="t">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pic>
        <p:nvPicPr>
          <p:cNvPr id="19" name="Picture 18">
            <a:extLst>
              <a:ext uri="{FF2B5EF4-FFF2-40B4-BE49-F238E27FC236}">
                <a16:creationId xmlns:a16="http://schemas.microsoft.com/office/drawing/2014/main" id="{FE483A48-BD07-4775-B94A-EC52A31E7F13}"/>
              </a:ext>
            </a:extLst>
          </p:cNvPr>
          <p:cNvPicPr>
            <a:picLocks noChangeAspect="1"/>
          </p:cNvPicPr>
          <p:nvPr/>
        </p:nvPicPr>
        <p:blipFill>
          <a:blip r:embed="rId5"/>
          <a:stretch>
            <a:fillRect/>
          </a:stretch>
        </p:blipFill>
        <p:spPr>
          <a:xfrm>
            <a:off x="936313" y="1869697"/>
            <a:ext cx="7291128" cy="4106266"/>
          </a:xfrm>
          <a:prstGeom prst="rect">
            <a:avLst/>
          </a:prstGeom>
          <a:ln>
            <a:solidFill>
              <a:schemeClr val="bg1">
                <a:lumMod val="95000"/>
              </a:schemeClr>
            </a:solidFill>
          </a:ln>
        </p:spPr>
      </p:pic>
      <p:sp>
        <p:nvSpPr>
          <p:cNvPr id="15" name="Speech Bubble: Rectangle 14">
            <a:extLst>
              <a:ext uri="{FF2B5EF4-FFF2-40B4-BE49-F238E27FC236}">
                <a16:creationId xmlns:a16="http://schemas.microsoft.com/office/drawing/2014/main" id="{41D67EF6-A2E6-41F2-9870-77BDA2C6FF47}"/>
              </a:ext>
            </a:extLst>
          </p:cNvPr>
          <p:cNvSpPr/>
          <p:nvPr/>
        </p:nvSpPr>
        <p:spPr>
          <a:xfrm>
            <a:off x="8586807" y="2591314"/>
            <a:ext cx="2402637" cy="940496"/>
          </a:xfrm>
          <a:prstGeom prst="wedgeRectCallout">
            <a:avLst>
              <a:gd name="adj1" fmla="val -69583"/>
              <a:gd name="adj2" fmla="val -23817"/>
            </a:avLst>
          </a:prstGeom>
          <a:solidFill>
            <a:schemeClr val="bg1">
              <a:lumMod val="95000"/>
            </a:schemeClr>
          </a:solidFill>
          <a:ln w="9525">
            <a:solidFill>
              <a:schemeClr val="bg1">
                <a:lumMod val="85000"/>
              </a:schemeClr>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spcBef>
                <a:spcPts val="750"/>
              </a:spcBef>
              <a:buClr>
                <a:schemeClr val="tx2"/>
              </a:buClr>
            </a:pPr>
            <a:r>
              <a:rPr lang="nl-NL" sz="1000" dirty="0"/>
              <a:t>In principe mag er helemaal geen inhoud buiten de oranje rasterlijnen staan.</a:t>
            </a:r>
          </a:p>
          <a:p>
            <a:pPr>
              <a:spcBef>
                <a:spcPts val="750"/>
              </a:spcBef>
              <a:buClr>
                <a:schemeClr val="tx2"/>
              </a:buClr>
            </a:pPr>
            <a:r>
              <a:rPr lang="nl-NL" sz="1000" dirty="0"/>
              <a:t>Je zet de rasterlijnen aan bij View </a:t>
            </a:r>
            <a:r>
              <a:rPr lang="nl-NL" sz="1000" dirty="0">
                <a:sym typeface="Wingdings" panose="05000000000000000000" pitchFamily="2" charset="2"/>
              </a:rPr>
              <a:t> Guides</a:t>
            </a:r>
            <a:r>
              <a:rPr lang="nl-NL" sz="1000" dirty="0"/>
              <a:t>.</a:t>
            </a:r>
          </a:p>
        </p:txBody>
      </p:sp>
    </p:spTree>
    <p:extLst>
      <p:ext uri="{BB962C8B-B14F-4D97-AF65-F5344CB8AC3E}">
        <p14:creationId xmlns:p14="http://schemas.microsoft.com/office/powerpoint/2010/main" val="23989249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21E5C0-019E-4623-BA41-BE4D787C78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3B21E5C0-019E-4623-BA41-BE4D787C78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51870D6-C080-49DC-8888-8FF495AF5503}"/>
              </a:ext>
            </a:extLst>
          </p:cNvPr>
          <p:cNvSpPr>
            <a:spLocks noGrp="1"/>
          </p:cNvSpPr>
          <p:nvPr>
            <p:ph type="body" sz="quarter" idx="34"/>
          </p:nvPr>
        </p:nvSpPr>
        <p:spPr/>
        <p:txBody>
          <a:bodyPr/>
          <a:lstStyle/>
          <a:p>
            <a:r>
              <a:rPr lang="nl-NL" dirty="0">
                <a:solidFill>
                  <a:srgbClr val="000000"/>
                </a:solidFill>
              </a:rPr>
              <a:t>Gebruik voldoende witruimte op je slides</a:t>
            </a:r>
            <a:endParaRPr lang="en-GB" dirty="0">
              <a:solidFill>
                <a:srgbClr val="000000"/>
              </a:solidFill>
            </a:endParaRPr>
          </a:p>
        </p:txBody>
      </p:sp>
      <p:sp>
        <p:nvSpPr>
          <p:cNvPr id="16" name="Text Placeholder 15">
            <a:extLst>
              <a:ext uri="{FF2B5EF4-FFF2-40B4-BE49-F238E27FC236}">
                <a16:creationId xmlns:a16="http://schemas.microsoft.com/office/drawing/2014/main" id="{BD800FE6-3730-4BBE-AF75-CAA2F1C88354}"/>
              </a:ext>
            </a:extLst>
          </p:cNvPr>
          <p:cNvSpPr>
            <a:spLocks noGrp="1"/>
          </p:cNvSpPr>
          <p:nvPr>
            <p:ph type="body" sz="quarter" idx="30"/>
          </p:nvPr>
        </p:nvSpPr>
        <p:spPr/>
        <p:txBody>
          <a:bodyPr/>
          <a:lstStyle/>
          <a:p>
            <a:r>
              <a:rPr lang="nl-NL" dirty="0">
                <a:solidFill>
                  <a:srgbClr val="000000"/>
                </a:solidFill>
              </a:rPr>
              <a:t>Kies de juiste opzet (bijv. “uitleg links/</a:t>
            </a:r>
            <a:r>
              <a:rPr lang="nl-NL" dirty="0" err="1">
                <a:solidFill>
                  <a:srgbClr val="000000"/>
                </a:solidFill>
              </a:rPr>
              <a:t>exhibit</a:t>
            </a:r>
            <a:r>
              <a:rPr lang="nl-NL" dirty="0">
                <a:solidFill>
                  <a:srgbClr val="000000"/>
                </a:solidFill>
              </a:rPr>
              <a:t> rechts” of </a:t>
            </a:r>
            <a:r>
              <a:rPr lang="nl-NL" dirty="0" err="1">
                <a:solidFill>
                  <a:srgbClr val="000000"/>
                </a:solidFill>
              </a:rPr>
              <a:t>vice</a:t>
            </a:r>
            <a:r>
              <a:rPr lang="nl-NL" dirty="0">
                <a:solidFill>
                  <a:srgbClr val="000000"/>
                </a:solidFill>
              </a:rPr>
              <a:t>-versa?)</a:t>
            </a:r>
            <a:endParaRPr lang="en-GB" dirty="0">
              <a:solidFill>
                <a:srgbClr val="000000"/>
              </a:solidFill>
            </a:endParaRPr>
          </a:p>
        </p:txBody>
      </p:sp>
      <p:sp>
        <p:nvSpPr>
          <p:cNvPr id="8" name="Footer Placeholder 7">
            <a:extLst>
              <a:ext uri="{FF2B5EF4-FFF2-40B4-BE49-F238E27FC236}">
                <a16:creationId xmlns:a16="http://schemas.microsoft.com/office/drawing/2014/main" id="{47B429B5-F59C-48A2-B881-42472E8B685D}"/>
              </a:ext>
            </a:extLst>
          </p:cNvPr>
          <p:cNvSpPr>
            <a:spLocks noGrp="1"/>
          </p:cNvSpPr>
          <p:nvPr>
            <p:ph type="ftr" sz="quarter" idx="3"/>
          </p:nvPr>
        </p:nvSpPr>
        <p:spPr/>
        <p:txBody>
          <a:bodyPr/>
          <a:lstStyle/>
          <a:p>
            <a:r>
              <a:rPr lang="en-GB"/>
              <a:t>Bron: </a:t>
            </a:r>
            <a:endParaRPr lang="en-GB" dirty="0"/>
          </a:p>
        </p:txBody>
      </p:sp>
      <p:sp>
        <p:nvSpPr>
          <p:cNvPr id="7" name="Slide Number Placeholder 6">
            <a:extLst>
              <a:ext uri="{FF2B5EF4-FFF2-40B4-BE49-F238E27FC236}">
                <a16:creationId xmlns:a16="http://schemas.microsoft.com/office/drawing/2014/main" id="{2F58CDE7-9B9F-4200-9B62-31706FCF55D8}"/>
              </a:ext>
            </a:extLst>
          </p:cNvPr>
          <p:cNvSpPr>
            <a:spLocks noGrp="1"/>
          </p:cNvSpPr>
          <p:nvPr>
            <p:ph type="sldNum" sz="quarter" idx="12"/>
          </p:nvPr>
        </p:nvSpPr>
        <p:spPr/>
        <p:txBody>
          <a:bodyPr/>
          <a:lstStyle/>
          <a:p>
            <a:fld id="{992CD0B2-8AB2-4C6C-8876-E15753662C9B}" type="slidenum">
              <a:rPr lang="nl-NL" noProof="0" smtClean="0"/>
              <a:pPr/>
              <a:t>9</a:t>
            </a:fld>
            <a:endParaRPr lang="nl-NL" noProof="0" dirty="0"/>
          </a:p>
        </p:txBody>
      </p:sp>
      <p:sp>
        <p:nvSpPr>
          <p:cNvPr id="13" name="Text Placeholder 12">
            <a:extLst>
              <a:ext uri="{FF2B5EF4-FFF2-40B4-BE49-F238E27FC236}">
                <a16:creationId xmlns:a16="http://schemas.microsoft.com/office/drawing/2014/main" id="{26FDEE3E-E249-4D6B-B5E7-5B7D01B16B7B}"/>
              </a:ext>
            </a:extLst>
          </p:cNvPr>
          <p:cNvSpPr>
            <a:spLocks noGrp="1"/>
          </p:cNvSpPr>
          <p:nvPr>
            <p:ph type="body" sz="quarter" idx="14"/>
          </p:nvPr>
        </p:nvSpPr>
        <p:spPr/>
        <p:txBody>
          <a:bodyPr/>
          <a:lstStyle/>
          <a:p>
            <a:r>
              <a:rPr lang="nl-NL" dirty="0">
                <a:solidFill>
                  <a:srgbClr val="000000"/>
                </a:solidFill>
              </a:rPr>
              <a:t>Voorbeelden van slide-compositie </a:t>
            </a:r>
            <a:endParaRPr lang="en-GB" dirty="0">
              <a:solidFill>
                <a:srgbClr val="000000"/>
              </a:solidFill>
            </a:endParaRPr>
          </a:p>
        </p:txBody>
      </p:sp>
      <p:sp>
        <p:nvSpPr>
          <p:cNvPr id="6" name="Title 5">
            <a:extLst>
              <a:ext uri="{FF2B5EF4-FFF2-40B4-BE49-F238E27FC236}">
                <a16:creationId xmlns:a16="http://schemas.microsoft.com/office/drawing/2014/main" id="{EFD25BAC-442A-4DE8-A8D4-ABDAB5E81C5B}"/>
              </a:ext>
            </a:extLst>
          </p:cNvPr>
          <p:cNvSpPr>
            <a:spLocks noGrp="1"/>
          </p:cNvSpPr>
          <p:nvPr>
            <p:ph type="title"/>
          </p:nvPr>
        </p:nvSpPr>
        <p:spPr/>
        <p:txBody>
          <a:bodyPr vert="horz"/>
          <a:lstStyle/>
          <a:p>
            <a:r>
              <a:rPr lang="nl-NL" dirty="0"/>
              <a:t>Denk goed na over de compositie van je slide</a:t>
            </a:r>
            <a:endParaRPr lang="en-GB" dirty="0"/>
          </a:p>
        </p:txBody>
      </p:sp>
      <p:sp>
        <p:nvSpPr>
          <p:cNvPr id="22" name="Rectangle 21">
            <a:extLst>
              <a:ext uri="{FF2B5EF4-FFF2-40B4-BE49-F238E27FC236}">
                <a16:creationId xmlns:a16="http://schemas.microsoft.com/office/drawing/2014/main" id="{B61BAF43-158D-4696-9D75-7FAC271A82CA}"/>
              </a:ext>
            </a:extLst>
          </p:cNvPr>
          <p:cNvSpPr/>
          <p:nvPr/>
        </p:nvSpPr>
        <p:spPr>
          <a:xfrm>
            <a:off x="936314" y="0"/>
            <a:ext cx="3026086" cy="266699"/>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lIns="72000" rIns="72000" rtlCol="0" anchor="ctr">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lementen van een PowerPoint slide – Opbouw slide</a:t>
            </a:r>
          </a:p>
        </p:txBody>
      </p:sp>
      <p:sp>
        <p:nvSpPr>
          <p:cNvPr id="23" name="Rectangle 22">
            <a:extLst>
              <a:ext uri="{FF2B5EF4-FFF2-40B4-BE49-F238E27FC236}">
                <a16:creationId xmlns:a16="http://schemas.microsoft.com/office/drawing/2014/main" id="{78DE50DA-59E3-404B-A320-18FE248DE19C}"/>
              </a:ext>
            </a:extLst>
          </p:cNvPr>
          <p:cNvSpPr/>
          <p:nvPr/>
        </p:nvSpPr>
        <p:spPr>
          <a:xfrm>
            <a:off x="658814" y="0"/>
            <a:ext cx="277500" cy="257175"/>
          </a:xfrm>
          <a:prstGeom prst="rect">
            <a:avLst/>
          </a:prstGeom>
          <a:solidFill>
            <a:srgbClr val="808080"/>
          </a:solidFill>
        </p:spPr>
        <p:txBody>
          <a:bodyPr lIns="72000" rIns="72000" rtlCol="0" anchor="t">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pic>
        <p:nvPicPr>
          <p:cNvPr id="12" name="Picture 11">
            <a:extLst>
              <a:ext uri="{FF2B5EF4-FFF2-40B4-BE49-F238E27FC236}">
                <a16:creationId xmlns:a16="http://schemas.microsoft.com/office/drawing/2014/main" id="{1556605F-C7EE-44BA-8708-243935D10AAC}"/>
              </a:ext>
            </a:extLst>
          </p:cNvPr>
          <p:cNvPicPr>
            <a:picLocks noChangeAspect="1"/>
          </p:cNvPicPr>
          <p:nvPr/>
        </p:nvPicPr>
        <p:blipFill>
          <a:blip r:embed="rId5"/>
          <a:stretch>
            <a:fillRect/>
          </a:stretch>
        </p:blipFill>
        <p:spPr>
          <a:xfrm>
            <a:off x="936314" y="2244868"/>
            <a:ext cx="3960000" cy="2227933"/>
          </a:xfrm>
          <a:prstGeom prst="rect">
            <a:avLst/>
          </a:prstGeom>
          <a:ln>
            <a:solidFill>
              <a:schemeClr val="bg1">
                <a:lumMod val="50000"/>
              </a:schemeClr>
            </a:solidFill>
          </a:ln>
        </p:spPr>
      </p:pic>
      <p:pic>
        <p:nvPicPr>
          <p:cNvPr id="15" name="Picture 14">
            <a:extLst>
              <a:ext uri="{FF2B5EF4-FFF2-40B4-BE49-F238E27FC236}">
                <a16:creationId xmlns:a16="http://schemas.microsoft.com/office/drawing/2014/main" id="{5667781C-7BE9-452B-9EAE-1673646E92B2}"/>
              </a:ext>
            </a:extLst>
          </p:cNvPr>
          <p:cNvPicPr>
            <a:picLocks noChangeAspect="1"/>
          </p:cNvPicPr>
          <p:nvPr/>
        </p:nvPicPr>
        <p:blipFill>
          <a:blip r:embed="rId6"/>
          <a:stretch>
            <a:fillRect/>
          </a:stretch>
        </p:blipFill>
        <p:spPr>
          <a:xfrm>
            <a:off x="1414505" y="3852717"/>
            <a:ext cx="3960000" cy="2227933"/>
          </a:xfrm>
          <a:prstGeom prst="rect">
            <a:avLst/>
          </a:prstGeom>
          <a:ln>
            <a:solidFill>
              <a:schemeClr val="bg1">
                <a:lumMod val="50000"/>
              </a:schemeClr>
            </a:solidFill>
          </a:ln>
        </p:spPr>
      </p:pic>
      <p:pic>
        <p:nvPicPr>
          <p:cNvPr id="17" name="Picture 16">
            <a:extLst>
              <a:ext uri="{FF2B5EF4-FFF2-40B4-BE49-F238E27FC236}">
                <a16:creationId xmlns:a16="http://schemas.microsoft.com/office/drawing/2014/main" id="{DC520376-0461-4DA5-9321-A21F5888B81F}"/>
              </a:ext>
            </a:extLst>
          </p:cNvPr>
          <p:cNvPicPr>
            <a:picLocks noChangeAspect="1"/>
          </p:cNvPicPr>
          <p:nvPr/>
        </p:nvPicPr>
        <p:blipFill>
          <a:blip r:embed="rId7"/>
          <a:stretch>
            <a:fillRect/>
          </a:stretch>
        </p:blipFill>
        <p:spPr>
          <a:xfrm>
            <a:off x="6487743" y="2225817"/>
            <a:ext cx="3960000" cy="2227933"/>
          </a:xfrm>
          <a:prstGeom prst="rect">
            <a:avLst/>
          </a:prstGeom>
          <a:ln>
            <a:solidFill>
              <a:schemeClr val="bg1">
                <a:lumMod val="50000"/>
              </a:schemeClr>
            </a:solidFill>
          </a:ln>
        </p:spPr>
      </p:pic>
      <p:pic>
        <p:nvPicPr>
          <p:cNvPr id="19" name="Picture 18">
            <a:extLst>
              <a:ext uri="{FF2B5EF4-FFF2-40B4-BE49-F238E27FC236}">
                <a16:creationId xmlns:a16="http://schemas.microsoft.com/office/drawing/2014/main" id="{E1512F65-1123-432E-A873-F3781A36671D}"/>
              </a:ext>
            </a:extLst>
          </p:cNvPr>
          <p:cNvPicPr>
            <a:picLocks noChangeAspect="1"/>
          </p:cNvPicPr>
          <p:nvPr/>
        </p:nvPicPr>
        <p:blipFill>
          <a:blip r:embed="rId8"/>
          <a:stretch>
            <a:fillRect/>
          </a:stretch>
        </p:blipFill>
        <p:spPr>
          <a:xfrm>
            <a:off x="7061618" y="3852717"/>
            <a:ext cx="3960000" cy="2227933"/>
          </a:xfrm>
          <a:prstGeom prst="rect">
            <a:avLst/>
          </a:prstGeom>
          <a:ln>
            <a:solidFill>
              <a:schemeClr val="bg1">
                <a:lumMod val="50000"/>
              </a:schemeClr>
            </a:solidFill>
          </a:ln>
        </p:spPr>
      </p:pic>
      <p:sp>
        <p:nvSpPr>
          <p:cNvPr id="28" name="Text Placeholder 14">
            <a:extLst>
              <a:ext uri="{FF2B5EF4-FFF2-40B4-BE49-F238E27FC236}">
                <a16:creationId xmlns:a16="http://schemas.microsoft.com/office/drawing/2014/main" id="{89265613-A0A5-4AC4-A060-7CEFE59F3765}"/>
              </a:ext>
            </a:extLst>
          </p:cNvPr>
          <p:cNvSpPr>
            <a:spLocks noGrp="1"/>
          </p:cNvSpPr>
          <p:nvPr>
            <p:ph type="body" sz="quarter" idx="20"/>
          </p:nvPr>
        </p:nvSpPr>
        <p:spPr>
          <a:xfrm>
            <a:off x="662780" y="6487298"/>
            <a:ext cx="10868400" cy="122400"/>
          </a:xfrm>
        </p:spPr>
        <p:txBody>
          <a:bodyPr/>
          <a:lstStyle/>
          <a:p>
            <a:r>
              <a:rPr lang="nl-NL" dirty="0"/>
              <a:t>Probeer het gebruik van </a:t>
            </a:r>
            <a:r>
              <a:rPr lang="nl-NL" dirty="0" err="1"/>
              <a:t>disclaimers</a:t>
            </a:r>
            <a:r>
              <a:rPr lang="nl-NL" dirty="0"/>
              <a:t> wel te beperken; als je niet oppast zet je op iedere slide dat het ‘indicatief’ is</a:t>
            </a:r>
          </a:p>
        </p:txBody>
      </p:sp>
    </p:spTree>
    <p:extLst>
      <p:ext uri="{BB962C8B-B14F-4D97-AF65-F5344CB8AC3E}">
        <p14:creationId xmlns:p14="http://schemas.microsoft.com/office/powerpoint/2010/main" val="8405273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92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KL7qfC54NhMiHuBIZCSZ1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suKGGADGfe243CUmKszy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LSwsuhlyu5i_6jNnxo0Xh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iM2k4PUyiiuq1eEDy1GYE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1UOIksicQFbBAhyxbLZD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rucu9W44caKck_dpLzTxL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imuUHZIhqCH1xYT0BMsJw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L2qGb4Jrtgayz_U4MbDEe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iYfPBd25FzMRoojyGRRan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cd2Wmog8sFh6F.PBNAfh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kNNomqCO_nEXzeRF5gfZW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iM8Tvrhp2CSyQ8nB6pk4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zIMgtdmc5AotV1viRUgUE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e8xr2UwF7IFtyXh1VTtnX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lJN5m2EhRqxMJvG15ig_P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50UMcwgfkjgxCz1oTFTr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gcz58LXHH2LHLZmiiGidk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NQpaJ4ndAxEEbUXILyM7W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B..89Rm3RxvN8UQ7Ab32S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cuA.iUIbg4J9hrTCANzI5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2Kaw3pXxSXgbh3RAV8Nu7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9HnBA.EQWFJY_cycKqdur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vJD5SQj.z50Ao9tfaXSHz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JFtHUp8cSdF5tDMlDYCeM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BckaZzbQYEwWhpmTohn3k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sqyjxKzu7l2uTAesJfhBq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prOeBGeRzHLcowalTN6Ta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sQcO_xcBjiMuXrTE0HNDy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I10d_7WrWOSz9u1w9K2Kc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wUmQcpxPsZ0YkjyaQ6SPE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bLCxy_YxF29apJF.no_KX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zMUq9so08V6upt0kkF55B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p8YxJC7_7bEKd5RtmK82M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WIxB6VoUEnsnYNoWyPkoi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Gp2KVzVTI0lPepddHg2b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ChOe9W00xhqoMFTUC0SV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NpafcAB1dofxbgv7fRw2B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BkPD.YJunU8RSTDgmBBC9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aMCUOmOLNy79nkGbZEMVt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zzt7HTH25bEIE2MV2SWlx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lfwQCZa01s5W3M_rLuWEV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Vvy13x34koUpQLy0TtJK3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xs_nf4xii1reQke4joefS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Oi2i9GQ1PykIhcTQSlU71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UK6TviXv_a4ioPUR6xqY2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k4g4Z5xx7OiP0hkK15r1v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a7vnXuOy9bw6fPG9u4JIQ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CVaHOLRE02GDxRXztjDGy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qW.qgCmUODr3_lZgKnxdW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X4HJcS.eqFXYzPCZ..FCc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CsvEpfV4L4UnD.N_luLtm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31XQ4TUps8sKNXNiXpH8s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FH66r_ED7yq01wEop_ZMe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20_mucN.dCGcHC7HH4myd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AGlth5eFqgAaLu4gcI_PG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Si7bcjjEyxNPYgsVqTy52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aOUKz2T0HfWDRPnBvN135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Nr5bnHRqvj6ttL8QNqSVw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SME5Cjyb4oUk2Ws7o0I0k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Cz0iiHxoS4_V66U8zV.0e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VW_oFMnJbvRPltWch5r0U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TCq7eJEYP0dApUE9vmMJg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eIAzvrBL12XCJa8dYhpQx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yPjpDIjaJIqEJB4jyaN0o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pqWpJcVQhtoSLMgZmJVJu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jiAV18z2ZA0wdCnwyEFfh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TtpxOH6dYObK_zDpjVxvo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pqoUpQWwMUMDnWkbIQAeV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OllOA9LwN96nPd5y5ds3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Q6WN87qwz27GgNauXf4I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nnZGAwK7gwi0_ky6R11F3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c6Xie_Sw3V9RTIEooUvfh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LEZpNFGzeKYH9sAR3KXnz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zb9dZSGtVa4S1bq6iSqmn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4W4lbAdJDChNL_DNbSNfa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kGAJF9aLwgUqRFiwPltRq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4hswnm6z6K8DpXnrgE97j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ilBwOKPmxyA27PQu38nVR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9atjDCfCHEq0rTRaa7DpZ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XQG0OkJGYFmJjPQ0FtYT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dM8H4A.Eqh3nKdtZ8HI7S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WeRcBZNiTcOeR2yheS12K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RCuOTx3o3vR1mHw4gOhUB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fQhjm7V6l0Vk3wr00sc0i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n3RTc53D0K7ONqeFh1ims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EqfhM02xtndLm_zGlwIwj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giUt8ReMRT2REfG90YXB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nPeNhUSEqTwe04rP_Nubs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QiJ8smbI7Z7hqDjNN2T0u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kjlZg55FJpckwYZCmHdAn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POJFz0ccjPC8W8D.y_uie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mn5C0D21xHdh1Ahcxj0iy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_dk8_oh6F5pxuRcDUlGrG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288cCijC1qlj_1VpYkJiC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kHPh_5UnbRKkQmf2YVt1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DlkVMXQJVinayMJbz6_EC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xefQjZDnrHXeGxWDkKAld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wOdgRFMX_rnfAcjtznRSJ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YZsX2_YOBIMo_6Sd4da7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VzvlnEaGFLseCqmxQoV_y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XYKlSRfO3x3ck73gIKJBj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iEBH_8l7FgpihDOWROwDc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4X7wQyIIOQxMX8y6woINS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CFlOVtM9w6n.xnxFBWkEx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c4H3LeRmbQHW6GY2n_Uhr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DBlSxPFOAfcD1Qr7E9XFj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WUrs48Vu2yWmHHma6WPcr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seF6qi_W8N9wmdpEkASPz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JI7yD3DUXsXxquq5NB3kK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tDxWkWk_ZZwfkVcCoh8o0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O25tpbBbEGIxXmdoCqVl.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WbNq2gYLwWbdNC58slNbw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Bz2RQGPYEyXZEleEw_EC7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4NjjOj5in2tBS3m_j._tj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0BMWed4OviY.T.cZ6XN1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AacSdzpt6pky1HU2HGV7a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xnd5G.c1ekgXxqzXBAh_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D7e3AmHwl8jM5zv8EscZ7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4GCGrU8wA7BH_FSmIB.83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PUFIjX6O7NsPoxkNJOvDr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kniPyHXln_nB15CAve.ZE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Io4Qc9pitP_2NLHJTKA06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SKVszsxD.Ix0lnNeLe8Pc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6dFk6AHvVDkkGmS9mos2T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9IPncOP3dbS8R6pKpWsLs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RNHxVpoWAsvh4Yt_C0Ofl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M5UuctVpQBkz9JABXi68J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tNkSpeBoGfllLj9fAWZke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e.Be3bbS4yZyvntgO2RTf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t4Pv_QgfFHr0MtS74WCo4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vqbDoMlakngqcsjzO8StK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UVXrYKZrZDAcERdK1azdD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MLtYowwpqKaC61bd9R.Ll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7BAyxZRbnxt1QeMj7rHo.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LKEtmUcFo7QhmUN6fEW8Y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UVPZtdSdUiY5Fyt78GbgI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L0TpK5.mmsAJ1S4q9VfuH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We2tH8SphTicEx59Zej2G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Ae4ku6tmJ6NCUyuuoCTku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WiowqkZVf4Q4qlraKbEv9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Ln4XWp0qM6NPvhoLUbJNq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WHH6x3CrzNqc4HUByvMg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xNIbBnkcBYkUyBfFlDCeB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Yb7kqtozHBA.4ZppuqA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sV9oyXQG38G0FkyKS50as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yfHpLSi7i9TM6CsUfSpi4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BvLEiNIXBvAtJGKOVi7p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DdrmIBmAxE30NsRlpHC92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DCk5pbnTtO3t_bWyz8Qj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ex1OeFnPwN8N5wv70bqi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pTKc5pOKP2PVwGPi8DSr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7qKu_DzxWDT2VLEUVIUpw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9gqzfaI8ida6WFmS1yYVV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9zZGY_r8Dlett2KQRjqcI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TuHjzoV_DwiBWYmCH8DX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_toIq7Ps0RD7l7oT88YAS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Eqi5WyzrP3ClSkO3LMj8C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r7sTka_zsPOodTxGby5B1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1aBgIfRdgAqw8SZbPZIri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4TKthT621JFzqTihPgGjJ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jV_Pg4iQ0Envc1qZDyJOg"/>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2777B"/>
        </a:solidFill>
        <a:ln w="4266" cap="flat">
          <a:noFill/>
          <a:prstDash val="solid"/>
          <a:miter/>
        </a:ln>
      </a:spPr>
      <a:bodyPr rtlCol="0" anchor="ctr"/>
      <a:lstStyle>
        <a:defPPr algn="l">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3.06.potx" id="{A0CEDFD0-AE7D-4E2D-B1C6-4BD02AA936B9}" vid="{7ABD8A0A-A662-4A66-85C5-4A469C795F26}"/>
    </a:ext>
  </a:extLst>
</a:theme>
</file>

<file path=ppt/theme/theme2.xml><?xml version="1.0" encoding="utf-8"?>
<a:theme xmlns:a="http://schemas.openxmlformats.org/drawingml/2006/main" name="Office-thema">
  <a:themeElements>
    <a:clrScheme name="Amsterdam">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hema">
  <a:themeElements>
    <a:clrScheme name="Amsterdam">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01a PowerPoint Sjabloon - it's public - v 3.06</Template>
  <TotalTime>0</TotalTime>
  <Words>2779</Words>
  <Application>Microsoft Office PowerPoint</Application>
  <PresentationFormat>Widescreen</PresentationFormat>
  <Paragraphs>567</Paragraphs>
  <Slides>19</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3" baseType="lpstr">
      <vt:lpstr>Wingdings</vt:lpstr>
      <vt:lpstr>Corbel</vt:lpstr>
      <vt:lpstr>itspublic 20200925</vt:lpstr>
      <vt:lpstr>think-cell Slide</vt:lpstr>
      <vt:lpstr>Stijlgids It’s Public</vt:lpstr>
      <vt:lpstr>Context en doel</vt:lpstr>
      <vt:lpstr>PowerPoint Presentation</vt:lpstr>
      <vt:lpstr>Elk document bevat een aantal standaardslides</vt:lpstr>
      <vt:lpstr>Iedere slide heeft een aantal standaard (‘verplichte’) elementen</vt:lpstr>
      <vt:lpstr>Er zijn ook een aantal optionele slide-elementen</vt:lpstr>
      <vt:lpstr>Er zijn verschillende standaard layouts waar je uit kunt kiezen</vt:lpstr>
      <vt:lpstr>Blijf bij het maken van een slide binnen de rasterlijnen</vt:lpstr>
      <vt:lpstr>Denk goed na over de compositie van je slide</vt:lpstr>
      <vt:lpstr>Er zijn een aantal standaard kleuren </vt:lpstr>
      <vt:lpstr>Er zijn een paar aandachtspunten bij het gebruik van kleur in grafieken</vt:lpstr>
      <vt:lpstr>Bij het gebruik van kleurschalen is belangrijk om stil te staan bij connotaties van kleuren </vt:lpstr>
      <vt:lpstr>Formatting</vt:lpstr>
      <vt:lpstr>Schrijfstijl</vt:lpstr>
      <vt:lpstr>Er zijn een aantal specifieke afspraken over subtitels en eenheden</vt:lpstr>
      <vt:lpstr>Er zijn een aantal standaard grafieken voor typische situaties</vt:lpstr>
      <vt:lpstr>Tabellen kunnen op een overzichtelijke manier veel cijfers tegelijk laten zien</vt:lpstr>
      <vt:lpstr>Iconen, pijlen en callouts kunnen gebruikt worden ter ondersteuning van de boodschap aan de lezer</vt:lpstr>
      <vt:lpstr>Ti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ijlgids It’s Public</dc:title>
  <dc:creator>Daphne Dijkman</dc:creator>
  <dc:description/>
  <cp:lastModifiedBy>Daphne Dijkman</cp:lastModifiedBy>
  <cp:revision>1</cp:revision>
  <dcterms:created xsi:type="dcterms:W3CDTF">2021-06-02T12:51:30Z</dcterms:created>
  <dcterms:modified xsi:type="dcterms:W3CDTF">2021-06-02T12:52:28Z</dcterms:modified>
</cp:coreProperties>
</file>